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66" r:id="rId2"/>
    <p:sldMasterId id="2147483827" r:id="rId3"/>
  </p:sldMasterIdLst>
  <p:notesMasterIdLst>
    <p:notesMasterId r:id="rId17"/>
  </p:notesMasterIdLst>
  <p:sldIdLst>
    <p:sldId id="838840061" r:id="rId4"/>
    <p:sldId id="2147468572" r:id="rId5"/>
    <p:sldId id="2147468575" r:id="rId6"/>
    <p:sldId id="2147468573" r:id="rId7"/>
    <p:sldId id="2147196452" r:id="rId8"/>
    <p:sldId id="2147468579" r:id="rId9"/>
    <p:sldId id="2147468583" r:id="rId10"/>
    <p:sldId id="2147468582" r:id="rId11"/>
    <p:sldId id="2147197139" r:id="rId12"/>
    <p:sldId id="2147468578" r:id="rId13"/>
    <p:sldId id="2147468586" r:id="rId14"/>
    <p:sldId id="2147468584" r:id="rId15"/>
    <p:sldId id="2147468585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nnes, Jennifer" initials="MJ" lastIdx="1" clrIdx="0">
    <p:extLst>
      <p:ext uri="{19B8F6BF-5375-455C-9EA6-DF929625EA0E}">
        <p15:presenceInfo xmlns:p15="http://schemas.microsoft.com/office/powerpoint/2012/main" userId="Mennes, Jennifer" providerId="None"/>
      </p:ext>
    </p:extLst>
  </p:cmAuthor>
  <p:cmAuthor id="2" name="Cheng, Jie" initials="CJ" lastIdx="1" clrIdx="1">
    <p:extLst>
      <p:ext uri="{19B8F6BF-5375-455C-9EA6-DF929625EA0E}">
        <p15:presenceInfo xmlns:p15="http://schemas.microsoft.com/office/powerpoint/2012/main" userId="S::jie.cheng@mdlz.com::b0bc7967-5e0b-481b-a623-7c7b6acb404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49390"/>
    <a:srgbClr val="EFFFF4"/>
    <a:srgbClr val="33CCCC"/>
    <a:srgbClr val="CC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570"/>
    <p:restoredTop sz="95417" autoAdjust="0"/>
  </p:normalViewPr>
  <p:slideViewPr>
    <p:cSldViewPr snapToGrid="0">
      <p:cViewPr varScale="1">
        <p:scale>
          <a:sx n="109" d="100"/>
          <a:sy n="109" d="100"/>
        </p:scale>
        <p:origin x="810" y="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microsoft.com/office/2016/11/relationships/changesInfo" Target="changesInfos/changesInfo1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eng, Jie" userId="b0bc7967-5e0b-481b-a623-7c7b6acb404d" providerId="ADAL" clId="{7FA529E6-A04F-49C7-A2A6-7739D2D04B8A}"/>
    <pc:docChg chg="modSld modMainMaster">
      <pc:chgData name="Cheng, Jie" userId="b0bc7967-5e0b-481b-a623-7c7b6acb404d" providerId="ADAL" clId="{7FA529E6-A04F-49C7-A2A6-7739D2D04B8A}" dt="2022-06-12T23:19:27.307" v="11" actId="6549"/>
      <pc:docMkLst>
        <pc:docMk/>
      </pc:docMkLst>
      <pc:sldChg chg="modTransition modNotesTx">
        <pc:chgData name="Cheng, Jie" userId="b0bc7967-5e0b-481b-a623-7c7b6acb404d" providerId="ADAL" clId="{7FA529E6-A04F-49C7-A2A6-7739D2D04B8A}" dt="2022-06-12T23:18:04.590" v="1"/>
        <pc:sldMkLst>
          <pc:docMk/>
          <pc:sldMk cId="2923059888" sldId="838840061"/>
        </pc:sldMkLst>
      </pc:sldChg>
      <pc:sldChg chg="modTransition modNotesTx">
        <pc:chgData name="Cheng, Jie" userId="b0bc7967-5e0b-481b-a623-7c7b6acb404d" providerId="ADAL" clId="{7FA529E6-A04F-49C7-A2A6-7739D2D04B8A}" dt="2022-06-12T23:18:56.663" v="5" actId="6549"/>
        <pc:sldMkLst>
          <pc:docMk/>
          <pc:sldMk cId="1304472273" sldId="2147196452"/>
        </pc:sldMkLst>
      </pc:sldChg>
      <pc:sldChg chg="modTransition modNotesTx">
        <pc:chgData name="Cheng, Jie" userId="b0bc7967-5e0b-481b-a623-7c7b6acb404d" providerId="ADAL" clId="{7FA529E6-A04F-49C7-A2A6-7739D2D04B8A}" dt="2022-06-12T23:19:15.845" v="9" actId="6549"/>
        <pc:sldMkLst>
          <pc:docMk/>
          <pc:sldMk cId="826907499" sldId="2147197139"/>
        </pc:sldMkLst>
      </pc:sldChg>
      <pc:sldChg chg="modTransition modNotesTx">
        <pc:chgData name="Cheng, Jie" userId="b0bc7967-5e0b-481b-a623-7c7b6acb404d" providerId="ADAL" clId="{7FA529E6-A04F-49C7-A2A6-7739D2D04B8A}" dt="2022-06-12T23:18:37.008" v="2" actId="6549"/>
        <pc:sldMkLst>
          <pc:docMk/>
          <pc:sldMk cId="1526345945" sldId="2147468572"/>
        </pc:sldMkLst>
      </pc:sldChg>
      <pc:sldChg chg="modTransition modNotesTx">
        <pc:chgData name="Cheng, Jie" userId="b0bc7967-5e0b-481b-a623-7c7b6acb404d" providerId="ADAL" clId="{7FA529E6-A04F-49C7-A2A6-7739D2D04B8A}" dt="2022-06-12T23:18:53.041" v="4" actId="6549"/>
        <pc:sldMkLst>
          <pc:docMk/>
          <pc:sldMk cId="1331509375" sldId="2147468573"/>
        </pc:sldMkLst>
      </pc:sldChg>
      <pc:sldChg chg="modTransition modNotesTx">
        <pc:chgData name="Cheng, Jie" userId="b0bc7967-5e0b-481b-a623-7c7b6acb404d" providerId="ADAL" clId="{7FA529E6-A04F-49C7-A2A6-7739D2D04B8A}" dt="2022-06-12T23:18:41.427" v="3" actId="6549"/>
        <pc:sldMkLst>
          <pc:docMk/>
          <pc:sldMk cId="49653993" sldId="2147468575"/>
        </pc:sldMkLst>
      </pc:sldChg>
      <pc:sldChg chg="modTransition modNotesTx">
        <pc:chgData name="Cheng, Jie" userId="b0bc7967-5e0b-481b-a623-7c7b6acb404d" providerId="ADAL" clId="{7FA529E6-A04F-49C7-A2A6-7739D2D04B8A}" dt="2022-06-12T23:19:20.595" v="10" actId="6549"/>
        <pc:sldMkLst>
          <pc:docMk/>
          <pc:sldMk cId="2704582324" sldId="2147468578"/>
        </pc:sldMkLst>
      </pc:sldChg>
      <pc:sldChg chg="modTransition modNotesTx">
        <pc:chgData name="Cheng, Jie" userId="b0bc7967-5e0b-481b-a623-7c7b6acb404d" providerId="ADAL" clId="{7FA529E6-A04F-49C7-A2A6-7739D2D04B8A}" dt="2022-06-12T23:19:00.280" v="6" actId="6549"/>
        <pc:sldMkLst>
          <pc:docMk/>
          <pc:sldMk cId="4283573259" sldId="2147468579"/>
        </pc:sldMkLst>
      </pc:sldChg>
      <pc:sldChg chg="modTransition modNotesTx">
        <pc:chgData name="Cheng, Jie" userId="b0bc7967-5e0b-481b-a623-7c7b6acb404d" providerId="ADAL" clId="{7FA529E6-A04F-49C7-A2A6-7739D2D04B8A}" dt="2022-06-12T23:19:12.046" v="8" actId="6549"/>
        <pc:sldMkLst>
          <pc:docMk/>
          <pc:sldMk cId="449961794" sldId="2147468582"/>
        </pc:sldMkLst>
      </pc:sldChg>
      <pc:sldChg chg="modTransition modNotesTx">
        <pc:chgData name="Cheng, Jie" userId="b0bc7967-5e0b-481b-a623-7c7b6acb404d" providerId="ADAL" clId="{7FA529E6-A04F-49C7-A2A6-7739D2D04B8A}" dt="2022-06-12T23:19:07.460" v="7" actId="6549"/>
        <pc:sldMkLst>
          <pc:docMk/>
          <pc:sldMk cId="1528879065" sldId="2147468583"/>
        </pc:sldMkLst>
      </pc:sldChg>
      <pc:sldChg chg="modTransition">
        <pc:chgData name="Cheng, Jie" userId="b0bc7967-5e0b-481b-a623-7c7b6acb404d" providerId="ADAL" clId="{7FA529E6-A04F-49C7-A2A6-7739D2D04B8A}" dt="2022-06-12T23:18:04.590" v="1"/>
        <pc:sldMkLst>
          <pc:docMk/>
          <pc:sldMk cId="291449663" sldId="2147468584"/>
        </pc:sldMkLst>
      </pc:sldChg>
      <pc:sldChg chg="modTransition">
        <pc:chgData name="Cheng, Jie" userId="b0bc7967-5e0b-481b-a623-7c7b6acb404d" providerId="ADAL" clId="{7FA529E6-A04F-49C7-A2A6-7739D2D04B8A}" dt="2022-06-12T23:18:04.590" v="1"/>
        <pc:sldMkLst>
          <pc:docMk/>
          <pc:sldMk cId="4137871873" sldId="2147468585"/>
        </pc:sldMkLst>
      </pc:sldChg>
      <pc:sldChg chg="modTransition modNotesTx">
        <pc:chgData name="Cheng, Jie" userId="b0bc7967-5e0b-481b-a623-7c7b6acb404d" providerId="ADAL" clId="{7FA529E6-A04F-49C7-A2A6-7739D2D04B8A}" dt="2022-06-12T23:19:27.307" v="11" actId="6549"/>
        <pc:sldMkLst>
          <pc:docMk/>
          <pc:sldMk cId="4203451583" sldId="2147468586"/>
        </pc:sldMkLst>
      </pc:sldChg>
      <pc:sldMasterChg chg="modTransition modSldLayout">
        <pc:chgData name="Cheng, Jie" userId="b0bc7967-5e0b-481b-a623-7c7b6acb404d" providerId="ADAL" clId="{7FA529E6-A04F-49C7-A2A6-7739D2D04B8A}" dt="2022-06-12T23:18:04.590" v="1"/>
        <pc:sldMasterMkLst>
          <pc:docMk/>
          <pc:sldMasterMk cId="2945070047" sldId="2147483660"/>
        </pc:sldMasterMkLst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2945070047" sldId="2147483660"/>
            <pc:sldLayoutMk cId="354068480" sldId="2147483661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2945070047" sldId="2147483660"/>
            <pc:sldLayoutMk cId="2888601873" sldId="2147483662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2945070047" sldId="2147483660"/>
            <pc:sldLayoutMk cId="2981772456" sldId="2147483663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2945070047" sldId="2147483660"/>
            <pc:sldLayoutMk cId="300793166" sldId="2147483664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2945070047" sldId="2147483660"/>
            <pc:sldLayoutMk cId="1956040294" sldId="2147483665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2945070047" sldId="2147483660"/>
            <pc:sldLayoutMk cId="915552824" sldId="2147483666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2945070047" sldId="2147483660"/>
            <pc:sldLayoutMk cId="1077886994" sldId="2147483667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2945070047" sldId="2147483660"/>
            <pc:sldLayoutMk cId="890009858" sldId="2147483668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2945070047" sldId="2147483660"/>
            <pc:sldLayoutMk cId="2908297578" sldId="2147483669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2945070047" sldId="2147483660"/>
            <pc:sldLayoutMk cId="2208941632" sldId="2147483670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2945070047" sldId="2147483660"/>
            <pc:sldLayoutMk cId="520287109" sldId="2147483671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2945070047" sldId="2147483660"/>
            <pc:sldLayoutMk cId="299582300" sldId="2147483672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2945070047" sldId="2147483660"/>
            <pc:sldLayoutMk cId="1881764109" sldId="2147483673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2945070047" sldId="2147483660"/>
            <pc:sldLayoutMk cId="3903045486" sldId="2147483674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2945070047" sldId="2147483660"/>
            <pc:sldLayoutMk cId="545107015" sldId="2147483675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2945070047" sldId="2147483660"/>
            <pc:sldLayoutMk cId="2981117844" sldId="2147483676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2945070047" sldId="2147483660"/>
            <pc:sldLayoutMk cId="4077220033" sldId="2147483677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2945070047" sldId="2147483660"/>
            <pc:sldLayoutMk cId="2708580876" sldId="2147483678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2945070047" sldId="2147483660"/>
            <pc:sldLayoutMk cId="816066309" sldId="2147483679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2945070047" sldId="2147483660"/>
            <pc:sldLayoutMk cId="2638002668" sldId="2147483680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2945070047" sldId="2147483660"/>
            <pc:sldLayoutMk cId="1882574158" sldId="2147483681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2945070047" sldId="2147483660"/>
            <pc:sldLayoutMk cId="2753481762" sldId="2147483682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2945070047" sldId="2147483660"/>
            <pc:sldLayoutMk cId="2804578131" sldId="2147483683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2945070047" sldId="2147483660"/>
            <pc:sldLayoutMk cId="3545709859" sldId="2147483684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2945070047" sldId="2147483660"/>
            <pc:sldLayoutMk cId="2144707943" sldId="2147483685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2945070047" sldId="2147483660"/>
            <pc:sldLayoutMk cId="1811132581" sldId="2147483686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2945070047" sldId="2147483660"/>
            <pc:sldLayoutMk cId="3994906876" sldId="2147483687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2945070047" sldId="2147483660"/>
            <pc:sldLayoutMk cId="994449940" sldId="2147483688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2945070047" sldId="2147483660"/>
            <pc:sldLayoutMk cId="3644587745" sldId="2147483689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2945070047" sldId="2147483660"/>
            <pc:sldLayoutMk cId="318336267" sldId="2147483690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2945070047" sldId="2147483660"/>
            <pc:sldLayoutMk cId="3942659022" sldId="2147483692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2945070047" sldId="2147483660"/>
            <pc:sldLayoutMk cId="2174113668" sldId="2147483693"/>
          </pc:sldLayoutMkLst>
        </pc:sldLayoutChg>
      </pc:sldMasterChg>
      <pc:sldMasterChg chg="modTransition modSldLayout">
        <pc:chgData name="Cheng, Jie" userId="b0bc7967-5e0b-481b-a623-7c7b6acb404d" providerId="ADAL" clId="{7FA529E6-A04F-49C7-A2A6-7739D2D04B8A}" dt="2022-06-12T23:18:04.590" v="1"/>
        <pc:sldMasterMkLst>
          <pc:docMk/>
          <pc:sldMasterMk cId="978970640" sldId="2147483766"/>
        </pc:sldMasterMkLst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978970640" sldId="2147483766"/>
            <pc:sldLayoutMk cId="2961188423" sldId="2147483767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978970640" sldId="2147483766"/>
            <pc:sldLayoutMk cId="91598737" sldId="2147483768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978970640" sldId="2147483766"/>
            <pc:sldLayoutMk cId="4217796486" sldId="2147483769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978970640" sldId="2147483766"/>
            <pc:sldLayoutMk cId="1395496627" sldId="2147483770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978970640" sldId="2147483766"/>
            <pc:sldLayoutMk cId="242483212" sldId="2147483771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978970640" sldId="2147483766"/>
            <pc:sldLayoutMk cId="2720378324" sldId="2147483772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978970640" sldId="2147483766"/>
            <pc:sldLayoutMk cId="3686793345" sldId="2147483773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978970640" sldId="2147483766"/>
            <pc:sldLayoutMk cId="3287894891" sldId="2147483774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978970640" sldId="2147483766"/>
            <pc:sldLayoutMk cId="2944388452" sldId="2147483775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978970640" sldId="2147483766"/>
            <pc:sldLayoutMk cId="2036124982" sldId="2147483776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978970640" sldId="2147483766"/>
            <pc:sldLayoutMk cId="1124380412" sldId="2147483777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978970640" sldId="2147483766"/>
            <pc:sldLayoutMk cId="656421956" sldId="2147483778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978970640" sldId="2147483766"/>
            <pc:sldLayoutMk cId="12063532" sldId="2147483779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978970640" sldId="2147483766"/>
            <pc:sldLayoutMk cId="2980960986" sldId="2147483780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978970640" sldId="2147483766"/>
            <pc:sldLayoutMk cId="3463588694" sldId="2147483781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978970640" sldId="2147483766"/>
            <pc:sldLayoutMk cId="4132495872" sldId="2147483782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978970640" sldId="2147483766"/>
            <pc:sldLayoutMk cId="2766996824" sldId="2147483783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978970640" sldId="2147483766"/>
            <pc:sldLayoutMk cId="755886779" sldId="2147483784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978970640" sldId="2147483766"/>
            <pc:sldLayoutMk cId="628243009" sldId="2147483785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978970640" sldId="2147483766"/>
            <pc:sldLayoutMk cId="2190798355" sldId="2147483786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978970640" sldId="2147483766"/>
            <pc:sldLayoutMk cId="246222433" sldId="2147483787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978970640" sldId="2147483766"/>
            <pc:sldLayoutMk cId="3689830815" sldId="2147483788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978970640" sldId="2147483766"/>
            <pc:sldLayoutMk cId="3507224197" sldId="2147483789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978970640" sldId="2147483766"/>
            <pc:sldLayoutMk cId="2979005163" sldId="2147483790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978970640" sldId="2147483766"/>
            <pc:sldLayoutMk cId="1243411097" sldId="2147483791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978970640" sldId="2147483766"/>
            <pc:sldLayoutMk cId="626433650" sldId="2147483792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978970640" sldId="2147483766"/>
            <pc:sldLayoutMk cId="3920440238" sldId="2147483793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978970640" sldId="2147483766"/>
            <pc:sldLayoutMk cId="1356066359" sldId="2147483794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978970640" sldId="2147483766"/>
            <pc:sldLayoutMk cId="2795047432" sldId="2147483795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978970640" sldId="2147483766"/>
            <pc:sldLayoutMk cId="793708030" sldId="2147483796"/>
          </pc:sldLayoutMkLst>
        </pc:sldLayoutChg>
      </pc:sldMasterChg>
      <pc:sldMasterChg chg="modTransition modSldLayout">
        <pc:chgData name="Cheng, Jie" userId="b0bc7967-5e0b-481b-a623-7c7b6acb404d" providerId="ADAL" clId="{7FA529E6-A04F-49C7-A2A6-7739D2D04B8A}" dt="2022-06-12T23:18:04.590" v="1"/>
        <pc:sldMasterMkLst>
          <pc:docMk/>
          <pc:sldMasterMk cId="4113545513" sldId="2147483827"/>
        </pc:sldMasterMkLst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4113545513" sldId="2147483827"/>
            <pc:sldLayoutMk cId="4081196606" sldId="2147483828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4113545513" sldId="2147483827"/>
            <pc:sldLayoutMk cId="3161635577" sldId="2147483829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4113545513" sldId="2147483827"/>
            <pc:sldLayoutMk cId="1109082259" sldId="2147483830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4113545513" sldId="2147483827"/>
            <pc:sldLayoutMk cId="1984899500" sldId="2147483831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4113545513" sldId="2147483827"/>
            <pc:sldLayoutMk cId="2251502554" sldId="2147483832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4113545513" sldId="2147483827"/>
            <pc:sldLayoutMk cId="3446615566" sldId="2147483833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4113545513" sldId="2147483827"/>
            <pc:sldLayoutMk cId="3768151346" sldId="2147483834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4113545513" sldId="2147483827"/>
            <pc:sldLayoutMk cId="1904991463" sldId="2147483835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4113545513" sldId="2147483827"/>
            <pc:sldLayoutMk cId="2063775046" sldId="2147483836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4113545513" sldId="2147483827"/>
            <pc:sldLayoutMk cId="3395932511" sldId="2147483837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4113545513" sldId="2147483827"/>
            <pc:sldLayoutMk cId="308411491" sldId="2147483838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4113545513" sldId="2147483827"/>
            <pc:sldLayoutMk cId="1996157494" sldId="2147483839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4113545513" sldId="2147483827"/>
            <pc:sldLayoutMk cId="3478659549" sldId="2147483840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4113545513" sldId="2147483827"/>
            <pc:sldLayoutMk cId="2966784582" sldId="2147483841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4113545513" sldId="2147483827"/>
            <pc:sldLayoutMk cId="694390847" sldId="2147483842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4113545513" sldId="2147483827"/>
            <pc:sldLayoutMk cId="4122966455" sldId="2147483843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4113545513" sldId="2147483827"/>
            <pc:sldLayoutMk cId="2809369402" sldId="2147483844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4113545513" sldId="2147483827"/>
            <pc:sldLayoutMk cId="303677725" sldId="2147483845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4113545513" sldId="2147483827"/>
            <pc:sldLayoutMk cId="2367795867" sldId="2147483846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4113545513" sldId="2147483827"/>
            <pc:sldLayoutMk cId="668251621" sldId="2147483847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4113545513" sldId="2147483827"/>
            <pc:sldLayoutMk cId="2338916524" sldId="2147483848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4113545513" sldId="2147483827"/>
            <pc:sldLayoutMk cId="128224117" sldId="2147483849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4113545513" sldId="2147483827"/>
            <pc:sldLayoutMk cId="2708711636" sldId="2147483850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4113545513" sldId="2147483827"/>
            <pc:sldLayoutMk cId="2793543612" sldId="2147483851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4113545513" sldId="2147483827"/>
            <pc:sldLayoutMk cId="3748499739" sldId="2147483852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4113545513" sldId="2147483827"/>
            <pc:sldLayoutMk cId="1977746750" sldId="2147483853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4113545513" sldId="2147483827"/>
            <pc:sldLayoutMk cId="2111381773" sldId="2147483854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4113545513" sldId="2147483827"/>
            <pc:sldLayoutMk cId="3989826262" sldId="2147483855"/>
          </pc:sldLayoutMkLst>
        </pc:sldLayoutChg>
        <pc:sldLayoutChg chg="modTransition">
          <pc:chgData name="Cheng, Jie" userId="b0bc7967-5e0b-481b-a623-7c7b6acb404d" providerId="ADAL" clId="{7FA529E6-A04F-49C7-A2A6-7739D2D04B8A}" dt="2022-06-12T23:18:04.590" v="1"/>
          <pc:sldLayoutMkLst>
            <pc:docMk/>
            <pc:sldMasterMk cId="4113545513" sldId="2147483827"/>
            <pc:sldLayoutMk cId="3712428790" sldId="2147483856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dirty="0">
                <a:solidFill>
                  <a:schemeClr val="tx2"/>
                </a:solidFill>
              </a:rPr>
              <a:t>US Edible Grocery eCommerce Share Estimate*</a:t>
            </a:r>
          </a:p>
          <a:p>
            <a:pPr>
              <a:defRPr/>
            </a:pPr>
            <a:r>
              <a:rPr lang="en-US" sz="1800" dirty="0">
                <a:solidFill>
                  <a:schemeClr val="tx2"/>
                </a:solidFill>
              </a:rPr>
              <a:t>(eComm sales as % of total retail sales)</a:t>
            </a:r>
          </a:p>
        </c:rich>
      </c:tx>
      <c:layout>
        <c:manualLayout>
          <c:xMode val="edge"/>
          <c:yMode val="edge"/>
          <c:x val="0.14081019279799981"/>
          <c:y val="1.352963705506564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MCG eCommerce Share (eComm sales as % of total retail sales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</c:numRef>
          </c:cat>
          <c:val>
            <c:numRef>
              <c:f>Sheet1!$B$2:$B$4</c:f>
              <c:numCache>
                <c:formatCode>0%</c:formatCode>
                <c:ptCount val="3"/>
                <c:pt idx="0">
                  <c:v>0.05</c:v>
                </c:pt>
                <c:pt idx="1">
                  <c:v>0.14000000000000001</c:v>
                </c:pt>
                <c:pt idx="2">
                  <c:v>0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69-4AE8-B88C-FA069536EE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58732912"/>
        <c:axId val="758735536"/>
      </c:barChart>
      <c:catAx>
        <c:axId val="758732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8735536"/>
        <c:crosses val="autoZero"/>
        <c:auto val="1"/>
        <c:lblAlgn val="ctr"/>
        <c:lblOffset val="100"/>
        <c:noMultiLvlLbl val="0"/>
      </c:catAx>
      <c:valAx>
        <c:axId val="7587355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87329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9AB19ED-295F-1946-AE0D-07223C29A4FC}" type="doc">
      <dgm:prSet loTypeId="urn:microsoft.com/office/officeart/2005/8/layout/hierarchy1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6E46015-769F-E54F-B70D-41FD8DC84BBA}">
      <dgm:prSet phldrT="[Text]" custT="1"/>
      <dgm:spPr/>
      <dgm:t>
        <a:bodyPr/>
        <a:lstStyle/>
        <a:p>
          <a:r>
            <a:rPr lang="en-US" sz="1400" dirty="0">
              <a:solidFill>
                <a:schemeClr val="tx2"/>
              </a:solidFill>
            </a:rPr>
            <a:t>Sales SVP or CMO</a:t>
          </a:r>
        </a:p>
      </dgm:t>
    </dgm:pt>
    <dgm:pt modelId="{35775004-A547-9E4D-9DB6-B5C97976B806}" type="parTrans" cxnId="{A61F519A-74AE-004E-BB9B-9786485ABF51}">
      <dgm:prSet/>
      <dgm:spPr/>
      <dgm:t>
        <a:bodyPr/>
        <a:lstStyle/>
        <a:p>
          <a:endParaRPr lang="en-US"/>
        </a:p>
      </dgm:t>
    </dgm:pt>
    <dgm:pt modelId="{58CCB5EE-E508-484D-A04D-C09DDE67D174}" type="sibTrans" cxnId="{A61F519A-74AE-004E-BB9B-9786485ABF51}">
      <dgm:prSet/>
      <dgm:spPr/>
      <dgm:t>
        <a:bodyPr/>
        <a:lstStyle/>
        <a:p>
          <a:endParaRPr lang="en-US"/>
        </a:p>
      </dgm:t>
    </dgm:pt>
    <dgm:pt modelId="{99168621-6584-ED48-A3FE-3EA48CF723D7}">
      <dgm:prSet custT="1"/>
      <dgm:spPr/>
      <dgm:t>
        <a:bodyPr/>
        <a:lstStyle/>
        <a:p>
          <a:r>
            <a:rPr lang="en-US" sz="1400" dirty="0">
              <a:solidFill>
                <a:schemeClr val="tx2"/>
              </a:solidFill>
            </a:rPr>
            <a:t>eComm Head</a:t>
          </a:r>
        </a:p>
      </dgm:t>
    </dgm:pt>
    <dgm:pt modelId="{1546236E-2C37-1749-81B0-488A0361AD1A}" type="parTrans" cxnId="{01E2B02B-2A3F-464D-9D61-DCE689015E3D}">
      <dgm:prSet/>
      <dgm:spPr/>
      <dgm:t>
        <a:bodyPr/>
        <a:lstStyle/>
        <a:p>
          <a:endParaRPr lang="en-US"/>
        </a:p>
      </dgm:t>
    </dgm:pt>
    <dgm:pt modelId="{3EC46FC3-21C4-3F40-8B8C-378F98416EC5}" type="sibTrans" cxnId="{01E2B02B-2A3F-464D-9D61-DCE689015E3D}">
      <dgm:prSet/>
      <dgm:spPr/>
      <dgm:t>
        <a:bodyPr/>
        <a:lstStyle/>
        <a:p>
          <a:endParaRPr lang="en-US"/>
        </a:p>
      </dgm:t>
    </dgm:pt>
    <dgm:pt modelId="{40386CA3-DEDB-AC4C-B3C6-0669F1EEBE5D}">
      <dgm:prSet custT="1"/>
      <dgm:spPr/>
      <dgm:t>
        <a:bodyPr/>
        <a:lstStyle/>
        <a:p>
          <a:r>
            <a:rPr lang="en-US" sz="1200" dirty="0">
              <a:solidFill>
                <a:schemeClr val="tx2"/>
              </a:solidFill>
            </a:rPr>
            <a:t>eComm Sales</a:t>
          </a:r>
        </a:p>
      </dgm:t>
    </dgm:pt>
    <dgm:pt modelId="{76FF1E08-3D39-9348-A423-EAC161E0462C}" type="parTrans" cxnId="{A2741B96-4F47-0F46-9FFB-07560EAF380D}">
      <dgm:prSet/>
      <dgm:spPr/>
      <dgm:t>
        <a:bodyPr/>
        <a:lstStyle/>
        <a:p>
          <a:endParaRPr lang="en-US"/>
        </a:p>
      </dgm:t>
    </dgm:pt>
    <dgm:pt modelId="{3183F797-340D-AC44-A11E-ACF9E9F4ECE3}" type="sibTrans" cxnId="{A2741B96-4F47-0F46-9FFB-07560EAF380D}">
      <dgm:prSet/>
      <dgm:spPr/>
      <dgm:t>
        <a:bodyPr/>
        <a:lstStyle/>
        <a:p>
          <a:endParaRPr lang="en-US"/>
        </a:p>
      </dgm:t>
    </dgm:pt>
    <dgm:pt modelId="{EA197F90-EDA8-184E-A1A9-752E341887B3}">
      <dgm:prSet custT="1"/>
      <dgm:spPr/>
      <dgm:t>
        <a:bodyPr/>
        <a:lstStyle/>
        <a:p>
          <a:r>
            <a:rPr lang="en-US" sz="1200" dirty="0">
              <a:solidFill>
                <a:schemeClr val="tx2"/>
              </a:solidFill>
            </a:rPr>
            <a:t>eComm CatMan / Insights</a:t>
          </a:r>
        </a:p>
      </dgm:t>
    </dgm:pt>
    <dgm:pt modelId="{B1214F10-601B-324F-A6C7-24E80666EBDE}" type="parTrans" cxnId="{47E1A144-DBDD-FC42-9212-EFCCD6ABDD31}">
      <dgm:prSet/>
      <dgm:spPr/>
      <dgm:t>
        <a:bodyPr/>
        <a:lstStyle/>
        <a:p>
          <a:endParaRPr lang="en-US"/>
        </a:p>
      </dgm:t>
    </dgm:pt>
    <dgm:pt modelId="{660D8122-8210-C34E-A73F-A4F1200A6387}" type="sibTrans" cxnId="{47E1A144-DBDD-FC42-9212-EFCCD6ABDD31}">
      <dgm:prSet/>
      <dgm:spPr/>
      <dgm:t>
        <a:bodyPr/>
        <a:lstStyle/>
        <a:p>
          <a:endParaRPr lang="en-US"/>
        </a:p>
      </dgm:t>
    </dgm:pt>
    <dgm:pt modelId="{E1864C72-E21C-DF40-BB52-367A2816E3FF}">
      <dgm:prSet custT="1"/>
      <dgm:spPr/>
      <dgm:t>
        <a:bodyPr/>
        <a:lstStyle/>
        <a:p>
          <a:r>
            <a:rPr lang="en-US" sz="1200" dirty="0">
              <a:solidFill>
                <a:schemeClr val="tx2"/>
              </a:solidFill>
            </a:rPr>
            <a:t>eComm Marketing</a:t>
          </a:r>
        </a:p>
      </dgm:t>
    </dgm:pt>
    <dgm:pt modelId="{3556209A-D601-2145-8291-277162B3E1AF}" type="parTrans" cxnId="{0733BD9F-9C8C-1240-BF67-E2C70C0E3B34}">
      <dgm:prSet/>
      <dgm:spPr/>
      <dgm:t>
        <a:bodyPr/>
        <a:lstStyle/>
        <a:p>
          <a:endParaRPr lang="en-US"/>
        </a:p>
      </dgm:t>
    </dgm:pt>
    <dgm:pt modelId="{EE5EA411-A989-AA44-B99C-F93F29F66F1D}" type="sibTrans" cxnId="{0733BD9F-9C8C-1240-BF67-E2C70C0E3B34}">
      <dgm:prSet/>
      <dgm:spPr/>
      <dgm:t>
        <a:bodyPr/>
        <a:lstStyle/>
        <a:p>
          <a:endParaRPr lang="en-US"/>
        </a:p>
      </dgm:t>
    </dgm:pt>
    <dgm:pt modelId="{48C7DFF4-8825-E149-A796-92A4D66B813C}">
      <dgm:prSet custT="1"/>
      <dgm:spPr/>
      <dgm:t>
        <a:bodyPr/>
        <a:lstStyle/>
        <a:p>
          <a:r>
            <a:rPr lang="en-US" sz="1200" dirty="0">
              <a:solidFill>
                <a:schemeClr val="tx2"/>
              </a:solidFill>
            </a:rPr>
            <a:t>eComm Supply Chain</a:t>
          </a:r>
        </a:p>
      </dgm:t>
    </dgm:pt>
    <dgm:pt modelId="{B9827137-67A5-3A4E-8A08-1C1A7EA15A19}" type="parTrans" cxnId="{370FE01C-9C85-F84B-AED6-D1AF4FA8F8B4}">
      <dgm:prSet/>
      <dgm:spPr/>
      <dgm:t>
        <a:bodyPr/>
        <a:lstStyle/>
        <a:p>
          <a:endParaRPr lang="en-US"/>
        </a:p>
      </dgm:t>
    </dgm:pt>
    <dgm:pt modelId="{87DC9FA4-19DA-944D-812B-3CD155742587}" type="sibTrans" cxnId="{370FE01C-9C85-F84B-AED6-D1AF4FA8F8B4}">
      <dgm:prSet/>
      <dgm:spPr/>
      <dgm:t>
        <a:bodyPr/>
        <a:lstStyle/>
        <a:p>
          <a:endParaRPr lang="en-US"/>
        </a:p>
      </dgm:t>
    </dgm:pt>
    <dgm:pt modelId="{F40A8E2C-3E9D-1241-8651-923532146DEA}">
      <dgm:prSet custT="1"/>
      <dgm:spPr/>
      <dgm:t>
        <a:bodyPr/>
        <a:lstStyle/>
        <a:p>
          <a:r>
            <a:rPr lang="en-US" sz="1200" dirty="0">
              <a:solidFill>
                <a:schemeClr val="tx2"/>
              </a:solidFill>
            </a:rPr>
            <a:t>eComm IT, </a:t>
          </a:r>
        </a:p>
        <a:p>
          <a:r>
            <a:rPr lang="en-US" sz="1200" dirty="0">
              <a:solidFill>
                <a:schemeClr val="tx2"/>
              </a:solidFill>
            </a:rPr>
            <a:t>etc.</a:t>
          </a:r>
        </a:p>
      </dgm:t>
    </dgm:pt>
    <dgm:pt modelId="{D0A750B6-F543-3041-B0B3-93F1A7044AE4}" type="parTrans" cxnId="{5FCF7FB3-45C3-1F44-9AA2-A0727B9EA8D1}">
      <dgm:prSet/>
      <dgm:spPr/>
      <dgm:t>
        <a:bodyPr/>
        <a:lstStyle/>
        <a:p>
          <a:endParaRPr lang="en-US"/>
        </a:p>
      </dgm:t>
    </dgm:pt>
    <dgm:pt modelId="{F9C78866-066E-8741-972E-C5A8F4E2B362}" type="sibTrans" cxnId="{5FCF7FB3-45C3-1F44-9AA2-A0727B9EA8D1}">
      <dgm:prSet/>
      <dgm:spPr/>
      <dgm:t>
        <a:bodyPr/>
        <a:lstStyle/>
        <a:p>
          <a:endParaRPr lang="en-US"/>
        </a:p>
      </dgm:t>
    </dgm:pt>
    <dgm:pt modelId="{C508BD45-EC4F-C94F-9091-73B22F800FD8}">
      <dgm:prSet custT="1"/>
      <dgm:spPr/>
      <dgm:t>
        <a:bodyPr/>
        <a:lstStyle/>
        <a:p>
          <a:r>
            <a:rPr lang="en-US" sz="1200" dirty="0">
              <a:solidFill>
                <a:schemeClr val="tx2"/>
              </a:solidFill>
            </a:rPr>
            <a:t>eComm acct </a:t>
          </a:r>
          <a:r>
            <a:rPr lang="en-US" sz="1200" dirty="0" err="1">
              <a:solidFill>
                <a:schemeClr val="tx2"/>
              </a:solidFill>
            </a:rPr>
            <a:t>mgr</a:t>
          </a:r>
          <a:r>
            <a:rPr lang="en-US" sz="1200" dirty="0">
              <a:solidFill>
                <a:schemeClr val="tx2"/>
              </a:solidFill>
            </a:rPr>
            <a:t> 1</a:t>
          </a:r>
        </a:p>
      </dgm:t>
    </dgm:pt>
    <dgm:pt modelId="{167BEB8B-2468-5140-8854-47A10D2AA451}" type="parTrans" cxnId="{E99FACBE-325D-0445-9C28-9F538BAB4254}">
      <dgm:prSet/>
      <dgm:spPr/>
      <dgm:t>
        <a:bodyPr/>
        <a:lstStyle/>
        <a:p>
          <a:endParaRPr lang="en-US"/>
        </a:p>
      </dgm:t>
    </dgm:pt>
    <dgm:pt modelId="{6080936D-1F23-2047-89EF-5FC13989FE02}" type="sibTrans" cxnId="{E99FACBE-325D-0445-9C28-9F538BAB4254}">
      <dgm:prSet/>
      <dgm:spPr/>
      <dgm:t>
        <a:bodyPr/>
        <a:lstStyle/>
        <a:p>
          <a:endParaRPr lang="en-US"/>
        </a:p>
      </dgm:t>
    </dgm:pt>
    <dgm:pt modelId="{8EB92004-4397-3045-BA54-11D41FF86836}">
      <dgm:prSet custT="1"/>
      <dgm:spPr/>
      <dgm:t>
        <a:bodyPr/>
        <a:lstStyle/>
        <a:p>
          <a:r>
            <a:rPr lang="en-US" sz="1200" dirty="0">
              <a:solidFill>
                <a:schemeClr val="tx2"/>
              </a:solidFill>
            </a:rPr>
            <a:t>eComm acct </a:t>
          </a:r>
          <a:r>
            <a:rPr lang="en-US" sz="1200" dirty="0" err="1">
              <a:solidFill>
                <a:schemeClr val="tx2"/>
              </a:solidFill>
            </a:rPr>
            <a:t>mgr</a:t>
          </a:r>
          <a:r>
            <a:rPr lang="en-US" sz="1200" dirty="0">
              <a:solidFill>
                <a:schemeClr val="tx2"/>
              </a:solidFill>
            </a:rPr>
            <a:t> 2</a:t>
          </a:r>
        </a:p>
      </dgm:t>
    </dgm:pt>
    <dgm:pt modelId="{150B8C1B-EA7A-3645-BB67-3C719950FFB0}" type="parTrans" cxnId="{05868360-D214-B94B-A290-7509ACC4A643}">
      <dgm:prSet/>
      <dgm:spPr/>
      <dgm:t>
        <a:bodyPr/>
        <a:lstStyle/>
        <a:p>
          <a:endParaRPr lang="en-US"/>
        </a:p>
      </dgm:t>
    </dgm:pt>
    <dgm:pt modelId="{C780B6A1-CFBD-9C4F-9B32-12710AC7C568}" type="sibTrans" cxnId="{05868360-D214-B94B-A290-7509ACC4A643}">
      <dgm:prSet/>
      <dgm:spPr/>
      <dgm:t>
        <a:bodyPr/>
        <a:lstStyle/>
        <a:p>
          <a:endParaRPr lang="en-US"/>
        </a:p>
      </dgm:t>
    </dgm:pt>
    <dgm:pt modelId="{C54E42E5-47EC-F846-B690-CFC3339C99B1}">
      <dgm:prSet custT="1"/>
      <dgm:spPr/>
      <dgm:t>
        <a:bodyPr/>
        <a:lstStyle/>
        <a:p>
          <a:r>
            <a:rPr lang="en-US" sz="1200" dirty="0">
              <a:solidFill>
                <a:schemeClr val="tx2"/>
              </a:solidFill>
            </a:rPr>
            <a:t>eComm content </a:t>
          </a:r>
          <a:r>
            <a:rPr lang="en-US" sz="1200" dirty="0" err="1">
              <a:solidFill>
                <a:schemeClr val="tx2"/>
              </a:solidFill>
            </a:rPr>
            <a:t>mgr</a:t>
          </a:r>
          <a:endParaRPr lang="en-US" sz="1200" dirty="0">
            <a:solidFill>
              <a:schemeClr val="tx2"/>
            </a:solidFill>
          </a:endParaRPr>
        </a:p>
      </dgm:t>
    </dgm:pt>
    <dgm:pt modelId="{32A1192C-F512-054E-8CDD-7B757A7881E4}" type="parTrans" cxnId="{100D1266-8632-5B4F-AE30-5DE0C8E38BED}">
      <dgm:prSet/>
      <dgm:spPr/>
      <dgm:t>
        <a:bodyPr/>
        <a:lstStyle/>
        <a:p>
          <a:endParaRPr lang="en-US"/>
        </a:p>
      </dgm:t>
    </dgm:pt>
    <dgm:pt modelId="{A5516315-3F3E-F84A-963E-B14A7EA85999}" type="sibTrans" cxnId="{100D1266-8632-5B4F-AE30-5DE0C8E38BED}">
      <dgm:prSet/>
      <dgm:spPr/>
      <dgm:t>
        <a:bodyPr/>
        <a:lstStyle/>
        <a:p>
          <a:endParaRPr lang="en-US"/>
        </a:p>
      </dgm:t>
    </dgm:pt>
    <dgm:pt modelId="{E55F1ADD-7EBB-1943-BBA1-1FAC37900DE5}">
      <dgm:prSet custT="1"/>
      <dgm:spPr/>
      <dgm:t>
        <a:bodyPr/>
        <a:lstStyle/>
        <a:p>
          <a:r>
            <a:rPr lang="en-US" sz="1200" dirty="0">
              <a:solidFill>
                <a:schemeClr val="tx2"/>
              </a:solidFill>
            </a:rPr>
            <a:t>eComm Search, retail media, …</a:t>
          </a:r>
        </a:p>
      </dgm:t>
    </dgm:pt>
    <dgm:pt modelId="{E2388FF7-9C5D-B646-BD97-475CD385729D}" type="parTrans" cxnId="{F26A6430-1DAD-DF45-B72D-DEF12A91B601}">
      <dgm:prSet/>
      <dgm:spPr/>
      <dgm:t>
        <a:bodyPr/>
        <a:lstStyle/>
        <a:p>
          <a:endParaRPr lang="en-US"/>
        </a:p>
      </dgm:t>
    </dgm:pt>
    <dgm:pt modelId="{22C6B9E2-E4BB-1A4D-856C-4FB0E1266B7E}" type="sibTrans" cxnId="{F26A6430-1DAD-DF45-B72D-DEF12A91B601}">
      <dgm:prSet/>
      <dgm:spPr/>
      <dgm:t>
        <a:bodyPr/>
        <a:lstStyle/>
        <a:p>
          <a:endParaRPr lang="en-US"/>
        </a:p>
      </dgm:t>
    </dgm:pt>
    <dgm:pt modelId="{CAD03FEA-6017-6846-B9A6-D20FBCFD9D11}" type="pres">
      <dgm:prSet presAssocID="{E9AB19ED-295F-1946-AE0D-07223C29A4FC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801E9509-6E74-8E43-BA1F-C7C2C9A689CF}" type="pres">
      <dgm:prSet presAssocID="{16E46015-769F-E54F-B70D-41FD8DC84BBA}" presName="hierRoot1" presStyleCnt="0"/>
      <dgm:spPr/>
    </dgm:pt>
    <dgm:pt modelId="{1E91748D-B13B-7B46-A0E1-A40274062518}" type="pres">
      <dgm:prSet presAssocID="{16E46015-769F-E54F-B70D-41FD8DC84BBA}" presName="composite" presStyleCnt="0"/>
      <dgm:spPr/>
    </dgm:pt>
    <dgm:pt modelId="{1AB6C1EB-2575-DB48-817B-B652F2995B59}" type="pres">
      <dgm:prSet presAssocID="{16E46015-769F-E54F-B70D-41FD8DC84BBA}" presName="background" presStyleLbl="node0" presStyleIdx="0" presStyleCnt="1"/>
      <dgm:spPr/>
    </dgm:pt>
    <dgm:pt modelId="{397A054A-4BE6-4646-823F-6CD75A6B6520}" type="pres">
      <dgm:prSet presAssocID="{16E46015-769F-E54F-B70D-41FD8DC84BBA}" presName="text" presStyleLbl="fgAcc0" presStyleIdx="0" presStyleCnt="1" custScaleX="254983">
        <dgm:presLayoutVars>
          <dgm:chPref val="3"/>
        </dgm:presLayoutVars>
      </dgm:prSet>
      <dgm:spPr/>
    </dgm:pt>
    <dgm:pt modelId="{B9B7ED5A-689B-1546-8FA7-D770713A91D5}" type="pres">
      <dgm:prSet presAssocID="{16E46015-769F-E54F-B70D-41FD8DC84BBA}" presName="hierChild2" presStyleCnt="0"/>
      <dgm:spPr/>
    </dgm:pt>
    <dgm:pt modelId="{977A3B20-68CB-4F46-9348-45B10BBE509F}" type="pres">
      <dgm:prSet presAssocID="{1546236E-2C37-1749-81B0-488A0361AD1A}" presName="Name10" presStyleLbl="parChTrans1D2" presStyleIdx="0" presStyleCnt="1"/>
      <dgm:spPr/>
    </dgm:pt>
    <dgm:pt modelId="{B15E43E3-872C-BE41-BD68-62741D49DB22}" type="pres">
      <dgm:prSet presAssocID="{99168621-6584-ED48-A3FE-3EA48CF723D7}" presName="hierRoot2" presStyleCnt="0"/>
      <dgm:spPr/>
    </dgm:pt>
    <dgm:pt modelId="{4A4478F8-173B-794A-8A82-2E0C486FD940}" type="pres">
      <dgm:prSet presAssocID="{99168621-6584-ED48-A3FE-3EA48CF723D7}" presName="composite2" presStyleCnt="0"/>
      <dgm:spPr/>
    </dgm:pt>
    <dgm:pt modelId="{1F635745-27BF-C240-B06C-4535F98DA12D}" type="pres">
      <dgm:prSet presAssocID="{99168621-6584-ED48-A3FE-3EA48CF723D7}" presName="background2" presStyleLbl="node2" presStyleIdx="0" presStyleCnt="1"/>
      <dgm:spPr>
        <a:solidFill>
          <a:srgbClr val="81A8CC"/>
        </a:solidFill>
      </dgm:spPr>
    </dgm:pt>
    <dgm:pt modelId="{E0C64DA3-FCC1-034F-B7B7-A00C54807430}" type="pres">
      <dgm:prSet presAssocID="{99168621-6584-ED48-A3FE-3EA48CF723D7}" presName="text2" presStyleLbl="fgAcc2" presStyleIdx="0" presStyleCnt="1" custScaleX="257816">
        <dgm:presLayoutVars>
          <dgm:chPref val="3"/>
        </dgm:presLayoutVars>
      </dgm:prSet>
      <dgm:spPr/>
    </dgm:pt>
    <dgm:pt modelId="{481C1C85-795B-3E4E-9A55-915971290EE2}" type="pres">
      <dgm:prSet presAssocID="{99168621-6584-ED48-A3FE-3EA48CF723D7}" presName="hierChild3" presStyleCnt="0"/>
      <dgm:spPr/>
    </dgm:pt>
    <dgm:pt modelId="{A9B69776-DAA7-4E4F-8C21-C7E3C679F48C}" type="pres">
      <dgm:prSet presAssocID="{B1214F10-601B-324F-A6C7-24E80666EBDE}" presName="Name17" presStyleLbl="parChTrans1D3" presStyleIdx="0" presStyleCnt="5"/>
      <dgm:spPr/>
    </dgm:pt>
    <dgm:pt modelId="{C129F7DB-494A-DD48-BB4E-3BC00860333E}" type="pres">
      <dgm:prSet presAssocID="{EA197F90-EDA8-184E-A1A9-752E341887B3}" presName="hierRoot3" presStyleCnt="0"/>
      <dgm:spPr/>
    </dgm:pt>
    <dgm:pt modelId="{6BD6A5F4-51D8-2E4D-8D12-EFADD2B6DB43}" type="pres">
      <dgm:prSet presAssocID="{EA197F90-EDA8-184E-A1A9-752E341887B3}" presName="composite3" presStyleCnt="0"/>
      <dgm:spPr/>
    </dgm:pt>
    <dgm:pt modelId="{1783D9F6-AA95-AF44-9D8D-0BBDD504A25C}" type="pres">
      <dgm:prSet presAssocID="{EA197F90-EDA8-184E-A1A9-752E341887B3}" presName="background3" presStyleLbl="node3" presStyleIdx="0" presStyleCnt="5"/>
      <dgm:spPr>
        <a:solidFill>
          <a:srgbClr val="81A8CC"/>
        </a:solidFill>
      </dgm:spPr>
    </dgm:pt>
    <dgm:pt modelId="{425FC952-94ED-4C44-B46B-0DB9D4B8D178}" type="pres">
      <dgm:prSet presAssocID="{EA197F90-EDA8-184E-A1A9-752E341887B3}" presName="text3" presStyleLbl="fgAcc3" presStyleIdx="0" presStyleCnt="5" custLinFactX="100000" custLinFactNeighborX="139136" custLinFactNeighborY="-7072">
        <dgm:presLayoutVars>
          <dgm:chPref val="3"/>
        </dgm:presLayoutVars>
      </dgm:prSet>
      <dgm:spPr/>
    </dgm:pt>
    <dgm:pt modelId="{3C2DB2DE-9564-4F4B-979F-261221D17409}" type="pres">
      <dgm:prSet presAssocID="{EA197F90-EDA8-184E-A1A9-752E341887B3}" presName="hierChild4" presStyleCnt="0"/>
      <dgm:spPr/>
    </dgm:pt>
    <dgm:pt modelId="{022C9409-DE78-2443-B5C3-52FF4080A77C}" type="pres">
      <dgm:prSet presAssocID="{76FF1E08-3D39-9348-A423-EAC161E0462C}" presName="Name17" presStyleLbl="parChTrans1D3" presStyleIdx="1" presStyleCnt="5"/>
      <dgm:spPr/>
    </dgm:pt>
    <dgm:pt modelId="{6C81925A-AB8B-4448-A7FE-999ACC0E8411}" type="pres">
      <dgm:prSet presAssocID="{40386CA3-DEDB-AC4C-B3C6-0669F1EEBE5D}" presName="hierRoot3" presStyleCnt="0"/>
      <dgm:spPr/>
    </dgm:pt>
    <dgm:pt modelId="{DC4153D9-3F9C-3544-9691-3D283AA4033B}" type="pres">
      <dgm:prSet presAssocID="{40386CA3-DEDB-AC4C-B3C6-0669F1EEBE5D}" presName="composite3" presStyleCnt="0"/>
      <dgm:spPr/>
    </dgm:pt>
    <dgm:pt modelId="{3710C92F-33D7-B649-B0D9-9017538486CA}" type="pres">
      <dgm:prSet presAssocID="{40386CA3-DEDB-AC4C-B3C6-0669F1EEBE5D}" presName="background3" presStyleLbl="node3" presStyleIdx="1" presStyleCnt="5"/>
      <dgm:spPr>
        <a:solidFill>
          <a:srgbClr val="81A8CC"/>
        </a:solidFill>
      </dgm:spPr>
    </dgm:pt>
    <dgm:pt modelId="{0787C654-CFDA-194F-8229-FDD55AE11003}" type="pres">
      <dgm:prSet presAssocID="{40386CA3-DEDB-AC4C-B3C6-0669F1EEBE5D}" presName="text3" presStyleLbl="fgAcc3" presStyleIdx="1" presStyleCnt="5">
        <dgm:presLayoutVars>
          <dgm:chPref val="3"/>
        </dgm:presLayoutVars>
      </dgm:prSet>
      <dgm:spPr/>
    </dgm:pt>
    <dgm:pt modelId="{0FD0DFD4-2F66-3248-98BA-A3406122FABE}" type="pres">
      <dgm:prSet presAssocID="{40386CA3-DEDB-AC4C-B3C6-0669F1EEBE5D}" presName="hierChild4" presStyleCnt="0"/>
      <dgm:spPr/>
    </dgm:pt>
    <dgm:pt modelId="{C7B9DD6E-51A0-904B-8857-909BCF7C5674}" type="pres">
      <dgm:prSet presAssocID="{167BEB8B-2468-5140-8854-47A10D2AA451}" presName="Name23" presStyleLbl="parChTrans1D4" presStyleIdx="0" presStyleCnt="4"/>
      <dgm:spPr/>
    </dgm:pt>
    <dgm:pt modelId="{13086A1C-74EC-824E-8650-8280068A544A}" type="pres">
      <dgm:prSet presAssocID="{C508BD45-EC4F-C94F-9091-73B22F800FD8}" presName="hierRoot4" presStyleCnt="0"/>
      <dgm:spPr/>
    </dgm:pt>
    <dgm:pt modelId="{2100BCF3-FA32-C34C-B954-86EA7A6480A9}" type="pres">
      <dgm:prSet presAssocID="{C508BD45-EC4F-C94F-9091-73B22F800FD8}" presName="composite4" presStyleCnt="0"/>
      <dgm:spPr/>
    </dgm:pt>
    <dgm:pt modelId="{C7655E1A-F69A-2240-8532-D629F5470B88}" type="pres">
      <dgm:prSet presAssocID="{C508BD45-EC4F-C94F-9091-73B22F800FD8}" presName="background4" presStyleLbl="node4" presStyleIdx="0" presStyleCnt="4"/>
      <dgm:spPr>
        <a:solidFill>
          <a:srgbClr val="81A8CC"/>
        </a:solidFill>
      </dgm:spPr>
    </dgm:pt>
    <dgm:pt modelId="{A95E405A-8BED-6442-8CC9-9C0009CD6103}" type="pres">
      <dgm:prSet presAssocID="{C508BD45-EC4F-C94F-9091-73B22F800FD8}" presName="text4" presStyleLbl="fgAcc4" presStyleIdx="0" presStyleCnt="4">
        <dgm:presLayoutVars>
          <dgm:chPref val="3"/>
        </dgm:presLayoutVars>
      </dgm:prSet>
      <dgm:spPr/>
    </dgm:pt>
    <dgm:pt modelId="{1BE64540-D932-5E4A-8616-73D6D924B336}" type="pres">
      <dgm:prSet presAssocID="{C508BD45-EC4F-C94F-9091-73B22F800FD8}" presName="hierChild5" presStyleCnt="0"/>
      <dgm:spPr/>
    </dgm:pt>
    <dgm:pt modelId="{B9ADEC48-AA9E-BE44-8AC8-5F200116D2DF}" type="pres">
      <dgm:prSet presAssocID="{150B8C1B-EA7A-3645-BB67-3C719950FFB0}" presName="Name23" presStyleLbl="parChTrans1D4" presStyleIdx="1" presStyleCnt="4"/>
      <dgm:spPr/>
    </dgm:pt>
    <dgm:pt modelId="{D39E80CD-39ED-FF49-8AAC-60FC0CE8783D}" type="pres">
      <dgm:prSet presAssocID="{8EB92004-4397-3045-BA54-11D41FF86836}" presName="hierRoot4" presStyleCnt="0"/>
      <dgm:spPr/>
    </dgm:pt>
    <dgm:pt modelId="{C5154B2F-E84A-2543-9FE0-06E25EF3B931}" type="pres">
      <dgm:prSet presAssocID="{8EB92004-4397-3045-BA54-11D41FF86836}" presName="composite4" presStyleCnt="0"/>
      <dgm:spPr/>
    </dgm:pt>
    <dgm:pt modelId="{F753397C-3B8F-EB40-B566-A96301CF8610}" type="pres">
      <dgm:prSet presAssocID="{8EB92004-4397-3045-BA54-11D41FF86836}" presName="background4" presStyleLbl="node4" presStyleIdx="1" presStyleCnt="4"/>
      <dgm:spPr>
        <a:solidFill>
          <a:srgbClr val="81A8CC"/>
        </a:solidFill>
      </dgm:spPr>
    </dgm:pt>
    <dgm:pt modelId="{401B9797-75B6-C348-838B-D970019D853D}" type="pres">
      <dgm:prSet presAssocID="{8EB92004-4397-3045-BA54-11D41FF86836}" presName="text4" presStyleLbl="fgAcc4" presStyleIdx="1" presStyleCnt="4">
        <dgm:presLayoutVars>
          <dgm:chPref val="3"/>
        </dgm:presLayoutVars>
      </dgm:prSet>
      <dgm:spPr/>
    </dgm:pt>
    <dgm:pt modelId="{B008F341-C80A-4D42-9EF4-C29ACA204B5D}" type="pres">
      <dgm:prSet presAssocID="{8EB92004-4397-3045-BA54-11D41FF86836}" presName="hierChild5" presStyleCnt="0"/>
      <dgm:spPr/>
    </dgm:pt>
    <dgm:pt modelId="{94766F0A-F9FB-C24E-BA1C-6D4787D0588F}" type="pres">
      <dgm:prSet presAssocID="{3556209A-D601-2145-8291-277162B3E1AF}" presName="Name17" presStyleLbl="parChTrans1D3" presStyleIdx="2" presStyleCnt="5"/>
      <dgm:spPr/>
    </dgm:pt>
    <dgm:pt modelId="{5F03E3F8-8520-7C41-BAF3-55CE050E634B}" type="pres">
      <dgm:prSet presAssocID="{E1864C72-E21C-DF40-BB52-367A2816E3FF}" presName="hierRoot3" presStyleCnt="0"/>
      <dgm:spPr/>
    </dgm:pt>
    <dgm:pt modelId="{3A5C49AB-23DD-B54D-9E9D-11BDC4D4FE76}" type="pres">
      <dgm:prSet presAssocID="{E1864C72-E21C-DF40-BB52-367A2816E3FF}" presName="composite3" presStyleCnt="0"/>
      <dgm:spPr/>
    </dgm:pt>
    <dgm:pt modelId="{D980659C-BB47-D843-9F4B-B28E86B68156}" type="pres">
      <dgm:prSet presAssocID="{E1864C72-E21C-DF40-BB52-367A2816E3FF}" presName="background3" presStyleLbl="node3" presStyleIdx="2" presStyleCnt="5"/>
      <dgm:spPr>
        <a:solidFill>
          <a:srgbClr val="81A8CC"/>
        </a:solidFill>
      </dgm:spPr>
    </dgm:pt>
    <dgm:pt modelId="{8477324F-7AA7-BC41-92F4-44C571E623FA}" type="pres">
      <dgm:prSet presAssocID="{E1864C72-E21C-DF40-BB52-367A2816E3FF}" presName="text3" presStyleLbl="fgAcc3" presStyleIdx="2" presStyleCnt="5">
        <dgm:presLayoutVars>
          <dgm:chPref val="3"/>
        </dgm:presLayoutVars>
      </dgm:prSet>
      <dgm:spPr/>
    </dgm:pt>
    <dgm:pt modelId="{F7A07C22-AB39-A449-9FDD-61C1A532963E}" type="pres">
      <dgm:prSet presAssocID="{E1864C72-E21C-DF40-BB52-367A2816E3FF}" presName="hierChild4" presStyleCnt="0"/>
      <dgm:spPr/>
    </dgm:pt>
    <dgm:pt modelId="{2D91320B-81D3-1745-BB17-FE0DAAECE491}" type="pres">
      <dgm:prSet presAssocID="{32A1192C-F512-054E-8CDD-7B757A7881E4}" presName="Name23" presStyleLbl="parChTrans1D4" presStyleIdx="2" presStyleCnt="4"/>
      <dgm:spPr/>
    </dgm:pt>
    <dgm:pt modelId="{A95140F8-4FE1-AE41-BE35-958C5B32E152}" type="pres">
      <dgm:prSet presAssocID="{C54E42E5-47EC-F846-B690-CFC3339C99B1}" presName="hierRoot4" presStyleCnt="0"/>
      <dgm:spPr/>
    </dgm:pt>
    <dgm:pt modelId="{0B55756F-3F16-C940-836C-A919431727B5}" type="pres">
      <dgm:prSet presAssocID="{C54E42E5-47EC-F846-B690-CFC3339C99B1}" presName="composite4" presStyleCnt="0"/>
      <dgm:spPr/>
    </dgm:pt>
    <dgm:pt modelId="{5569FFBF-F9AA-B846-B166-03ACE060325E}" type="pres">
      <dgm:prSet presAssocID="{C54E42E5-47EC-F846-B690-CFC3339C99B1}" presName="background4" presStyleLbl="node4" presStyleIdx="2" presStyleCnt="4"/>
      <dgm:spPr>
        <a:solidFill>
          <a:srgbClr val="81A8CC"/>
        </a:solidFill>
      </dgm:spPr>
    </dgm:pt>
    <dgm:pt modelId="{0D7B1CEC-3ABA-F84D-8B66-D3068C56238F}" type="pres">
      <dgm:prSet presAssocID="{C54E42E5-47EC-F846-B690-CFC3339C99B1}" presName="text4" presStyleLbl="fgAcc4" presStyleIdx="2" presStyleCnt="4">
        <dgm:presLayoutVars>
          <dgm:chPref val="3"/>
        </dgm:presLayoutVars>
      </dgm:prSet>
      <dgm:spPr/>
    </dgm:pt>
    <dgm:pt modelId="{763CD60F-6E7D-0A43-8326-83E8427D4EC8}" type="pres">
      <dgm:prSet presAssocID="{C54E42E5-47EC-F846-B690-CFC3339C99B1}" presName="hierChild5" presStyleCnt="0"/>
      <dgm:spPr/>
    </dgm:pt>
    <dgm:pt modelId="{4839B11D-45D3-F040-B964-E9BB5C79A10A}" type="pres">
      <dgm:prSet presAssocID="{E2388FF7-9C5D-B646-BD97-475CD385729D}" presName="Name23" presStyleLbl="parChTrans1D4" presStyleIdx="3" presStyleCnt="4"/>
      <dgm:spPr/>
    </dgm:pt>
    <dgm:pt modelId="{10A74362-D387-FF41-8727-4B2FA0F27AB0}" type="pres">
      <dgm:prSet presAssocID="{E55F1ADD-7EBB-1943-BBA1-1FAC37900DE5}" presName="hierRoot4" presStyleCnt="0"/>
      <dgm:spPr/>
    </dgm:pt>
    <dgm:pt modelId="{627A9FB8-6083-9E4C-BF18-4AC27098E12F}" type="pres">
      <dgm:prSet presAssocID="{E55F1ADD-7EBB-1943-BBA1-1FAC37900DE5}" presName="composite4" presStyleCnt="0"/>
      <dgm:spPr/>
    </dgm:pt>
    <dgm:pt modelId="{9A72F312-657D-5E47-85F3-D3DEA235E5FF}" type="pres">
      <dgm:prSet presAssocID="{E55F1ADD-7EBB-1943-BBA1-1FAC37900DE5}" presName="background4" presStyleLbl="node4" presStyleIdx="3" presStyleCnt="4"/>
      <dgm:spPr>
        <a:solidFill>
          <a:srgbClr val="81A8CC"/>
        </a:solidFill>
      </dgm:spPr>
    </dgm:pt>
    <dgm:pt modelId="{CD51B4E7-88EC-2D4F-BE93-A3043D7BAF00}" type="pres">
      <dgm:prSet presAssocID="{E55F1ADD-7EBB-1943-BBA1-1FAC37900DE5}" presName="text4" presStyleLbl="fgAcc4" presStyleIdx="3" presStyleCnt="4" custScaleX="118008" custScaleY="137827">
        <dgm:presLayoutVars>
          <dgm:chPref val="3"/>
        </dgm:presLayoutVars>
      </dgm:prSet>
      <dgm:spPr/>
    </dgm:pt>
    <dgm:pt modelId="{C6472D89-F391-6E4F-A367-9B34AE4253D8}" type="pres">
      <dgm:prSet presAssocID="{E55F1ADD-7EBB-1943-BBA1-1FAC37900DE5}" presName="hierChild5" presStyleCnt="0"/>
      <dgm:spPr/>
    </dgm:pt>
    <dgm:pt modelId="{E0BB140A-478B-B34F-B3B5-8F6366D781E2}" type="pres">
      <dgm:prSet presAssocID="{B9827137-67A5-3A4E-8A08-1C1A7EA15A19}" presName="Name17" presStyleLbl="parChTrans1D3" presStyleIdx="3" presStyleCnt="5"/>
      <dgm:spPr/>
    </dgm:pt>
    <dgm:pt modelId="{0789007C-E097-A141-8214-26F4E2D6EF85}" type="pres">
      <dgm:prSet presAssocID="{48C7DFF4-8825-E149-A796-92A4D66B813C}" presName="hierRoot3" presStyleCnt="0"/>
      <dgm:spPr/>
    </dgm:pt>
    <dgm:pt modelId="{F6695A6C-0110-1245-9219-249F3BC4A7CB}" type="pres">
      <dgm:prSet presAssocID="{48C7DFF4-8825-E149-A796-92A4D66B813C}" presName="composite3" presStyleCnt="0"/>
      <dgm:spPr/>
    </dgm:pt>
    <dgm:pt modelId="{313C38EE-7FD9-0046-9CAF-CCE073419EA4}" type="pres">
      <dgm:prSet presAssocID="{48C7DFF4-8825-E149-A796-92A4D66B813C}" presName="background3" presStyleLbl="node3" presStyleIdx="3" presStyleCnt="5"/>
      <dgm:spPr>
        <a:solidFill>
          <a:srgbClr val="81A8CC"/>
        </a:solidFill>
      </dgm:spPr>
    </dgm:pt>
    <dgm:pt modelId="{AD19E87C-E578-824D-AF21-AFEA60C81A83}" type="pres">
      <dgm:prSet presAssocID="{48C7DFF4-8825-E149-A796-92A4D66B813C}" presName="text3" presStyleLbl="fgAcc3" presStyleIdx="3" presStyleCnt="5">
        <dgm:presLayoutVars>
          <dgm:chPref val="3"/>
        </dgm:presLayoutVars>
      </dgm:prSet>
      <dgm:spPr/>
    </dgm:pt>
    <dgm:pt modelId="{EF19E6C3-E75F-3E41-81BD-1D20EA72F19F}" type="pres">
      <dgm:prSet presAssocID="{48C7DFF4-8825-E149-A796-92A4D66B813C}" presName="hierChild4" presStyleCnt="0"/>
      <dgm:spPr/>
    </dgm:pt>
    <dgm:pt modelId="{9B6D2D7C-2E0E-B142-9F79-648C058BF5F3}" type="pres">
      <dgm:prSet presAssocID="{D0A750B6-F543-3041-B0B3-93F1A7044AE4}" presName="Name17" presStyleLbl="parChTrans1D3" presStyleIdx="4" presStyleCnt="5"/>
      <dgm:spPr/>
    </dgm:pt>
    <dgm:pt modelId="{BAB74008-50A2-9143-A6FD-864F44F6A7C9}" type="pres">
      <dgm:prSet presAssocID="{F40A8E2C-3E9D-1241-8651-923532146DEA}" presName="hierRoot3" presStyleCnt="0"/>
      <dgm:spPr/>
    </dgm:pt>
    <dgm:pt modelId="{C8A3EFBF-CBE3-2246-99E3-CA267C9B32F1}" type="pres">
      <dgm:prSet presAssocID="{F40A8E2C-3E9D-1241-8651-923532146DEA}" presName="composite3" presStyleCnt="0"/>
      <dgm:spPr/>
    </dgm:pt>
    <dgm:pt modelId="{22237CDF-7D85-DA4F-823B-64579DEC2FA9}" type="pres">
      <dgm:prSet presAssocID="{F40A8E2C-3E9D-1241-8651-923532146DEA}" presName="background3" presStyleLbl="node3" presStyleIdx="4" presStyleCnt="5"/>
      <dgm:spPr>
        <a:solidFill>
          <a:srgbClr val="81A8CC"/>
        </a:solidFill>
      </dgm:spPr>
    </dgm:pt>
    <dgm:pt modelId="{44F2118F-5285-2F4B-B29F-8DF546231CA4}" type="pres">
      <dgm:prSet presAssocID="{F40A8E2C-3E9D-1241-8651-923532146DEA}" presName="text3" presStyleLbl="fgAcc3" presStyleIdx="4" presStyleCnt="5">
        <dgm:presLayoutVars>
          <dgm:chPref val="3"/>
        </dgm:presLayoutVars>
      </dgm:prSet>
      <dgm:spPr/>
    </dgm:pt>
    <dgm:pt modelId="{C1A6E02D-195C-E540-A67E-3087D0906475}" type="pres">
      <dgm:prSet presAssocID="{F40A8E2C-3E9D-1241-8651-923532146DEA}" presName="hierChild4" presStyleCnt="0"/>
      <dgm:spPr/>
    </dgm:pt>
  </dgm:ptLst>
  <dgm:cxnLst>
    <dgm:cxn modelId="{99C2EC08-7BBF-6848-A60B-BF532B73C223}" type="presOf" srcId="{48C7DFF4-8825-E149-A796-92A4D66B813C}" destId="{AD19E87C-E578-824D-AF21-AFEA60C81A83}" srcOrd="0" destOrd="0" presId="urn:microsoft.com/office/officeart/2005/8/layout/hierarchy1"/>
    <dgm:cxn modelId="{2EACB11C-F882-6B46-ACE8-85B2E0027FB3}" type="presOf" srcId="{EA197F90-EDA8-184E-A1A9-752E341887B3}" destId="{425FC952-94ED-4C44-B46B-0DB9D4B8D178}" srcOrd="0" destOrd="0" presId="urn:microsoft.com/office/officeart/2005/8/layout/hierarchy1"/>
    <dgm:cxn modelId="{370FE01C-9C85-F84B-AED6-D1AF4FA8F8B4}" srcId="{99168621-6584-ED48-A3FE-3EA48CF723D7}" destId="{48C7DFF4-8825-E149-A796-92A4D66B813C}" srcOrd="3" destOrd="0" parTransId="{B9827137-67A5-3A4E-8A08-1C1A7EA15A19}" sibTransId="{87DC9FA4-19DA-944D-812B-3CD155742587}"/>
    <dgm:cxn modelId="{01E2B02B-2A3F-464D-9D61-DCE689015E3D}" srcId="{16E46015-769F-E54F-B70D-41FD8DC84BBA}" destId="{99168621-6584-ED48-A3FE-3EA48CF723D7}" srcOrd="0" destOrd="0" parTransId="{1546236E-2C37-1749-81B0-488A0361AD1A}" sibTransId="{3EC46FC3-21C4-3F40-8B8C-378F98416EC5}"/>
    <dgm:cxn modelId="{F26A6430-1DAD-DF45-B72D-DEF12A91B601}" srcId="{E1864C72-E21C-DF40-BB52-367A2816E3FF}" destId="{E55F1ADD-7EBB-1943-BBA1-1FAC37900DE5}" srcOrd="1" destOrd="0" parTransId="{E2388FF7-9C5D-B646-BD97-475CD385729D}" sibTransId="{22C6B9E2-E4BB-1A4D-856C-4FB0E1266B7E}"/>
    <dgm:cxn modelId="{1A09513B-4CD6-EB4E-AA37-7DE7071518D6}" type="presOf" srcId="{32A1192C-F512-054E-8CDD-7B757A7881E4}" destId="{2D91320B-81D3-1745-BB17-FE0DAAECE491}" srcOrd="0" destOrd="0" presId="urn:microsoft.com/office/officeart/2005/8/layout/hierarchy1"/>
    <dgm:cxn modelId="{F0622A3D-7995-B741-987B-9D46FF2CD48E}" type="presOf" srcId="{C54E42E5-47EC-F846-B690-CFC3339C99B1}" destId="{0D7B1CEC-3ABA-F84D-8B66-D3068C56238F}" srcOrd="0" destOrd="0" presId="urn:microsoft.com/office/officeart/2005/8/layout/hierarchy1"/>
    <dgm:cxn modelId="{AF666960-B753-C349-9A5E-4CAEE26971DC}" type="presOf" srcId="{167BEB8B-2468-5140-8854-47A10D2AA451}" destId="{C7B9DD6E-51A0-904B-8857-909BCF7C5674}" srcOrd="0" destOrd="0" presId="urn:microsoft.com/office/officeart/2005/8/layout/hierarchy1"/>
    <dgm:cxn modelId="{05868360-D214-B94B-A290-7509ACC4A643}" srcId="{40386CA3-DEDB-AC4C-B3C6-0669F1EEBE5D}" destId="{8EB92004-4397-3045-BA54-11D41FF86836}" srcOrd="1" destOrd="0" parTransId="{150B8C1B-EA7A-3645-BB67-3C719950FFB0}" sibTransId="{C780B6A1-CFBD-9C4F-9B32-12710AC7C568}"/>
    <dgm:cxn modelId="{47E1A144-DBDD-FC42-9212-EFCCD6ABDD31}" srcId="{99168621-6584-ED48-A3FE-3EA48CF723D7}" destId="{EA197F90-EDA8-184E-A1A9-752E341887B3}" srcOrd="0" destOrd="0" parTransId="{B1214F10-601B-324F-A6C7-24E80666EBDE}" sibTransId="{660D8122-8210-C34E-A73F-A4F1200A6387}"/>
    <dgm:cxn modelId="{100D1266-8632-5B4F-AE30-5DE0C8E38BED}" srcId="{E1864C72-E21C-DF40-BB52-367A2816E3FF}" destId="{C54E42E5-47EC-F846-B690-CFC3339C99B1}" srcOrd="0" destOrd="0" parTransId="{32A1192C-F512-054E-8CDD-7B757A7881E4}" sibTransId="{A5516315-3F3E-F84A-963E-B14A7EA85999}"/>
    <dgm:cxn modelId="{DF9EF76C-BF1D-8B4D-9ECC-5E8DFF0323B9}" type="presOf" srcId="{16E46015-769F-E54F-B70D-41FD8DC84BBA}" destId="{397A054A-4BE6-4646-823F-6CD75A6B6520}" srcOrd="0" destOrd="0" presId="urn:microsoft.com/office/officeart/2005/8/layout/hierarchy1"/>
    <dgm:cxn modelId="{1F554554-E92D-DE44-BED3-1F4D6D0C15AF}" type="presOf" srcId="{D0A750B6-F543-3041-B0B3-93F1A7044AE4}" destId="{9B6D2D7C-2E0E-B142-9F79-648C058BF5F3}" srcOrd="0" destOrd="0" presId="urn:microsoft.com/office/officeart/2005/8/layout/hierarchy1"/>
    <dgm:cxn modelId="{5F1C6B90-B253-A749-A0D3-2104FEBD7FD4}" type="presOf" srcId="{E1864C72-E21C-DF40-BB52-367A2816E3FF}" destId="{8477324F-7AA7-BC41-92F4-44C571E623FA}" srcOrd="0" destOrd="0" presId="urn:microsoft.com/office/officeart/2005/8/layout/hierarchy1"/>
    <dgm:cxn modelId="{A9B3B190-D844-0C4A-A5EE-8D7A3EF639C6}" type="presOf" srcId="{3556209A-D601-2145-8291-277162B3E1AF}" destId="{94766F0A-F9FB-C24E-BA1C-6D4787D0588F}" srcOrd="0" destOrd="0" presId="urn:microsoft.com/office/officeart/2005/8/layout/hierarchy1"/>
    <dgm:cxn modelId="{A2741B96-4F47-0F46-9FFB-07560EAF380D}" srcId="{99168621-6584-ED48-A3FE-3EA48CF723D7}" destId="{40386CA3-DEDB-AC4C-B3C6-0669F1EEBE5D}" srcOrd="1" destOrd="0" parTransId="{76FF1E08-3D39-9348-A423-EAC161E0462C}" sibTransId="{3183F797-340D-AC44-A11E-ACF9E9F4ECE3}"/>
    <dgm:cxn modelId="{A61F519A-74AE-004E-BB9B-9786485ABF51}" srcId="{E9AB19ED-295F-1946-AE0D-07223C29A4FC}" destId="{16E46015-769F-E54F-B70D-41FD8DC84BBA}" srcOrd="0" destOrd="0" parTransId="{35775004-A547-9E4D-9DB6-B5C97976B806}" sibTransId="{58CCB5EE-E508-484D-A04D-C09DDE67D174}"/>
    <dgm:cxn modelId="{0733BD9F-9C8C-1240-BF67-E2C70C0E3B34}" srcId="{99168621-6584-ED48-A3FE-3EA48CF723D7}" destId="{E1864C72-E21C-DF40-BB52-367A2816E3FF}" srcOrd="2" destOrd="0" parTransId="{3556209A-D601-2145-8291-277162B3E1AF}" sibTransId="{EE5EA411-A989-AA44-B99C-F93F29F66F1D}"/>
    <dgm:cxn modelId="{B1A093A7-40C8-2B4C-86ED-375E6DD64804}" type="presOf" srcId="{E2388FF7-9C5D-B646-BD97-475CD385729D}" destId="{4839B11D-45D3-F040-B964-E9BB5C79A10A}" srcOrd="0" destOrd="0" presId="urn:microsoft.com/office/officeart/2005/8/layout/hierarchy1"/>
    <dgm:cxn modelId="{DB598EA8-7F86-8441-ADED-E4ED9AE1ED49}" type="presOf" srcId="{8EB92004-4397-3045-BA54-11D41FF86836}" destId="{401B9797-75B6-C348-838B-D970019D853D}" srcOrd="0" destOrd="0" presId="urn:microsoft.com/office/officeart/2005/8/layout/hierarchy1"/>
    <dgm:cxn modelId="{070ABBA8-6061-E140-A36C-72264C0535EE}" type="presOf" srcId="{B9827137-67A5-3A4E-8A08-1C1A7EA15A19}" destId="{E0BB140A-478B-B34F-B3B5-8F6366D781E2}" srcOrd="0" destOrd="0" presId="urn:microsoft.com/office/officeart/2005/8/layout/hierarchy1"/>
    <dgm:cxn modelId="{E90B4DAD-5AAC-AB47-8A12-B1729805A387}" type="presOf" srcId="{40386CA3-DEDB-AC4C-B3C6-0669F1EEBE5D}" destId="{0787C654-CFDA-194F-8229-FDD55AE11003}" srcOrd="0" destOrd="0" presId="urn:microsoft.com/office/officeart/2005/8/layout/hierarchy1"/>
    <dgm:cxn modelId="{C27DAFB2-8E3B-884F-B222-6ECE3DCDE822}" type="presOf" srcId="{C508BD45-EC4F-C94F-9091-73B22F800FD8}" destId="{A95E405A-8BED-6442-8CC9-9C0009CD6103}" srcOrd="0" destOrd="0" presId="urn:microsoft.com/office/officeart/2005/8/layout/hierarchy1"/>
    <dgm:cxn modelId="{5FCF7FB3-45C3-1F44-9AA2-A0727B9EA8D1}" srcId="{99168621-6584-ED48-A3FE-3EA48CF723D7}" destId="{F40A8E2C-3E9D-1241-8651-923532146DEA}" srcOrd="4" destOrd="0" parTransId="{D0A750B6-F543-3041-B0B3-93F1A7044AE4}" sibTransId="{F9C78866-066E-8741-972E-C5A8F4E2B362}"/>
    <dgm:cxn modelId="{CC91A6B5-8C97-064A-B2E6-3BDEE86C2600}" type="presOf" srcId="{76FF1E08-3D39-9348-A423-EAC161E0462C}" destId="{022C9409-DE78-2443-B5C3-52FF4080A77C}" srcOrd="0" destOrd="0" presId="urn:microsoft.com/office/officeart/2005/8/layout/hierarchy1"/>
    <dgm:cxn modelId="{E99FACBE-325D-0445-9C28-9F538BAB4254}" srcId="{40386CA3-DEDB-AC4C-B3C6-0669F1EEBE5D}" destId="{C508BD45-EC4F-C94F-9091-73B22F800FD8}" srcOrd="0" destOrd="0" parTransId="{167BEB8B-2468-5140-8854-47A10D2AA451}" sibTransId="{6080936D-1F23-2047-89EF-5FC13989FE02}"/>
    <dgm:cxn modelId="{2F5DD2CE-FA30-F34A-A4F6-D92ECD051763}" type="presOf" srcId="{99168621-6584-ED48-A3FE-3EA48CF723D7}" destId="{E0C64DA3-FCC1-034F-B7B7-A00C54807430}" srcOrd="0" destOrd="0" presId="urn:microsoft.com/office/officeart/2005/8/layout/hierarchy1"/>
    <dgm:cxn modelId="{D707ACD1-9C9E-9245-8921-CEDF49C32923}" type="presOf" srcId="{E9AB19ED-295F-1946-AE0D-07223C29A4FC}" destId="{CAD03FEA-6017-6846-B9A6-D20FBCFD9D11}" srcOrd="0" destOrd="0" presId="urn:microsoft.com/office/officeart/2005/8/layout/hierarchy1"/>
    <dgm:cxn modelId="{4524A8E5-F538-5D40-BAD9-5F591433689B}" type="presOf" srcId="{150B8C1B-EA7A-3645-BB67-3C719950FFB0}" destId="{B9ADEC48-AA9E-BE44-8AC8-5F200116D2DF}" srcOrd="0" destOrd="0" presId="urn:microsoft.com/office/officeart/2005/8/layout/hierarchy1"/>
    <dgm:cxn modelId="{41ED94E8-C315-7349-AEF6-D3A9FDBE7F65}" type="presOf" srcId="{B1214F10-601B-324F-A6C7-24E80666EBDE}" destId="{A9B69776-DAA7-4E4F-8C21-C7E3C679F48C}" srcOrd="0" destOrd="0" presId="urn:microsoft.com/office/officeart/2005/8/layout/hierarchy1"/>
    <dgm:cxn modelId="{358834F9-1059-2145-9B84-E88315DBAD4E}" type="presOf" srcId="{E55F1ADD-7EBB-1943-BBA1-1FAC37900DE5}" destId="{CD51B4E7-88EC-2D4F-BE93-A3043D7BAF00}" srcOrd="0" destOrd="0" presId="urn:microsoft.com/office/officeart/2005/8/layout/hierarchy1"/>
    <dgm:cxn modelId="{E2270EFA-AF98-B84F-9EFF-D23533751F3E}" type="presOf" srcId="{F40A8E2C-3E9D-1241-8651-923532146DEA}" destId="{44F2118F-5285-2F4B-B29F-8DF546231CA4}" srcOrd="0" destOrd="0" presId="urn:microsoft.com/office/officeart/2005/8/layout/hierarchy1"/>
    <dgm:cxn modelId="{6378DCFD-7878-B14F-BA10-53C605314229}" type="presOf" srcId="{1546236E-2C37-1749-81B0-488A0361AD1A}" destId="{977A3B20-68CB-4F46-9348-45B10BBE509F}" srcOrd="0" destOrd="0" presId="urn:microsoft.com/office/officeart/2005/8/layout/hierarchy1"/>
    <dgm:cxn modelId="{6CAF5E24-B023-2442-84B1-12C8FD656CAF}" type="presParOf" srcId="{CAD03FEA-6017-6846-B9A6-D20FBCFD9D11}" destId="{801E9509-6E74-8E43-BA1F-C7C2C9A689CF}" srcOrd="0" destOrd="0" presId="urn:microsoft.com/office/officeart/2005/8/layout/hierarchy1"/>
    <dgm:cxn modelId="{BD5F9941-F56E-9E47-89EB-356469E424C4}" type="presParOf" srcId="{801E9509-6E74-8E43-BA1F-C7C2C9A689CF}" destId="{1E91748D-B13B-7B46-A0E1-A40274062518}" srcOrd="0" destOrd="0" presId="urn:microsoft.com/office/officeart/2005/8/layout/hierarchy1"/>
    <dgm:cxn modelId="{A1D60830-B725-8B4B-8312-E18E587CA15C}" type="presParOf" srcId="{1E91748D-B13B-7B46-A0E1-A40274062518}" destId="{1AB6C1EB-2575-DB48-817B-B652F2995B59}" srcOrd="0" destOrd="0" presId="urn:microsoft.com/office/officeart/2005/8/layout/hierarchy1"/>
    <dgm:cxn modelId="{B42F7047-7E40-1F48-B879-7DE6590B5BC5}" type="presParOf" srcId="{1E91748D-B13B-7B46-A0E1-A40274062518}" destId="{397A054A-4BE6-4646-823F-6CD75A6B6520}" srcOrd="1" destOrd="0" presId="urn:microsoft.com/office/officeart/2005/8/layout/hierarchy1"/>
    <dgm:cxn modelId="{551AC213-A303-2A46-9EAD-7FD4492E7924}" type="presParOf" srcId="{801E9509-6E74-8E43-BA1F-C7C2C9A689CF}" destId="{B9B7ED5A-689B-1546-8FA7-D770713A91D5}" srcOrd="1" destOrd="0" presId="urn:microsoft.com/office/officeart/2005/8/layout/hierarchy1"/>
    <dgm:cxn modelId="{0FCA94B9-F468-AE4D-B176-A448818655AA}" type="presParOf" srcId="{B9B7ED5A-689B-1546-8FA7-D770713A91D5}" destId="{977A3B20-68CB-4F46-9348-45B10BBE509F}" srcOrd="0" destOrd="0" presId="urn:microsoft.com/office/officeart/2005/8/layout/hierarchy1"/>
    <dgm:cxn modelId="{6790B34F-F29C-354B-BF93-699F6D80F97D}" type="presParOf" srcId="{B9B7ED5A-689B-1546-8FA7-D770713A91D5}" destId="{B15E43E3-872C-BE41-BD68-62741D49DB22}" srcOrd="1" destOrd="0" presId="urn:microsoft.com/office/officeart/2005/8/layout/hierarchy1"/>
    <dgm:cxn modelId="{0573CCC1-92B2-0C46-86D0-E3F85691B951}" type="presParOf" srcId="{B15E43E3-872C-BE41-BD68-62741D49DB22}" destId="{4A4478F8-173B-794A-8A82-2E0C486FD940}" srcOrd="0" destOrd="0" presId="urn:microsoft.com/office/officeart/2005/8/layout/hierarchy1"/>
    <dgm:cxn modelId="{98F884BA-DEDD-7A45-984E-03C4017DB765}" type="presParOf" srcId="{4A4478F8-173B-794A-8A82-2E0C486FD940}" destId="{1F635745-27BF-C240-B06C-4535F98DA12D}" srcOrd="0" destOrd="0" presId="urn:microsoft.com/office/officeart/2005/8/layout/hierarchy1"/>
    <dgm:cxn modelId="{50AC57C8-6F17-204F-AC54-EF7BACFCA82A}" type="presParOf" srcId="{4A4478F8-173B-794A-8A82-2E0C486FD940}" destId="{E0C64DA3-FCC1-034F-B7B7-A00C54807430}" srcOrd="1" destOrd="0" presId="urn:microsoft.com/office/officeart/2005/8/layout/hierarchy1"/>
    <dgm:cxn modelId="{C4C2032E-C8F0-B245-AB60-9C6FB711AFDF}" type="presParOf" srcId="{B15E43E3-872C-BE41-BD68-62741D49DB22}" destId="{481C1C85-795B-3E4E-9A55-915971290EE2}" srcOrd="1" destOrd="0" presId="urn:microsoft.com/office/officeart/2005/8/layout/hierarchy1"/>
    <dgm:cxn modelId="{931D1D5F-8857-3F49-B337-F0DC129FAFE0}" type="presParOf" srcId="{481C1C85-795B-3E4E-9A55-915971290EE2}" destId="{A9B69776-DAA7-4E4F-8C21-C7E3C679F48C}" srcOrd="0" destOrd="0" presId="urn:microsoft.com/office/officeart/2005/8/layout/hierarchy1"/>
    <dgm:cxn modelId="{EFA4D680-6C0C-D741-B987-307483FBF3E2}" type="presParOf" srcId="{481C1C85-795B-3E4E-9A55-915971290EE2}" destId="{C129F7DB-494A-DD48-BB4E-3BC00860333E}" srcOrd="1" destOrd="0" presId="urn:microsoft.com/office/officeart/2005/8/layout/hierarchy1"/>
    <dgm:cxn modelId="{F28E1E59-7C9A-6149-8402-8FE6E419AF40}" type="presParOf" srcId="{C129F7DB-494A-DD48-BB4E-3BC00860333E}" destId="{6BD6A5F4-51D8-2E4D-8D12-EFADD2B6DB43}" srcOrd="0" destOrd="0" presId="urn:microsoft.com/office/officeart/2005/8/layout/hierarchy1"/>
    <dgm:cxn modelId="{65169ECE-D992-6742-9048-E54E8137F428}" type="presParOf" srcId="{6BD6A5F4-51D8-2E4D-8D12-EFADD2B6DB43}" destId="{1783D9F6-AA95-AF44-9D8D-0BBDD504A25C}" srcOrd="0" destOrd="0" presId="urn:microsoft.com/office/officeart/2005/8/layout/hierarchy1"/>
    <dgm:cxn modelId="{E9839F3E-D014-7447-BAA5-04B785B3FA56}" type="presParOf" srcId="{6BD6A5F4-51D8-2E4D-8D12-EFADD2B6DB43}" destId="{425FC952-94ED-4C44-B46B-0DB9D4B8D178}" srcOrd="1" destOrd="0" presId="urn:microsoft.com/office/officeart/2005/8/layout/hierarchy1"/>
    <dgm:cxn modelId="{BA506BD7-3B43-524E-BD71-33E8C11BE88F}" type="presParOf" srcId="{C129F7DB-494A-DD48-BB4E-3BC00860333E}" destId="{3C2DB2DE-9564-4F4B-979F-261221D17409}" srcOrd="1" destOrd="0" presId="urn:microsoft.com/office/officeart/2005/8/layout/hierarchy1"/>
    <dgm:cxn modelId="{82DEB9C4-11A1-8B40-90F6-F8AA58CE902A}" type="presParOf" srcId="{481C1C85-795B-3E4E-9A55-915971290EE2}" destId="{022C9409-DE78-2443-B5C3-52FF4080A77C}" srcOrd="2" destOrd="0" presId="urn:microsoft.com/office/officeart/2005/8/layout/hierarchy1"/>
    <dgm:cxn modelId="{E9B2E674-4BEC-6345-B297-F0494700CC86}" type="presParOf" srcId="{481C1C85-795B-3E4E-9A55-915971290EE2}" destId="{6C81925A-AB8B-4448-A7FE-999ACC0E8411}" srcOrd="3" destOrd="0" presId="urn:microsoft.com/office/officeart/2005/8/layout/hierarchy1"/>
    <dgm:cxn modelId="{A838CDF5-566D-2D4A-B295-9234F17FD1B2}" type="presParOf" srcId="{6C81925A-AB8B-4448-A7FE-999ACC0E8411}" destId="{DC4153D9-3F9C-3544-9691-3D283AA4033B}" srcOrd="0" destOrd="0" presId="urn:microsoft.com/office/officeart/2005/8/layout/hierarchy1"/>
    <dgm:cxn modelId="{62CF330A-2DCD-374A-BA4F-D8BC7EB3E10D}" type="presParOf" srcId="{DC4153D9-3F9C-3544-9691-3D283AA4033B}" destId="{3710C92F-33D7-B649-B0D9-9017538486CA}" srcOrd="0" destOrd="0" presId="urn:microsoft.com/office/officeart/2005/8/layout/hierarchy1"/>
    <dgm:cxn modelId="{CF2D1FC3-0A54-E542-BB5E-F709DEFB4C78}" type="presParOf" srcId="{DC4153D9-3F9C-3544-9691-3D283AA4033B}" destId="{0787C654-CFDA-194F-8229-FDD55AE11003}" srcOrd="1" destOrd="0" presId="urn:microsoft.com/office/officeart/2005/8/layout/hierarchy1"/>
    <dgm:cxn modelId="{48F09EBA-1493-C145-8B13-D9D4C10D8D9E}" type="presParOf" srcId="{6C81925A-AB8B-4448-A7FE-999ACC0E8411}" destId="{0FD0DFD4-2F66-3248-98BA-A3406122FABE}" srcOrd="1" destOrd="0" presId="urn:microsoft.com/office/officeart/2005/8/layout/hierarchy1"/>
    <dgm:cxn modelId="{CDA5EB73-68D4-3B40-BAB6-953B3ACE813C}" type="presParOf" srcId="{0FD0DFD4-2F66-3248-98BA-A3406122FABE}" destId="{C7B9DD6E-51A0-904B-8857-909BCF7C5674}" srcOrd="0" destOrd="0" presId="urn:microsoft.com/office/officeart/2005/8/layout/hierarchy1"/>
    <dgm:cxn modelId="{AD0B465E-D0E5-B440-AA5A-034903CA881D}" type="presParOf" srcId="{0FD0DFD4-2F66-3248-98BA-A3406122FABE}" destId="{13086A1C-74EC-824E-8650-8280068A544A}" srcOrd="1" destOrd="0" presId="urn:microsoft.com/office/officeart/2005/8/layout/hierarchy1"/>
    <dgm:cxn modelId="{78C91F23-AB60-F94B-9E1E-CFFDAD977C0E}" type="presParOf" srcId="{13086A1C-74EC-824E-8650-8280068A544A}" destId="{2100BCF3-FA32-C34C-B954-86EA7A6480A9}" srcOrd="0" destOrd="0" presId="urn:microsoft.com/office/officeart/2005/8/layout/hierarchy1"/>
    <dgm:cxn modelId="{4A33F465-9B49-D54B-889C-B13E398B6B9A}" type="presParOf" srcId="{2100BCF3-FA32-C34C-B954-86EA7A6480A9}" destId="{C7655E1A-F69A-2240-8532-D629F5470B88}" srcOrd="0" destOrd="0" presId="urn:microsoft.com/office/officeart/2005/8/layout/hierarchy1"/>
    <dgm:cxn modelId="{85078BE8-9BF7-7642-9768-F7C7C79BFB06}" type="presParOf" srcId="{2100BCF3-FA32-C34C-B954-86EA7A6480A9}" destId="{A95E405A-8BED-6442-8CC9-9C0009CD6103}" srcOrd="1" destOrd="0" presId="urn:microsoft.com/office/officeart/2005/8/layout/hierarchy1"/>
    <dgm:cxn modelId="{B9E90342-0DBB-B847-8D87-9D5ACCFDC4FC}" type="presParOf" srcId="{13086A1C-74EC-824E-8650-8280068A544A}" destId="{1BE64540-D932-5E4A-8616-73D6D924B336}" srcOrd="1" destOrd="0" presId="urn:microsoft.com/office/officeart/2005/8/layout/hierarchy1"/>
    <dgm:cxn modelId="{98D6E942-67C6-2C49-B541-A21975A26DA4}" type="presParOf" srcId="{0FD0DFD4-2F66-3248-98BA-A3406122FABE}" destId="{B9ADEC48-AA9E-BE44-8AC8-5F200116D2DF}" srcOrd="2" destOrd="0" presId="urn:microsoft.com/office/officeart/2005/8/layout/hierarchy1"/>
    <dgm:cxn modelId="{C31C7D2F-A1BE-A447-983C-79584F2DCF44}" type="presParOf" srcId="{0FD0DFD4-2F66-3248-98BA-A3406122FABE}" destId="{D39E80CD-39ED-FF49-8AAC-60FC0CE8783D}" srcOrd="3" destOrd="0" presId="urn:microsoft.com/office/officeart/2005/8/layout/hierarchy1"/>
    <dgm:cxn modelId="{9D78B8AF-AC95-184C-8743-1DE96AD0722E}" type="presParOf" srcId="{D39E80CD-39ED-FF49-8AAC-60FC0CE8783D}" destId="{C5154B2F-E84A-2543-9FE0-06E25EF3B931}" srcOrd="0" destOrd="0" presId="urn:microsoft.com/office/officeart/2005/8/layout/hierarchy1"/>
    <dgm:cxn modelId="{0D400A63-5F6E-6A45-998F-4A720AC1363A}" type="presParOf" srcId="{C5154B2F-E84A-2543-9FE0-06E25EF3B931}" destId="{F753397C-3B8F-EB40-B566-A96301CF8610}" srcOrd="0" destOrd="0" presId="urn:microsoft.com/office/officeart/2005/8/layout/hierarchy1"/>
    <dgm:cxn modelId="{A25AAAF1-94A1-7846-8634-00C19CFCE4D9}" type="presParOf" srcId="{C5154B2F-E84A-2543-9FE0-06E25EF3B931}" destId="{401B9797-75B6-C348-838B-D970019D853D}" srcOrd="1" destOrd="0" presId="urn:microsoft.com/office/officeart/2005/8/layout/hierarchy1"/>
    <dgm:cxn modelId="{CFEFD596-9D26-8447-A257-81FA27E3872B}" type="presParOf" srcId="{D39E80CD-39ED-FF49-8AAC-60FC0CE8783D}" destId="{B008F341-C80A-4D42-9EF4-C29ACA204B5D}" srcOrd="1" destOrd="0" presId="urn:microsoft.com/office/officeart/2005/8/layout/hierarchy1"/>
    <dgm:cxn modelId="{93938C4D-E17A-EA41-81AD-DBEC9B851AF0}" type="presParOf" srcId="{481C1C85-795B-3E4E-9A55-915971290EE2}" destId="{94766F0A-F9FB-C24E-BA1C-6D4787D0588F}" srcOrd="4" destOrd="0" presId="urn:microsoft.com/office/officeart/2005/8/layout/hierarchy1"/>
    <dgm:cxn modelId="{5501780C-DCD2-8A41-8A1A-A2FE6DA2FE28}" type="presParOf" srcId="{481C1C85-795B-3E4E-9A55-915971290EE2}" destId="{5F03E3F8-8520-7C41-BAF3-55CE050E634B}" srcOrd="5" destOrd="0" presId="urn:microsoft.com/office/officeart/2005/8/layout/hierarchy1"/>
    <dgm:cxn modelId="{104C0050-05D2-1F4A-B183-D04EC3893720}" type="presParOf" srcId="{5F03E3F8-8520-7C41-BAF3-55CE050E634B}" destId="{3A5C49AB-23DD-B54D-9E9D-11BDC4D4FE76}" srcOrd="0" destOrd="0" presId="urn:microsoft.com/office/officeart/2005/8/layout/hierarchy1"/>
    <dgm:cxn modelId="{EE5A9982-F9F7-E84E-987C-30DEAF19BCC3}" type="presParOf" srcId="{3A5C49AB-23DD-B54D-9E9D-11BDC4D4FE76}" destId="{D980659C-BB47-D843-9F4B-B28E86B68156}" srcOrd="0" destOrd="0" presId="urn:microsoft.com/office/officeart/2005/8/layout/hierarchy1"/>
    <dgm:cxn modelId="{F00FCB46-CD79-1A48-A875-FB5D1FCFED6C}" type="presParOf" srcId="{3A5C49AB-23DD-B54D-9E9D-11BDC4D4FE76}" destId="{8477324F-7AA7-BC41-92F4-44C571E623FA}" srcOrd="1" destOrd="0" presId="urn:microsoft.com/office/officeart/2005/8/layout/hierarchy1"/>
    <dgm:cxn modelId="{BD158741-B0A4-FA4F-94D9-125CCAFADE11}" type="presParOf" srcId="{5F03E3F8-8520-7C41-BAF3-55CE050E634B}" destId="{F7A07C22-AB39-A449-9FDD-61C1A532963E}" srcOrd="1" destOrd="0" presId="urn:microsoft.com/office/officeart/2005/8/layout/hierarchy1"/>
    <dgm:cxn modelId="{10A21F5A-9850-024F-BEED-BC1972D7C3A3}" type="presParOf" srcId="{F7A07C22-AB39-A449-9FDD-61C1A532963E}" destId="{2D91320B-81D3-1745-BB17-FE0DAAECE491}" srcOrd="0" destOrd="0" presId="urn:microsoft.com/office/officeart/2005/8/layout/hierarchy1"/>
    <dgm:cxn modelId="{A1FE5DD5-8EE8-C740-83CA-D93257D6CDBD}" type="presParOf" srcId="{F7A07C22-AB39-A449-9FDD-61C1A532963E}" destId="{A95140F8-4FE1-AE41-BE35-958C5B32E152}" srcOrd="1" destOrd="0" presId="urn:microsoft.com/office/officeart/2005/8/layout/hierarchy1"/>
    <dgm:cxn modelId="{FE1D3C12-09D9-F943-8730-B31BEE2E1F01}" type="presParOf" srcId="{A95140F8-4FE1-AE41-BE35-958C5B32E152}" destId="{0B55756F-3F16-C940-836C-A919431727B5}" srcOrd="0" destOrd="0" presId="urn:microsoft.com/office/officeart/2005/8/layout/hierarchy1"/>
    <dgm:cxn modelId="{7012AAF7-F2C7-1546-A99D-92F6F31D4591}" type="presParOf" srcId="{0B55756F-3F16-C940-836C-A919431727B5}" destId="{5569FFBF-F9AA-B846-B166-03ACE060325E}" srcOrd="0" destOrd="0" presId="urn:microsoft.com/office/officeart/2005/8/layout/hierarchy1"/>
    <dgm:cxn modelId="{44A1C4A8-A23E-E848-A6B5-D260F12D16CB}" type="presParOf" srcId="{0B55756F-3F16-C940-836C-A919431727B5}" destId="{0D7B1CEC-3ABA-F84D-8B66-D3068C56238F}" srcOrd="1" destOrd="0" presId="urn:microsoft.com/office/officeart/2005/8/layout/hierarchy1"/>
    <dgm:cxn modelId="{3F58F19B-30E8-254C-992A-4235CDE2BEA9}" type="presParOf" srcId="{A95140F8-4FE1-AE41-BE35-958C5B32E152}" destId="{763CD60F-6E7D-0A43-8326-83E8427D4EC8}" srcOrd="1" destOrd="0" presId="urn:microsoft.com/office/officeart/2005/8/layout/hierarchy1"/>
    <dgm:cxn modelId="{F2FDAD6D-C668-1543-8E5B-357C30AE2582}" type="presParOf" srcId="{F7A07C22-AB39-A449-9FDD-61C1A532963E}" destId="{4839B11D-45D3-F040-B964-E9BB5C79A10A}" srcOrd="2" destOrd="0" presId="urn:microsoft.com/office/officeart/2005/8/layout/hierarchy1"/>
    <dgm:cxn modelId="{A9332918-D72C-984F-B745-7CD74C850A7E}" type="presParOf" srcId="{F7A07C22-AB39-A449-9FDD-61C1A532963E}" destId="{10A74362-D387-FF41-8727-4B2FA0F27AB0}" srcOrd="3" destOrd="0" presId="urn:microsoft.com/office/officeart/2005/8/layout/hierarchy1"/>
    <dgm:cxn modelId="{4035E0DB-8F5B-964C-A536-D67CEFE9541A}" type="presParOf" srcId="{10A74362-D387-FF41-8727-4B2FA0F27AB0}" destId="{627A9FB8-6083-9E4C-BF18-4AC27098E12F}" srcOrd="0" destOrd="0" presId="urn:microsoft.com/office/officeart/2005/8/layout/hierarchy1"/>
    <dgm:cxn modelId="{A440DE4C-D057-F549-AB4D-754D631302B8}" type="presParOf" srcId="{627A9FB8-6083-9E4C-BF18-4AC27098E12F}" destId="{9A72F312-657D-5E47-85F3-D3DEA235E5FF}" srcOrd="0" destOrd="0" presId="urn:microsoft.com/office/officeart/2005/8/layout/hierarchy1"/>
    <dgm:cxn modelId="{C5F4A4EC-5F03-EA44-BA54-83C42C18BF6C}" type="presParOf" srcId="{627A9FB8-6083-9E4C-BF18-4AC27098E12F}" destId="{CD51B4E7-88EC-2D4F-BE93-A3043D7BAF00}" srcOrd="1" destOrd="0" presId="urn:microsoft.com/office/officeart/2005/8/layout/hierarchy1"/>
    <dgm:cxn modelId="{D4C5A62C-EA9E-4B41-9DC3-5A1D83E7225D}" type="presParOf" srcId="{10A74362-D387-FF41-8727-4B2FA0F27AB0}" destId="{C6472D89-F391-6E4F-A367-9B34AE4253D8}" srcOrd="1" destOrd="0" presId="urn:microsoft.com/office/officeart/2005/8/layout/hierarchy1"/>
    <dgm:cxn modelId="{3724B80A-FE16-C74D-9745-AFD390C77907}" type="presParOf" srcId="{481C1C85-795B-3E4E-9A55-915971290EE2}" destId="{E0BB140A-478B-B34F-B3B5-8F6366D781E2}" srcOrd="6" destOrd="0" presId="urn:microsoft.com/office/officeart/2005/8/layout/hierarchy1"/>
    <dgm:cxn modelId="{BBDFE00E-06B3-C64A-B8CD-B3B7F3617708}" type="presParOf" srcId="{481C1C85-795B-3E4E-9A55-915971290EE2}" destId="{0789007C-E097-A141-8214-26F4E2D6EF85}" srcOrd="7" destOrd="0" presId="urn:microsoft.com/office/officeart/2005/8/layout/hierarchy1"/>
    <dgm:cxn modelId="{77A476E6-106D-AF4C-95DE-58013374A181}" type="presParOf" srcId="{0789007C-E097-A141-8214-26F4E2D6EF85}" destId="{F6695A6C-0110-1245-9219-249F3BC4A7CB}" srcOrd="0" destOrd="0" presId="urn:microsoft.com/office/officeart/2005/8/layout/hierarchy1"/>
    <dgm:cxn modelId="{E04287DA-97A6-B74B-AFD0-469B89979E55}" type="presParOf" srcId="{F6695A6C-0110-1245-9219-249F3BC4A7CB}" destId="{313C38EE-7FD9-0046-9CAF-CCE073419EA4}" srcOrd="0" destOrd="0" presId="urn:microsoft.com/office/officeart/2005/8/layout/hierarchy1"/>
    <dgm:cxn modelId="{EEC89B86-2462-1040-BF73-1A2D13C7C067}" type="presParOf" srcId="{F6695A6C-0110-1245-9219-249F3BC4A7CB}" destId="{AD19E87C-E578-824D-AF21-AFEA60C81A83}" srcOrd="1" destOrd="0" presId="urn:microsoft.com/office/officeart/2005/8/layout/hierarchy1"/>
    <dgm:cxn modelId="{B10A0E34-CE09-8548-844A-A1635964AF73}" type="presParOf" srcId="{0789007C-E097-A141-8214-26F4E2D6EF85}" destId="{EF19E6C3-E75F-3E41-81BD-1D20EA72F19F}" srcOrd="1" destOrd="0" presId="urn:microsoft.com/office/officeart/2005/8/layout/hierarchy1"/>
    <dgm:cxn modelId="{061E6966-275C-D34F-AE53-67B70B39C3D6}" type="presParOf" srcId="{481C1C85-795B-3E4E-9A55-915971290EE2}" destId="{9B6D2D7C-2E0E-B142-9F79-648C058BF5F3}" srcOrd="8" destOrd="0" presId="urn:microsoft.com/office/officeart/2005/8/layout/hierarchy1"/>
    <dgm:cxn modelId="{76A6782F-9202-2B4B-8618-DBDE48E60EAF}" type="presParOf" srcId="{481C1C85-795B-3E4E-9A55-915971290EE2}" destId="{BAB74008-50A2-9143-A6FD-864F44F6A7C9}" srcOrd="9" destOrd="0" presId="urn:microsoft.com/office/officeart/2005/8/layout/hierarchy1"/>
    <dgm:cxn modelId="{A3F3FE4B-3A78-1C47-B155-BA9FCFDCDCA0}" type="presParOf" srcId="{BAB74008-50A2-9143-A6FD-864F44F6A7C9}" destId="{C8A3EFBF-CBE3-2246-99E3-CA267C9B32F1}" srcOrd="0" destOrd="0" presId="urn:microsoft.com/office/officeart/2005/8/layout/hierarchy1"/>
    <dgm:cxn modelId="{22CB3CB6-7E44-594D-B263-E08A8C34F12E}" type="presParOf" srcId="{C8A3EFBF-CBE3-2246-99E3-CA267C9B32F1}" destId="{22237CDF-7D85-DA4F-823B-64579DEC2FA9}" srcOrd="0" destOrd="0" presId="urn:microsoft.com/office/officeart/2005/8/layout/hierarchy1"/>
    <dgm:cxn modelId="{42D30FA5-EB6A-CE45-A787-B06C655C3AEF}" type="presParOf" srcId="{C8A3EFBF-CBE3-2246-99E3-CA267C9B32F1}" destId="{44F2118F-5285-2F4B-B29F-8DF546231CA4}" srcOrd="1" destOrd="0" presId="urn:microsoft.com/office/officeart/2005/8/layout/hierarchy1"/>
    <dgm:cxn modelId="{B9118522-E14F-5441-8069-A91EFD046C36}" type="presParOf" srcId="{BAB74008-50A2-9143-A6FD-864F44F6A7C9}" destId="{C1A6E02D-195C-E540-A67E-3087D0906475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9AB19ED-295F-1946-AE0D-07223C29A4FC}" type="doc">
      <dgm:prSet loTypeId="urn:microsoft.com/office/officeart/2005/8/layout/hierarchy1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6E46015-769F-E54F-B70D-41FD8DC84BBA}">
      <dgm:prSet phldrT="[Text]" custT="1"/>
      <dgm:spPr/>
      <dgm:t>
        <a:bodyPr/>
        <a:lstStyle/>
        <a:p>
          <a:r>
            <a:rPr lang="en-US" sz="1200" dirty="0">
              <a:solidFill>
                <a:schemeClr val="tx2"/>
              </a:solidFill>
            </a:rPr>
            <a:t>C-Suite</a:t>
          </a:r>
        </a:p>
      </dgm:t>
    </dgm:pt>
    <dgm:pt modelId="{35775004-A547-9E4D-9DB6-B5C97976B806}" type="parTrans" cxnId="{A61F519A-74AE-004E-BB9B-9786485ABF51}">
      <dgm:prSet/>
      <dgm:spPr/>
      <dgm:t>
        <a:bodyPr/>
        <a:lstStyle/>
        <a:p>
          <a:endParaRPr lang="en-US"/>
        </a:p>
      </dgm:t>
    </dgm:pt>
    <dgm:pt modelId="{58CCB5EE-E508-484D-A04D-C09DDE67D174}" type="sibTrans" cxnId="{A61F519A-74AE-004E-BB9B-9786485ABF51}">
      <dgm:prSet/>
      <dgm:spPr/>
      <dgm:t>
        <a:bodyPr/>
        <a:lstStyle/>
        <a:p>
          <a:endParaRPr lang="en-US"/>
        </a:p>
      </dgm:t>
    </dgm:pt>
    <dgm:pt modelId="{99168621-6584-ED48-A3FE-3EA48CF723D7}">
      <dgm:prSet custT="1"/>
      <dgm:spPr/>
      <dgm:t>
        <a:bodyPr/>
        <a:lstStyle/>
        <a:p>
          <a:r>
            <a:rPr lang="en-US" sz="1200" dirty="0">
              <a:solidFill>
                <a:schemeClr val="tx2"/>
              </a:solidFill>
            </a:rPr>
            <a:t>Sales</a:t>
          </a:r>
        </a:p>
      </dgm:t>
    </dgm:pt>
    <dgm:pt modelId="{1546236E-2C37-1749-81B0-488A0361AD1A}" type="parTrans" cxnId="{01E2B02B-2A3F-464D-9D61-DCE689015E3D}">
      <dgm:prSet/>
      <dgm:spPr/>
      <dgm:t>
        <a:bodyPr/>
        <a:lstStyle/>
        <a:p>
          <a:endParaRPr lang="en-US"/>
        </a:p>
      </dgm:t>
    </dgm:pt>
    <dgm:pt modelId="{3EC46FC3-21C4-3F40-8B8C-378F98416EC5}" type="sibTrans" cxnId="{01E2B02B-2A3F-464D-9D61-DCE689015E3D}">
      <dgm:prSet/>
      <dgm:spPr/>
      <dgm:t>
        <a:bodyPr/>
        <a:lstStyle/>
        <a:p>
          <a:endParaRPr lang="en-US"/>
        </a:p>
      </dgm:t>
    </dgm:pt>
    <dgm:pt modelId="{456E718F-9150-6F4F-92DD-C422F9EC156E}">
      <dgm:prSet custT="1"/>
      <dgm:spPr/>
      <dgm:t>
        <a:bodyPr/>
        <a:lstStyle/>
        <a:p>
          <a:r>
            <a:rPr lang="en-US" sz="1200" dirty="0">
              <a:solidFill>
                <a:schemeClr val="tx2"/>
              </a:solidFill>
            </a:rPr>
            <a:t>Marketing</a:t>
          </a:r>
        </a:p>
      </dgm:t>
    </dgm:pt>
    <dgm:pt modelId="{4F1629F0-A126-4847-9CC3-2B48FEE3CE4A}" type="parTrans" cxnId="{EA4A9453-3555-964C-9216-E938DD1B84EF}">
      <dgm:prSet/>
      <dgm:spPr/>
      <dgm:t>
        <a:bodyPr/>
        <a:lstStyle/>
        <a:p>
          <a:endParaRPr lang="en-US"/>
        </a:p>
      </dgm:t>
    </dgm:pt>
    <dgm:pt modelId="{F008B771-8A6B-0B4F-90C4-D20A7FC41D0E}" type="sibTrans" cxnId="{EA4A9453-3555-964C-9216-E938DD1B84EF}">
      <dgm:prSet/>
      <dgm:spPr/>
      <dgm:t>
        <a:bodyPr/>
        <a:lstStyle/>
        <a:p>
          <a:endParaRPr lang="en-US"/>
        </a:p>
      </dgm:t>
    </dgm:pt>
    <dgm:pt modelId="{30BEC2F1-69F3-0E42-A02D-5BD6E8503498}">
      <dgm:prSet custT="1"/>
      <dgm:spPr/>
      <dgm:t>
        <a:bodyPr/>
        <a:lstStyle/>
        <a:p>
          <a:r>
            <a:rPr lang="en-US" sz="1200" dirty="0">
              <a:solidFill>
                <a:schemeClr val="tx2"/>
              </a:solidFill>
            </a:rPr>
            <a:t>Supply Chain</a:t>
          </a:r>
        </a:p>
      </dgm:t>
    </dgm:pt>
    <dgm:pt modelId="{A3F3816D-4106-1C4E-AE18-0F4BBE3E3CAF}" type="parTrans" cxnId="{59E914AE-BA40-A04B-9DC4-68318A8E65F8}">
      <dgm:prSet/>
      <dgm:spPr/>
      <dgm:t>
        <a:bodyPr/>
        <a:lstStyle/>
        <a:p>
          <a:endParaRPr lang="en-US"/>
        </a:p>
      </dgm:t>
    </dgm:pt>
    <dgm:pt modelId="{78194F6C-6255-D641-9C16-A0BF570BD09D}" type="sibTrans" cxnId="{59E914AE-BA40-A04B-9DC4-68318A8E65F8}">
      <dgm:prSet/>
      <dgm:spPr/>
      <dgm:t>
        <a:bodyPr/>
        <a:lstStyle/>
        <a:p>
          <a:endParaRPr lang="en-US"/>
        </a:p>
      </dgm:t>
    </dgm:pt>
    <dgm:pt modelId="{04B3FAF9-7071-C24C-96E6-20CC3D8D043F}">
      <dgm:prSet custT="1"/>
      <dgm:spPr/>
      <dgm:t>
        <a:bodyPr/>
        <a:lstStyle/>
        <a:p>
          <a:r>
            <a:rPr lang="en-US" sz="1200" dirty="0">
              <a:solidFill>
                <a:schemeClr val="tx2"/>
              </a:solidFill>
            </a:rPr>
            <a:t>Other X-functions </a:t>
          </a:r>
        </a:p>
      </dgm:t>
    </dgm:pt>
    <dgm:pt modelId="{3455FA4D-5DFA-D947-8BA8-C28D4D3ABF8D}" type="parTrans" cxnId="{AC76E0C7-9C05-0947-A3C1-0AF975649484}">
      <dgm:prSet/>
      <dgm:spPr/>
      <dgm:t>
        <a:bodyPr/>
        <a:lstStyle/>
        <a:p>
          <a:endParaRPr lang="en-US"/>
        </a:p>
      </dgm:t>
    </dgm:pt>
    <dgm:pt modelId="{083451CE-6F01-5641-90E5-299ADB113AEA}" type="sibTrans" cxnId="{AC76E0C7-9C05-0947-A3C1-0AF975649484}">
      <dgm:prSet/>
      <dgm:spPr/>
      <dgm:t>
        <a:bodyPr/>
        <a:lstStyle/>
        <a:p>
          <a:endParaRPr lang="en-US"/>
        </a:p>
      </dgm:t>
    </dgm:pt>
    <dgm:pt modelId="{40386CA3-DEDB-AC4C-B3C6-0669F1EEBE5D}">
      <dgm:prSet custT="1"/>
      <dgm:spPr/>
      <dgm:t>
        <a:bodyPr/>
        <a:lstStyle/>
        <a:p>
          <a:r>
            <a:rPr lang="en-US" sz="1200" dirty="0">
              <a:solidFill>
                <a:schemeClr val="tx2"/>
              </a:solidFill>
            </a:rPr>
            <a:t>eComm Sales</a:t>
          </a:r>
        </a:p>
      </dgm:t>
    </dgm:pt>
    <dgm:pt modelId="{76FF1E08-3D39-9348-A423-EAC161E0462C}" type="parTrans" cxnId="{A2741B96-4F47-0F46-9FFB-07560EAF380D}">
      <dgm:prSet/>
      <dgm:spPr/>
      <dgm:t>
        <a:bodyPr/>
        <a:lstStyle/>
        <a:p>
          <a:endParaRPr lang="en-US"/>
        </a:p>
      </dgm:t>
    </dgm:pt>
    <dgm:pt modelId="{3183F797-340D-AC44-A11E-ACF9E9F4ECE3}" type="sibTrans" cxnId="{A2741B96-4F47-0F46-9FFB-07560EAF380D}">
      <dgm:prSet/>
      <dgm:spPr/>
      <dgm:t>
        <a:bodyPr/>
        <a:lstStyle/>
        <a:p>
          <a:endParaRPr lang="en-US"/>
        </a:p>
      </dgm:t>
    </dgm:pt>
    <dgm:pt modelId="{4E83E4C9-4090-3145-849E-AEFC840155DB}">
      <dgm:prSet custT="1"/>
      <dgm:spPr/>
      <dgm:t>
        <a:bodyPr/>
        <a:lstStyle/>
        <a:p>
          <a:r>
            <a:rPr lang="en-US" sz="1200" dirty="0">
              <a:solidFill>
                <a:schemeClr val="tx2"/>
              </a:solidFill>
            </a:rPr>
            <a:t>eComm Mktg</a:t>
          </a:r>
        </a:p>
      </dgm:t>
    </dgm:pt>
    <dgm:pt modelId="{EACE0F94-0053-144B-8A64-B77B261C8D94}" type="parTrans" cxnId="{10400CB6-DCE3-694D-8E20-6FB39E44D155}">
      <dgm:prSet/>
      <dgm:spPr/>
      <dgm:t>
        <a:bodyPr/>
        <a:lstStyle/>
        <a:p>
          <a:endParaRPr lang="en-US"/>
        </a:p>
      </dgm:t>
    </dgm:pt>
    <dgm:pt modelId="{F75E11C0-84EA-F445-9317-71E999613814}" type="sibTrans" cxnId="{10400CB6-DCE3-694D-8E20-6FB39E44D155}">
      <dgm:prSet/>
      <dgm:spPr/>
      <dgm:t>
        <a:bodyPr/>
        <a:lstStyle/>
        <a:p>
          <a:endParaRPr lang="en-US"/>
        </a:p>
      </dgm:t>
    </dgm:pt>
    <dgm:pt modelId="{EADB697E-1753-2F40-B6EE-3298E2C98E5F}">
      <dgm:prSet custT="1"/>
      <dgm:spPr/>
      <dgm:t>
        <a:bodyPr/>
        <a:lstStyle/>
        <a:p>
          <a:r>
            <a:rPr lang="en-US" sz="1200" dirty="0">
              <a:solidFill>
                <a:schemeClr val="tx2"/>
              </a:solidFill>
            </a:rPr>
            <a:t>eComm Supply Chain</a:t>
          </a:r>
        </a:p>
      </dgm:t>
    </dgm:pt>
    <dgm:pt modelId="{88B32BA2-83EA-244D-8CEC-8676EB3CF1B6}" type="parTrans" cxnId="{52E51D3B-B5C5-9D49-B8CA-6478B6E265D9}">
      <dgm:prSet/>
      <dgm:spPr/>
      <dgm:t>
        <a:bodyPr/>
        <a:lstStyle/>
        <a:p>
          <a:endParaRPr lang="en-US"/>
        </a:p>
      </dgm:t>
    </dgm:pt>
    <dgm:pt modelId="{6843CBF8-51A1-0343-87BB-0F29BA221BB9}" type="sibTrans" cxnId="{52E51D3B-B5C5-9D49-B8CA-6478B6E265D9}">
      <dgm:prSet/>
      <dgm:spPr/>
      <dgm:t>
        <a:bodyPr/>
        <a:lstStyle/>
        <a:p>
          <a:endParaRPr lang="en-US"/>
        </a:p>
      </dgm:t>
    </dgm:pt>
    <dgm:pt modelId="{E7B0A1AA-BEF3-1348-A48E-E3895FFD37E6}">
      <dgm:prSet custT="1"/>
      <dgm:spPr/>
      <dgm:t>
        <a:bodyPr/>
        <a:lstStyle/>
        <a:p>
          <a:r>
            <a:rPr lang="en-US" sz="1200" dirty="0">
              <a:solidFill>
                <a:schemeClr val="tx2"/>
              </a:solidFill>
            </a:rPr>
            <a:t>eComm IT, etc.</a:t>
          </a:r>
        </a:p>
      </dgm:t>
    </dgm:pt>
    <dgm:pt modelId="{00487CE5-123E-D749-AEC6-EAED6234C435}" type="parTrans" cxnId="{5DBAAACD-0BFF-3F47-A92C-48F270237D67}">
      <dgm:prSet/>
      <dgm:spPr/>
      <dgm:t>
        <a:bodyPr/>
        <a:lstStyle/>
        <a:p>
          <a:endParaRPr lang="en-US"/>
        </a:p>
      </dgm:t>
    </dgm:pt>
    <dgm:pt modelId="{75329BCE-FF6E-824A-9990-90BF2E95A9B3}" type="sibTrans" cxnId="{5DBAAACD-0BFF-3F47-A92C-48F270237D67}">
      <dgm:prSet/>
      <dgm:spPr/>
      <dgm:t>
        <a:bodyPr/>
        <a:lstStyle/>
        <a:p>
          <a:endParaRPr lang="en-US"/>
        </a:p>
      </dgm:t>
    </dgm:pt>
    <dgm:pt modelId="{CAD03FEA-6017-6846-B9A6-D20FBCFD9D11}" type="pres">
      <dgm:prSet presAssocID="{E9AB19ED-295F-1946-AE0D-07223C29A4FC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801E9509-6E74-8E43-BA1F-C7C2C9A689CF}" type="pres">
      <dgm:prSet presAssocID="{16E46015-769F-E54F-B70D-41FD8DC84BBA}" presName="hierRoot1" presStyleCnt="0"/>
      <dgm:spPr/>
    </dgm:pt>
    <dgm:pt modelId="{1E91748D-B13B-7B46-A0E1-A40274062518}" type="pres">
      <dgm:prSet presAssocID="{16E46015-769F-E54F-B70D-41FD8DC84BBA}" presName="composite" presStyleCnt="0"/>
      <dgm:spPr/>
    </dgm:pt>
    <dgm:pt modelId="{1AB6C1EB-2575-DB48-817B-B652F2995B59}" type="pres">
      <dgm:prSet presAssocID="{16E46015-769F-E54F-B70D-41FD8DC84BBA}" presName="background" presStyleLbl="node0" presStyleIdx="0" presStyleCnt="1"/>
      <dgm:spPr/>
    </dgm:pt>
    <dgm:pt modelId="{397A054A-4BE6-4646-823F-6CD75A6B6520}" type="pres">
      <dgm:prSet presAssocID="{16E46015-769F-E54F-B70D-41FD8DC84BBA}" presName="text" presStyleLbl="fgAcc0" presStyleIdx="0" presStyleCnt="1">
        <dgm:presLayoutVars>
          <dgm:chPref val="3"/>
        </dgm:presLayoutVars>
      </dgm:prSet>
      <dgm:spPr/>
    </dgm:pt>
    <dgm:pt modelId="{B9B7ED5A-689B-1546-8FA7-D770713A91D5}" type="pres">
      <dgm:prSet presAssocID="{16E46015-769F-E54F-B70D-41FD8DC84BBA}" presName="hierChild2" presStyleCnt="0"/>
      <dgm:spPr/>
    </dgm:pt>
    <dgm:pt modelId="{977A3B20-68CB-4F46-9348-45B10BBE509F}" type="pres">
      <dgm:prSet presAssocID="{1546236E-2C37-1749-81B0-488A0361AD1A}" presName="Name10" presStyleLbl="parChTrans1D2" presStyleIdx="0" presStyleCnt="4"/>
      <dgm:spPr/>
    </dgm:pt>
    <dgm:pt modelId="{B15E43E3-872C-BE41-BD68-62741D49DB22}" type="pres">
      <dgm:prSet presAssocID="{99168621-6584-ED48-A3FE-3EA48CF723D7}" presName="hierRoot2" presStyleCnt="0"/>
      <dgm:spPr/>
    </dgm:pt>
    <dgm:pt modelId="{4A4478F8-173B-794A-8A82-2E0C486FD940}" type="pres">
      <dgm:prSet presAssocID="{99168621-6584-ED48-A3FE-3EA48CF723D7}" presName="composite2" presStyleCnt="0"/>
      <dgm:spPr/>
    </dgm:pt>
    <dgm:pt modelId="{1F635745-27BF-C240-B06C-4535F98DA12D}" type="pres">
      <dgm:prSet presAssocID="{99168621-6584-ED48-A3FE-3EA48CF723D7}" presName="background2" presStyleLbl="node2" presStyleIdx="0" presStyleCnt="4"/>
      <dgm:spPr/>
    </dgm:pt>
    <dgm:pt modelId="{E0C64DA3-FCC1-034F-B7B7-A00C54807430}" type="pres">
      <dgm:prSet presAssocID="{99168621-6584-ED48-A3FE-3EA48CF723D7}" presName="text2" presStyleLbl="fgAcc2" presStyleIdx="0" presStyleCnt="4">
        <dgm:presLayoutVars>
          <dgm:chPref val="3"/>
        </dgm:presLayoutVars>
      </dgm:prSet>
      <dgm:spPr/>
    </dgm:pt>
    <dgm:pt modelId="{481C1C85-795B-3E4E-9A55-915971290EE2}" type="pres">
      <dgm:prSet presAssocID="{99168621-6584-ED48-A3FE-3EA48CF723D7}" presName="hierChild3" presStyleCnt="0"/>
      <dgm:spPr/>
    </dgm:pt>
    <dgm:pt modelId="{022C9409-DE78-2443-B5C3-52FF4080A77C}" type="pres">
      <dgm:prSet presAssocID="{76FF1E08-3D39-9348-A423-EAC161E0462C}" presName="Name17" presStyleLbl="parChTrans1D3" presStyleIdx="0" presStyleCnt="4"/>
      <dgm:spPr/>
    </dgm:pt>
    <dgm:pt modelId="{6C81925A-AB8B-4448-A7FE-999ACC0E8411}" type="pres">
      <dgm:prSet presAssocID="{40386CA3-DEDB-AC4C-B3C6-0669F1EEBE5D}" presName="hierRoot3" presStyleCnt="0"/>
      <dgm:spPr/>
    </dgm:pt>
    <dgm:pt modelId="{DC4153D9-3F9C-3544-9691-3D283AA4033B}" type="pres">
      <dgm:prSet presAssocID="{40386CA3-DEDB-AC4C-B3C6-0669F1EEBE5D}" presName="composite3" presStyleCnt="0"/>
      <dgm:spPr/>
    </dgm:pt>
    <dgm:pt modelId="{3710C92F-33D7-B649-B0D9-9017538486CA}" type="pres">
      <dgm:prSet presAssocID="{40386CA3-DEDB-AC4C-B3C6-0669F1EEBE5D}" presName="background3" presStyleLbl="node3" presStyleIdx="0" presStyleCnt="4"/>
      <dgm:spPr>
        <a:solidFill>
          <a:srgbClr val="81A8CC"/>
        </a:solidFill>
      </dgm:spPr>
    </dgm:pt>
    <dgm:pt modelId="{0787C654-CFDA-194F-8229-FDD55AE11003}" type="pres">
      <dgm:prSet presAssocID="{40386CA3-DEDB-AC4C-B3C6-0669F1EEBE5D}" presName="text3" presStyleLbl="fgAcc3" presStyleIdx="0" presStyleCnt="4">
        <dgm:presLayoutVars>
          <dgm:chPref val="3"/>
        </dgm:presLayoutVars>
      </dgm:prSet>
      <dgm:spPr/>
    </dgm:pt>
    <dgm:pt modelId="{0FD0DFD4-2F66-3248-98BA-A3406122FABE}" type="pres">
      <dgm:prSet presAssocID="{40386CA3-DEDB-AC4C-B3C6-0669F1EEBE5D}" presName="hierChild4" presStyleCnt="0"/>
      <dgm:spPr/>
    </dgm:pt>
    <dgm:pt modelId="{F5D9896A-85A7-464A-8955-D65C28B8C391}" type="pres">
      <dgm:prSet presAssocID="{4F1629F0-A126-4847-9CC3-2B48FEE3CE4A}" presName="Name10" presStyleLbl="parChTrans1D2" presStyleIdx="1" presStyleCnt="4"/>
      <dgm:spPr/>
    </dgm:pt>
    <dgm:pt modelId="{007CDC06-CF38-7D47-A659-04076E631AB5}" type="pres">
      <dgm:prSet presAssocID="{456E718F-9150-6F4F-92DD-C422F9EC156E}" presName="hierRoot2" presStyleCnt="0"/>
      <dgm:spPr/>
    </dgm:pt>
    <dgm:pt modelId="{59CF64CF-E702-7546-A505-060DD98FC1A5}" type="pres">
      <dgm:prSet presAssocID="{456E718F-9150-6F4F-92DD-C422F9EC156E}" presName="composite2" presStyleCnt="0"/>
      <dgm:spPr/>
    </dgm:pt>
    <dgm:pt modelId="{10D89D2A-2896-C946-BCBE-4EFCB411F552}" type="pres">
      <dgm:prSet presAssocID="{456E718F-9150-6F4F-92DD-C422F9EC156E}" presName="background2" presStyleLbl="node2" presStyleIdx="1" presStyleCnt="4"/>
      <dgm:spPr/>
    </dgm:pt>
    <dgm:pt modelId="{962B8FF4-087E-CF4E-9F12-4896DA584FE9}" type="pres">
      <dgm:prSet presAssocID="{456E718F-9150-6F4F-92DD-C422F9EC156E}" presName="text2" presStyleLbl="fgAcc2" presStyleIdx="1" presStyleCnt="4">
        <dgm:presLayoutVars>
          <dgm:chPref val="3"/>
        </dgm:presLayoutVars>
      </dgm:prSet>
      <dgm:spPr/>
    </dgm:pt>
    <dgm:pt modelId="{66282038-E1DF-6341-80AB-B9C1AB424F86}" type="pres">
      <dgm:prSet presAssocID="{456E718F-9150-6F4F-92DD-C422F9EC156E}" presName="hierChild3" presStyleCnt="0"/>
      <dgm:spPr/>
    </dgm:pt>
    <dgm:pt modelId="{96A9A9E8-5B5B-E246-ADC7-81D018DC797E}" type="pres">
      <dgm:prSet presAssocID="{EACE0F94-0053-144B-8A64-B77B261C8D94}" presName="Name17" presStyleLbl="parChTrans1D3" presStyleIdx="1" presStyleCnt="4"/>
      <dgm:spPr/>
    </dgm:pt>
    <dgm:pt modelId="{0AE3853D-815D-A14D-A84F-DFA8111018D7}" type="pres">
      <dgm:prSet presAssocID="{4E83E4C9-4090-3145-849E-AEFC840155DB}" presName="hierRoot3" presStyleCnt="0"/>
      <dgm:spPr/>
    </dgm:pt>
    <dgm:pt modelId="{2B6D7D82-391A-414C-A43F-74A42DE1CF89}" type="pres">
      <dgm:prSet presAssocID="{4E83E4C9-4090-3145-849E-AEFC840155DB}" presName="composite3" presStyleCnt="0"/>
      <dgm:spPr/>
    </dgm:pt>
    <dgm:pt modelId="{0CAED66E-7A7A-3D4C-A3D3-38EC5D61FCBF}" type="pres">
      <dgm:prSet presAssocID="{4E83E4C9-4090-3145-849E-AEFC840155DB}" presName="background3" presStyleLbl="node3" presStyleIdx="1" presStyleCnt="4"/>
      <dgm:spPr>
        <a:solidFill>
          <a:srgbClr val="81A8CC"/>
        </a:solidFill>
      </dgm:spPr>
    </dgm:pt>
    <dgm:pt modelId="{ADA76CD6-64DB-4A4B-9778-4EF8797AEB24}" type="pres">
      <dgm:prSet presAssocID="{4E83E4C9-4090-3145-849E-AEFC840155DB}" presName="text3" presStyleLbl="fgAcc3" presStyleIdx="1" presStyleCnt="4">
        <dgm:presLayoutVars>
          <dgm:chPref val="3"/>
        </dgm:presLayoutVars>
      </dgm:prSet>
      <dgm:spPr/>
    </dgm:pt>
    <dgm:pt modelId="{D1FC0029-2DB8-214F-AECC-A11BD70B0427}" type="pres">
      <dgm:prSet presAssocID="{4E83E4C9-4090-3145-849E-AEFC840155DB}" presName="hierChild4" presStyleCnt="0"/>
      <dgm:spPr/>
    </dgm:pt>
    <dgm:pt modelId="{62A59445-CD70-5648-AEBD-FDF8EEFF7987}" type="pres">
      <dgm:prSet presAssocID="{A3F3816D-4106-1C4E-AE18-0F4BBE3E3CAF}" presName="Name10" presStyleLbl="parChTrans1D2" presStyleIdx="2" presStyleCnt="4"/>
      <dgm:spPr/>
    </dgm:pt>
    <dgm:pt modelId="{D30BF2E0-3D58-374B-9B8A-7FB2E796A3F3}" type="pres">
      <dgm:prSet presAssocID="{30BEC2F1-69F3-0E42-A02D-5BD6E8503498}" presName="hierRoot2" presStyleCnt="0"/>
      <dgm:spPr/>
    </dgm:pt>
    <dgm:pt modelId="{F53A9460-E493-024C-94D0-91B21250B350}" type="pres">
      <dgm:prSet presAssocID="{30BEC2F1-69F3-0E42-A02D-5BD6E8503498}" presName="composite2" presStyleCnt="0"/>
      <dgm:spPr/>
    </dgm:pt>
    <dgm:pt modelId="{E5DCE789-E7A6-4341-8B40-C1815D54F713}" type="pres">
      <dgm:prSet presAssocID="{30BEC2F1-69F3-0E42-A02D-5BD6E8503498}" presName="background2" presStyleLbl="node2" presStyleIdx="2" presStyleCnt="4"/>
      <dgm:spPr/>
    </dgm:pt>
    <dgm:pt modelId="{930FF762-2423-AC44-A63D-E9652CC0024B}" type="pres">
      <dgm:prSet presAssocID="{30BEC2F1-69F3-0E42-A02D-5BD6E8503498}" presName="text2" presStyleLbl="fgAcc2" presStyleIdx="2" presStyleCnt="4">
        <dgm:presLayoutVars>
          <dgm:chPref val="3"/>
        </dgm:presLayoutVars>
      </dgm:prSet>
      <dgm:spPr/>
    </dgm:pt>
    <dgm:pt modelId="{EA42F04A-34CA-E14E-ACED-A9B73BA2D30A}" type="pres">
      <dgm:prSet presAssocID="{30BEC2F1-69F3-0E42-A02D-5BD6E8503498}" presName="hierChild3" presStyleCnt="0"/>
      <dgm:spPr/>
    </dgm:pt>
    <dgm:pt modelId="{BB14CF04-68BF-F64A-B000-1B2A9C7B88F7}" type="pres">
      <dgm:prSet presAssocID="{88B32BA2-83EA-244D-8CEC-8676EB3CF1B6}" presName="Name17" presStyleLbl="parChTrans1D3" presStyleIdx="2" presStyleCnt="4"/>
      <dgm:spPr/>
    </dgm:pt>
    <dgm:pt modelId="{A8EB4039-2E50-F54C-BFCA-FEBFAD718E13}" type="pres">
      <dgm:prSet presAssocID="{EADB697E-1753-2F40-B6EE-3298E2C98E5F}" presName="hierRoot3" presStyleCnt="0"/>
      <dgm:spPr/>
    </dgm:pt>
    <dgm:pt modelId="{2CFF3A87-E3DE-2940-B185-AC1389A9A78C}" type="pres">
      <dgm:prSet presAssocID="{EADB697E-1753-2F40-B6EE-3298E2C98E5F}" presName="composite3" presStyleCnt="0"/>
      <dgm:spPr/>
    </dgm:pt>
    <dgm:pt modelId="{3D84166D-FA81-3546-9ED4-0FDB00BA82A5}" type="pres">
      <dgm:prSet presAssocID="{EADB697E-1753-2F40-B6EE-3298E2C98E5F}" presName="background3" presStyleLbl="node3" presStyleIdx="2" presStyleCnt="4"/>
      <dgm:spPr>
        <a:solidFill>
          <a:srgbClr val="81A8CC"/>
        </a:solidFill>
      </dgm:spPr>
    </dgm:pt>
    <dgm:pt modelId="{F6AA1541-FBAD-A64F-A943-71B13FC1CEDA}" type="pres">
      <dgm:prSet presAssocID="{EADB697E-1753-2F40-B6EE-3298E2C98E5F}" presName="text3" presStyleLbl="fgAcc3" presStyleIdx="2" presStyleCnt="4">
        <dgm:presLayoutVars>
          <dgm:chPref val="3"/>
        </dgm:presLayoutVars>
      </dgm:prSet>
      <dgm:spPr/>
    </dgm:pt>
    <dgm:pt modelId="{F844B8BE-D476-8D45-BA25-AC8B250E2092}" type="pres">
      <dgm:prSet presAssocID="{EADB697E-1753-2F40-B6EE-3298E2C98E5F}" presName="hierChild4" presStyleCnt="0"/>
      <dgm:spPr/>
    </dgm:pt>
    <dgm:pt modelId="{3D5EA9C0-2AC9-4543-8D26-2BA6C207EBC5}" type="pres">
      <dgm:prSet presAssocID="{3455FA4D-5DFA-D947-8BA8-C28D4D3ABF8D}" presName="Name10" presStyleLbl="parChTrans1D2" presStyleIdx="3" presStyleCnt="4"/>
      <dgm:spPr/>
    </dgm:pt>
    <dgm:pt modelId="{4E3DE239-BE52-1446-BA21-0D891356F135}" type="pres">
      <dgm:prSet presAssocID="{04B3FAF9-7071-C24C-96E6-20CC3D8D043F}" presName="hierRoot2" presStyleCnt="0"/>
      <dgm:spPr/>
    </dgm:pt>
    <dgm:pt modelId="{9E68C757-673C-0848-947F-10B6B8F2FE8A}" type="pres">
      <dgm:prSet presAssocID="{04B3FAF9-7071-C24C-96E6-20CC3D8D043F}" presName="composite2" presStyleCnt="0"/>
      <dgm:spPr/>
    </dgm:pt>
    <dgm:pt modelId="{49ED984C-76FC-BF41-9F26-F77A06D51D3F}" type="pres">
      <dgm:prSet presAssocID="{04B3FAF9-7071-C24C-96E6-20CC3D8D043F}" presName="background2" presStyleLbl="node2" presStyleIdx="3" presStyleCnt="4"/>
      <dgm:spPr/>
    </dgm:pt>
    <dgm:pt modelId="{4046CA24-C23D-464A-B16B-00025F2E54B4}" type="pres">
      <dgm:prSet presAssocID="{04B3FAF9-7071-C24C-96E6-20CC3D8D043F}" presName="text2" presStyleLbl="fgAcc2" presStyleIdx="3" presStyleCnt="4">
        <dgm:presLayoutVars>
          <dgm:chPref val="3"/>
        </dgm:presLayoutVars>
      </dgm:prSet>
      <dgm:spPr/>
    </dgm:pt>
    <dgm:pt modelId="{D0BBC61D-ADA2-C94C-994B-48894A83365D}" type="pres">
      <dgm:prSet presAssocID="{04B3FAF9-7071-C24C-96E6-20CC3D8D043F}" presName="hierChild3" presStyleCnt="0"/>
      <dgm:spPr/>
    </dgm:pt>
    <dgm:pt modelId="{7A344263-23CA-0843-925D-9507DF7E7C12}" type="pres">
      <dgm:prSet presAssocID="{00487CE5-123E-D749-AEC6-EAED6234C435}" presName="Name17" presStyleLbl="parChTrans1D3" presStyleIdx="3" presStyleCnt="4"/>
      <dgm:spPr/>
    </dgm:pt>
    <dgm:pt modelId="{04BF6F7F-5622-3F42-AC83-134E1C024013}" type="pres">
      <dgm:prSet presAssocID="{E7B0A1AA-BEF3-1348-A48E-E3895FFD37E6}" presName="hierRoot3" presStyleCnt="0"/>
      <dgm:spPr/>
    </dgm:pt>
    <dgm:pt modelId="{815034C5-7640-2940-AAD4-F8988792F17C}" type="pres">
      <dgm:prSet presAssocID="{E7B0A1AA-BEF3-1348-A48E-E3895FFD37E6}" presName="composite3" presStyleCnt="0"/>
      <dgm:spPr/>
    </dgm:pt>
    <dgm:pt modelId="{FD3DE6DD-536C-B945-9C0A-75540673ED2E}" type="pres">
      <dgm:prSet presAssocID="{E7B0A1AA-BEF3-1348-A48E-E3895FFD37E6}" presName="background3" presStyleLbl="node3" presStyleIdx="3" presStyleCnt="4"/>
      <dgm:spPr>
        <a:solidFill>
          <a:srgbClr val="81A8CC"/>
        </a:solidFill>
      </dgm:spPr>
    </dgm:pt>
    <dgm:pt modelId="{5EE70499-4894-7D43-83C8-DF4621CEED30}" type="pres">
      <dgm:prSet presAssocID="{E7B0A1AA-BEF3-1348-A48E-E3895FFD37E6}" presName="text3" presStyleLbl="fgAcc3" presStyleIdx="3" presStyleCnt="4">
        <dgm:presLayoutVars>
          <dgm:chPref val="3"/>
        </dgm:presLayoutVars>
      </dgm:prSet>
      <dgm:spPr/>
    </dgm:pt>
    <dgm:pt modelId="{01DE7E90-5D06-2B47-9CB6-3D0D0BBD877B}" type="pres">
      <dgm:prSet presAssocID="{E7B0A1AA-BEF3-1348-A48E-E3895FFD37E6}" presName="hierChild4" presStyleCnt="0"/>
      <dgm:spPr/>
    </dgm:pt>
  </dgm:ptLst>
  <dgm:cxnLst>
    <dgm:cxn modelId="{9712890A-A2A6-534F-9B6C-FFA420B255C9}" type="presOf" srcId="{A3F3816D-4106-1C4E-AE18-0F4BBE3E3CAF}" destId="{62A59445-CD70-5648-AEBD-FDF8EEFF7987}" srcOrd="0" destOrd="0" presId="urn:microsoft.com/office/officeart/2005/8/layout/hierarchy1"/>
    <dgm:cxn modelId="{6984A520-2B31-FE4D-A6BF-95DB047E9884}" type="presOf" srcId="{16E46015-769F-E54F-B70D-41FD8DC84BBA}" destId="{397A054A-4BE6-4646-823F-6CD75A6B6520}" srcOrd="0" destOrd="0" presId="urn:microsoft.com/office/officeart/2005/8/layout/hierarchy1"/>
    <dgm:cxn modelId="{AB765122-F7D8-5C4A-AFE9-557B69B2BEC2}" type="presOf" srcId="{30BEC2F1-69F3-0E42-A02D-5BD6E8503498}" destId="{930FF762-2423-AC44-A63D-E9652CC0024B}" srcOrd="0" destOrd="0" presId="urn:microsoft.com/office/officeart/2005/8/layout/hierarchy1"/>
    <dgm:cxn modelId="{01E2B02B-2A3F-464D-9D61-DCE689015E3D}" srcId="{16E46015-769F-E54F-B70D-41FD8DC84BBA}" destId="{99168621-6584-ED48-A3FE-3EA48CF723D7}" srcOrd="0" destOrd="0" parTransId="{1546236E-2C37-1749-81B0-488A0361AD1A}" sibTransId="{3EC46FC3-21C4-3F40-8B8C-378F98416EC5}"/>
    <dgm:cxn modelId="{7814952D-FB02-CA4D-923F-172A90C5A535}" type="presOf" srcId="{99168621-6584-ED48-A3FE-3EA48CF723D7}" destId="{E0C64DA3-FCC1-034F-B7B7-A00C54807430}" srcOrd="0" destOrd="0" presId="urn:microsoft.com/office/officeart/2005/8/layout/hierarchy1"/>
    <dgm:cxn modelId="{FBB0E739-B71D-864F-B523-0CFED7B850FB}" type="presOf" srcId="{EADB697E-1753-2F40-B6EE-3298E2C98E5F}" destId="{F6AA1541-FBAD-A64F-A943-71B13FC1CEDA}" srcOrd="0" destOrd="0" presId="urn:microsoft.com/office/officeart/2005/8/layout/hierarchy1"/>
    <dgm:cxn modelId="{52E51D3B-B5C5-9D49-B8CA-6478B6E265D9}" srcId="{30BEC2F1-69F3-0E42-A02D-5BD6E8503498}" destId="{EADB697E-1753-2F40-B6EE-3298E2C98E5F}" srcOrd="0" destOrd="0" parTransId="{88B32BA2-83EA-244D-8CEC-8676EB3CF1B6}" sibTransId="{6843CBF8-51A1-0343-87BB-0F29BA221BB9}"/>
    <dgm:cxn modelId="{D3A94E5C-80A2-4648-B181-92BA8470523F}" type="presOf" srcId="{76FF1E08-3D39-9348-A423-EAC161E0462C}" destId="{022C9409-DE78-2443-B5C3-52FF4080A77C}" srcOrd="0" destOrd="0" presId="urn:microsoft.com/office/officeart/2005/8/layout/hierarchy1"/>
    <dgm:cxn modelId="{76292B45-45F5-0644-91D6-3892B21977DF}" type="presOf" srcId="{88B32BA2-83EA-244D-8CEC-8676EB3CF1B6}" destId="{BB14CF04-68BF-F64A-B000-1B2A9C7B88F7}" srcOrd="0" destOrd="0" presId="urn:microsoft.com/office/officeart/2005/8/layout/hierarchy1"/>
    <dgm:cxn modelId="{FD77C369-BE5A-8848-9495-16ACCF181EC9}" type="presOf" srcId="{4F1629F0-A126-4847-9CC3-2B48FEE3CE4A}" destId="{F5D9896A-85A7-464A-8955-D65C28B8C391}" srcOrd="0" destOrd="0" presId="urn:microsoft.com/office/officeart/2005/8/layout/hierarchy1"/>
    <dgm:cxn modelId="{A0E3B34A-9A9E-3B4F-AFDE-C30FD2A5E4B4}" type="presOf" srcId="{40386CA3-DEDB-AC4C-B3C6-0669F1EEBE5D}" destId="{0787C654-CFDA-194F-8229-FDD55AE11003}" srcOrd="0" destOrd="0" presId="urn:microsoft.com/office/officeart/2005/8/layout/hierarchy1"/>
    <dgm:cxn modelId="{EA4A9453-3555-964C-9216-E938DD1B84EF}" srcId="{16E46015-769F-E54F-B70D-41FD8DC84BBA}" destId="{456E718F-9150-6F4F-92DD-C422F9EC156E}" srcOrd="1" destOrd="0" parTransId="{4F1629F0-A126-4847-9CC3-2B48FEE3CE4A}" sibTransId="{F008B771-8A6B-0B4F-90C4-D20A7FC41D0E}"/>
    <dgm:cxn modelId="{13722E57-0E99-A648-A7C3-02EF0EC0E235}" type="presOf" srcId="{4E83E4C9-4090-3145-849E-AEFC840155DB}" destId="{ADA76CD6-64DB-4A4B-9778-4EF8797AEB24}" srcOrd="0" destOrd="0" presId="urn:microsoft.com/office/officeart/2005/8/layout/hierarchy1"/>
    <dgm:cxn modelId="{FFAEA55A-5DBC-1749-8BE6-E28FBF25285C}" type="presOf" srcId="{3455FA4D-5DFA-D947-8BA8-C28D4D3ABF8D}" destId="{3D5EA9C0-2AC9-4543-8D26-2BA6C207EBC5}" srcOrd="0" destOrd="0" presId="urn:microsoft.com/office/officeart/2005/8/layout/hierarchy1"/>
    <dgm:cxn modelId="{0E69BD82-AC8F-4D47-8C34-CD8309C82F95}" type="presOf" srcId="{EACE0F94-0053-144B-8A64-B77B261C8D94}" destId="{96A9A9E8-5B5B-E246-ADC7-81D018DC797E}" srcOrd="0" destOrd="0" presId="urn:microsoft.com/office/officeart/2005/8/layout/hierarchy1"/>
    <dgm:cxn modelId="{A3CA7592-AA05-A540-8E3E-3FBA857477A3}" type="presOf" srcId="{00487CE5-123E-D749-AEC6-EAED6234C435}" destId="{7A344263-23CA-0843-925D-9507DF7E7C12}" srcOrd="0" destOrd="0" presId="urn:microsoft.com/office/officeart/2005/8/layout/hierarchy1"/>
    <dgm:cxn modelId="{A2741B96-4F47-0F46-9FFB-07560EAF380D}" srcId="{99168621-6584-ED48-A3FE-3EA48CF723D7}" destId="{40386CA3-DEDB-AC4C-B3C6-0669F1EEBE5D}" srcOrd="0" destOrd="0" parTransId="{76FF1E08-3D39-9348-A423-EAC161E0462C}" sibTransId="{3183F797-340D-AC44-A11E-ACF9E9F4ECE3}"/>
    <dgm:cxn modelId="{A61F519A-74AE-004E-BB9B-9786485ABF51}" srcId="{E9AB19ED-295F-1946-AE0D-07223C29A4FC}" destId="{16E46015-769F-E54F-B70D-41FD8DC84BBA}" srcOrd="0" destOrd="0" parTransId="{35775004-A547-9E4D-9DB6-B5C97976B806}" sibTransId="{58CCB5EE-E508-484D-A04D-C09DDE67D174}"/>
    <dgm:cxn modelId="{86CDE4A2-0BB2-7540-9EF0-CAD53638DC3F}" type="presOf" srcId="{04B3FAF9-7071-C24C-96E6-20CC3D8D043F}" destId="{4046CA24-C23D-464A-B16B-00025F2E54B4}" srcOrd="0" destOrd="0" presId="urn:microsoft.com/office/officeart/2005/8/layout/hierarchy1"/>
    <dgm:cxn modelId="{59E914AE-BA40-A04B-9DC4-68318A8E65F8}" srcId="{16E46015-769F-E54F-B70D-41FD8DC84BBA}" destId="{30BEC2F1-69F3-0E42-A02D-5BD6E8503498}" srcOrd="2" destOrd="0" parTransId="{A3F3816D-4106-1C4E-AE18-0F4BBE3E3CAF}" sibTransId="{78194F6C-6255-D641-9C16-A0BF570BD09D}"/>
    <dgm:cxn modelId="{039FC0AE-6392-E84C-8501-02FA156DF677}" type="presOf" srcId="{1546236E-2C37-1749-81B0-488A0361AD1A}" destId="{977A3B20-68CB-4F46-9348-45B10BBE509F}" srcOrd="0" destOrd="0" presId="urn:microsoft.com/office/officeart/2005/8/layout/hierarchy1"/>
    <dgm:cxn modelId="{10400CB6-DCE3-694D-8E20-6FB39E44D155}" srcId="{456E718F-9150-6F4F-92DD-C422F9EC156E}" destId="{4E83E4C9-4090-3145-849E-AEFC840155DB}" srcOrd="0" destOrd="0" parTransId="{EACE0F94-0053-144B-8A64-B77B261C8D94}" sibTransId="{F75E11C0-84EA-F445-9317-71E999613814}"/>
    <dgm:cxn modelId="{AC76E0C7-9C05-0947-A3C1-0AF975649484}" srcId="{16E46015-769F-E54F-B70D-41FD8DC84BBA}" destId="{04B3FAF9-7071-C24C-96E6-20CC3D8D043F}" srcOrd="3" destOrd="0" parTransId="{3455FA4D-5DFA-D947-8BA8-C28D4D3ABF8D}" sibTransId="{083451CE-6F01-5641-90E5-299ADB113AEA}"/>
    <dgm:cxn modelId="{5DBAAACD-0BFF-3F47-A92C-48F270237D67}" srcId="{04B3FAF9-7071-C24C-96E6-20CC3D8D043F}" destId="{E7B0A1AA-BEF3-1348-A48E-E3895FFD37E6}" srcOrd="0" destOrd="0" parTransId="{00487CE5-123E-D749-AEC6-EAED6234C435}" sibTransId="{75329BCE-FF6E-824A-9990-90BF2E95A9B3}"/>
    <dgm:cxn modelId="{D707ACD1-9C9E-9245-8921-CEDF49C32923}" type="presOf" srcId="{E9AB19ED-295F-1946-AE0D-07223C29A4FC}" destId="{CAD03FEA-6017-6846-B9A6-D20FBCFD9D11}" srcOrd="0" destOrd="0" presId="urn:microsoft.com/office/officeart/2005/8/layout/hierarchy1"/>
    <dgm:cxn modelId="{39F561EC-E319-8B49-BD7F-C57D76DCB554}" type="presOf" srcId="{E7B0A1AA-BEF3-1348-A48E-E3895FFD37E6}" destId="{5EE70499-4894-7D43-83C8-DF4621CEED30}" srcOrd="0" destOrd="0" presId="urn:microsoft.com/office/officeart/2005/8/layout/hierarchy1"/>
    <dgm:cxn modelId="{6EF4B6FF-D4EC-0F44-9B52-20FAB5A330E2}" type="presOf" srcId="{456E718F-9150-6F4F-92DD-C422F9EC156E}" destId="{962B8FF4-087E-CF4E-9F12-4896DA584FE9}" srcOrd="0" destOrd="0" presId="urn:microsoft.com/office/officeart/2005/8/layout/hierarchy1"/>
    <dgm:cxn modelId="{2AAE148B-9024-624C-9F2B-80279DDF179F}" type="presParOf" srcId="{CAD03FEA-6017-6846-B9A6-D20FBCFD9D11}" destId="{801E9509-6E74-8E43-BA1F-C7C2C9A689CF}" srcOrd="0" destOrd="0" presId="urn:microsoft.com/office/officeart/2005/8/layout/hierarchy1"/>
    <dgm:cxn modelId="{D000CB48-7B14-794E-BD5C-B1B111705108}" type="presParOf" srcId="{801E9509-6E74-8E43-BA1F-C7C2C9A689CF}" destId="{1E91748D-B13B-7B46-A0E1-A40274062518}" srcOrd="0" destOrd="0" presId="urn:microsoft.com/office/officeart/2005/8/layout/hierarchy1"/>
    <dgm:cxn modelId="{3FFCA26D-CD8C-904A-BA6C-98A5C359545C}" type="presParOf" srcId="{1E91748D-B13B-7B46-A0E1-A40274062518}" destId="{1AB6C1EB-2575-DB48-817B-B652F2995B59}" srcOrd="0" destOrd="0" presId="urn:microsoft.com/office/officeart/2005/8/layout/hierarchy1"/>
    <dgm:cxn modelId="{FF1EA13C-4239-A945-A50E-16FD4011B31B}" type="presParOf" srcId="{1E91748D-B13B-7B46-A0E1-A40274062518}" destId="{397A054A-4BE6-4646-823F-6CD75A6B6520}" srcOrd="1" destOrd="0" presId="urn:microsoft.com/office/officeart/2005/8/layout/hierarchy1"/>
    <dgm:cxn modelId="{14D11CD6-34AC-6B44-A922-3D8AFD02B48D}" type="presParOf" srcId="{801E9509-6E74-8E43-BA1F-C7C2C9A689CF}" destId="{B9B7ED5A-689B-1546-8FA7-D770713A91D5}" srcOrd="1" destOrd="0" presId="urn:microsoft.com/office/officeart/2005/8/layout/hierarchy1"/>
    <dgm:cxn modelId="{5D4B16C7-67B5-4B4C-82A5-FDC97B045249}" type="presParOf" srcId="{B9B7ED5A-689B-1546-8FA7-D770713A91D5}" destId="{977A3B20-68CB-4F46-9348-45B10BBE509F}" srcOrd="0" destOrd="0" presId="urn:microsoft.com/office/officeart/2005/8/layout/hierarchy1"/>
    <dgm:cxn modelId="{6F789C48-CD19-CE41-BF1B-AF76BB60317C}" type="presParOf" srcId="{B9B7ED5A-689B-1546-8FA7-D770713A91D5}" destId="{B15E43E3-872C-BE41-BD68-62741D49DB22}" srcOrd="1" destOrd="0" presId="urn:microsoft.com/office/officeart/2005/8/layout/hierarchy1"/>
    <dgm:cxn modelId="{EA4D4F5D-F53A-E743-9F72-78076655019D}" type="presParOf" srcId="{B15E43E3-872C-BE41-BD68-62741D49DB22}" destId="{4A4478F8-173B-794A-8A82-2E0C486FD940}" srcOrd="0" destOrd="0" presId="urn:microsoft.com/office/officeart/2005/8/layout/hierarchy1"/>
    <dgm:cxn modelId="{AC3EA714-B497-9340-AA4B-BC7A22603467}" type="presParOf" srcId="{4A4478F8-173B-794A-8A82-2E0C486FD940}" destId="{1F635745-27BF-C240-B06C-4535F98DA12D}" srcOrd="0" destOrd="0" presId="urn:microsoft.com/office/officeart/2005/8/layout/hierarchy1"/>
    <dgm:cxn modelId="{18ACF33E-4542-9A44-9BB0-A1663E980104}" type="presParOf" srcId="{4A4478F8-173B-794A-8A82-2E0C486FD940}" destId="{E0C64DA3-FCC1-034F-B7B7-A00C54807430}" srcOrd="1" destOrd="0" presId="urn:microsoft.com/office/officeart/2005/8/layout/hierarchy1"/>
    <dgm:cxn modelId="{7C50E0F3-A817-EB44-A0B2-1F37CF2DED14}" type="presParOf" srcId="{B15E43E3-872C-BE41-BD68-62741D49DB22}" destId="{481C1C85-795B-3E4E-9A55-915971290EE2}" srcOrd="1" destOrd="0" presId="urn:microsoft.com/office/officeart/2005/8/layout/hierarchy1"/>
    <dgm:cxn modelId="{91A8AB33-3F44-E846-B6BC-62CE52C5AD9A}" type="presParOf" srcId="{481C1C85-795B-3E4E-9A55-915971290EE2}" destId="{022C9409-DE78-2443-B5C3-52FF4080A77C}" srcOrd="0" destOrd="0" presId="urn:microsoft.com/office/officeart/2005/8/layout/hierarchy1"/>
    <dgm:cxn modelId="{E103ED5B-8960-9446-B2CE-6BCDB1F8AA49}" type="presParOf" srcId="{481C1C85-795B-3E4E-9A55-915971290EE2}" destId="{6C81925A-AB8B-4448-A7FE-999ACC0E8411}" srcOrd="1" destOrd="0" presId="urn:microsoft.com/office/officeart/2005/8/layout/hierarchy1"/>
    <dgm:cxn modelId="{0A633C90-C9FD-1C4B-AEF4-EA8B952E2487}" type="presParOf" srcId="{6C81925A-AB8B-4448-A7FE-999ACC0E8411}" destId="{DC4153D9-3F9C-3544-9691-3D283AA4033B}" srcOrd="0" destOrd="0" presId="urn:microsoft.com/office/officeart/2005/8/layout/hierarchy1"/>
    <dgm:cxn modelId="{E8896DB2-2361-6948-A158-B33E7287BA22}" type="presParOf" srcId="{DC4153D9-3F9C-3544-9691-3D283AA4033B}" destId="{3710C92F-33D7-B649-B0D9-9017538486CA}" srcOrd="0" destOrd="0" presId="urn:microsoft.com/office/officeart/2005/8/layout/hierarchy1"/>
    <dgm:cxn modelId="{BF739B7E-1A18-FC4F-A602-5AF594382FB6}" type="presParOf" srcId="{DC4153D9-3F9C-3544-9691-3D283AA4033B}" destId="{0787C654-CFDA-194F-8229-FDD55AE11003}" srcOrd="1" destOrd="0" presId="urn:microsoft.com/office/officeart/2005/8/layout/hierarchy1"/>
    <dgm:cxn modelId="{7622A739-4472-6E45-8BA2-24F049E73FFF}" type="presParOf" srcId="{6C81925A-AB8B-4448-A7FE-999ACC0E8411}" destId="{0FD0DFD4-2F66-3248-98BA-A3406122FABE}" srcOrd="1" destOrd="0" presId="urn:microsoft.com/office/officeart/2005/8/layout/hierarchy1"/>
    <dgm:cxn modelId="{F9423FEB-7075-1A43-AE60-697744808796}" type="presParOf" srcId="{B9B7ED5A-689B-1546-8FA7-D770713A91D5}" destId="{F5D9896A-85A7-464A-8955-D65C28B8C391}" srcOrd="2" destOrd="0" presId="urn:microsoft.com/office/officeart/2005/8/layout/hierarchy1"/>
    <dgm:cxn modelId="{7F2267C9-4A80-2C41-81C5-3772F5F595FF}" type="presParOf" srcId="{B9B7ED5A-689B-1546-8FA7-D770713A91D5}" destId="{007CDC06-CF38-7D47-A659-04076E631AB5}" srcOrd="3" destOrd="0" presId="urn:microsoft.com/office/officeart/2005/8/layout/hierarchy1"/>
    <dgm:cxn modelId="{0744675B-0555-9047-AF06-5331047E50D6}" type="presParOf" srcId="{007CDC06-CF38-7D47-A659-04076E631AB5}" destId="{59CF64CF-E702-7546-A505-060DD98FC1A5}" srcOrd="0" destOrd="0" presId="urn:microsoft.com/office/officeart/2005/8/layout/hierarchy1"/>
    <dgm:cxn modelId="{0DA83CA9-C89A-2142-BA70-AD5AD9C6879E}" type="presParOf" srcId="{59CF64CF-E702-7546-A505-060DD98FC1A5}" destId="{10D89D2A-2896-C946-BCBE-4EFCB411F552}" srcOrd="0" destOrd="0" presId="urn:microsoft.com/office/officeart/2005/8/layout/hierarchy1"/>
    <dgm:cxn modelId="{E0CC1C18-FE11-CE4E-BD0F-9F62F82935EA}" type="presParOf" srcId="{59CF64CF-E702-7546-A505-060DD98FC1A5}" destId="{962B8FF4-087E-CF4E-9F12-4896DA584FE9}" srcOrd="1" destOrd="0" presId="urn:microsoft.com/office/officeart/2005/8/layout/hierarchy1"/>
    <dgm:cxn modelId="{7826398B-E622-5245-85E3-22D3970EBA05}" type="presParOf" srcId="{007CDC06-CF38-7D47-A659-04076E631AB5}" destId="{66282038-E1DF-6341-80AB-B9C1AB424F86}" srcOrd="1" destOrd="0" presId="urn:microsoft.com/office/officeart/2005/8/layout/hierarchy1"/>
    <dgm:cxn modelId="{5B9DCA35-C3AC-634B-BE90-191CF7D434BA}" type="presParOf" srcId="{66282038-E1DF-6341-80AB-B9C1AB424F86}" destId="{96A9A9E8-5B5B-E246-ADC7-81D018DC797E}" srcOrd="0" destOrd="0" presId="urn:microsoft.com/office/officeart/2005/8/layout/hierarchy1"/>
    <dgm:cxn modelId="{8CB69FF0-AAFD-D44F-BDCB-DB8015D06656}" type="presParOf" srcId="{66282038-E1DF-6341-80AB-B9C1AB424F86}" destId="{0AE3853D-815D-A14D-A84F-DFA8111018D7}" srcOrd="1" destOrd="0" presId="urn:microsoft.com/office/officeart/2005/8/layout/hierarchy1"/>
    <dgm:cxn modelId="{6B0F6341-F9E3-DB4E-8FC1-6AC0A38B6A20}" type="presParOf" srcId="{0AE3853D-815D-A14D-A84F-DFA8111018D7}" destId="{2B6D7D82-391A-414C-A43F-74A42DE1CF89}" srcOrd="0" destOrd="0" presId="urn:microsoft.com/office/officeart/2005/8/layout/hierarchy1"/>
    <dgm:cxn modelId="{74C54197-8E3B-0A45-9D0E-8F3F9887DCB0}" type="presParOf" srcId="{2B6D7D82-391A-414C-A43F-74A42DE1CF89}" destId="{0CAED66E-7A7A-3D4C-A3D3-38EC5D61FCBF}" srcOrd="0" destOrd="0" presId="urn:microsoft.com/office/officeart/2005/8/layout/hierarchy1"/>
    <dgm:cxn modelId="{D8827186-16B4-BF47-92BA-5FDA5657F840}" type="presParOf" srcId="{2B6D7D82-391A-414C-A43F-74A42DE1CF89}" destId="{ADA76CD6-64DB-4A4B-9778-4EF8797AEB24}" srcOrd="1" destOrd="0" presId="urn:microsoft.com/office/officeart/2005/8/layout/hierarchy1"/>
    <dgm:cxn modelId="{FDBB430D-6137-3C44-A3D5-597A1DC228E8}" type="presParOf" srcId="{0AE3853D-815D-A14D-A84F-DFA8111018D7}" destId="{D1FC0029-2DB8-214F-AECC-A11BD70B0427}" srcOrd="1" destOrd="0" presId="urn:microsoft.com/office/officeart/2005/8/layout/hierarchy1"/>
    <dgm:cxn modelId="{A4AB72BD-5178-B241-B39B-96F77F01BFC6}" type="presParOf" srcId="{B9B7ED5A-689B-1546-8FA7-D770713A91D5}" destId="{62A59445-CD70-5648-AEBD-FDF8EEFF7987}" srcOrd="4" destOrd="0" presId="urn:microsoft.com/office/officeart/2005/8/layout/hierarchy1"/>
    <dgm:cxn modelId="{F0B59118-15B8-D441-908C-C5A00E6ACF68}" type="presParOf" srcId="{B9B7ED5A-689B-1546-8FA7-D770713A91D5}" destId="{D30BF2E0-3D58-374B-9B8A-7FB2E796A3F3}" srcOrd="5" destOrd="0" presId="urn:microsoft.com/office/officeart/2005/8/layout/hierarchy1"/>
    <dgm:cxn modelId="{37039A11-1CC3-FE4A-A4B5-B06A9D71B711}" type="presParOf" srcId="{D30BF2E0-3D58-374B-9B8A-7FB2E796A3F3}" destId="{F53A9460-E493-024C-94D0-91B21250B350}" srcOrd="0" destOrd="0" presId="urn:microsoft.com/office/officeart/2005/8/layout/hierarchy1"/>
    <dgm:cxn modelId="{491860AE-1A20-1F46-8C8C-B48EA5A6A808}" type="presParOf" srcId="{F53A9460-E493-024C-94D0-91B21250B350}" destId="{E5DCE789-E7A6-4341-8B40-C1815D54F713}" srcOrd="0" destOrd="0" presId="urn:microsoft.com/office/officeart/2005/8/layout/hierarchy1"/>
    <dgm:cxn modelId="{007FD648-62D5-7043-8DC5-16C9DDD34B4A}" type="presParOf" srcId="{F53A9460-E493-024C-94D0-91B21250B350}" destId="{930FF762-2423-AC44-A63D-E9652CC0024B}" srcOrd="1" destOrd="0" presId="urn:microsoft.com/office/officeart/2005/8/layout/hierarchy1"/>
    <dgm:cxn modelId="{5CC3E612-231A-2F40-ACB7-F03764CE1387}" type="presParOf" srcId="{D30BF2E0-3D58-374B-9B8A-7FB2E796A3F3}" destId="{EA42F04A-34CA-E14E-ACED-A9B73BA2D30A}" srcOrd="1" destOrd="0" presId="urn:microsoft.com/office/officeart/2005/8/layout/hierarchy1"/>
    <dgm:cxn modelId="{5C4573D0-C44C-8F47-8015-5A9A877573DA}" type="presParOf" srcId="{EA42F04A-34CA-E14E-ACED-A9B73BA2D30A}" destId="{BB14CF04-68BF-F64A-B000-1B2A9C7B88F7}" srcOrd="0" destOrd="0" presId="urn:microsoft.com/office/officeart/2005/8/layout/hierarchy1"/>
    <dgm:cxn modelId="{FAB58804-0542-8F44-83D2-B4DB552D5D46}" type="presParOf" srcId="{EA42F04A-34CA-E14E-ACED-A9B73BA2D30A}" destId="{A8EB4039-2E50-F54C-BFCA-FEBFAD718E13}" srcOrd="1" destOrd="0" presId="urn:microsoft.com/office/officeart/2005/8/layout/hierarchy1"/>
    <dgm:cxn modelId="{09A5F836-7F23-2846-B855-2110814C2379}" type="presParOf" srcId="{A8EB4039-2E50-F54C-BFCA-FEBFAD718E13}" destId="{2CFF3A87-E3DE-2940-B185-AC1389A9A78C}" srcOrd="0" destOrd="0" presId="urn:microsoft.com/office/officeart/2005/8/layout/hierarchy1"/>
    <dgm:cxn modelId="{81AC7058-6E54-E345-B319-4235FE058165}" type="presParOf" srcId="{2CFF3A87-E3DE-2940-B185-AC1389A9A78C}" destId="{3D84166D-FA81-3546-9ED4-0FDB00BA82A5}" srcOrd="0" destOrd="0" presId="urn:microsoft.com/office/officeart/2005/8/layout/hierarchy1"/>
    <dgm:cxn modelId="{A161E0C2-B092-0649-A9D1-AA4FACB1147C}" type="presParOf" srcId="{2CFF3A87-E3DE-2940-B185-AC1389A9A78C}" destId="{F6AA1541-FBAD-A64F-A943-71B13FC1CEDA}" srcOrd="1" destOrd="0" presId="urn:microsoft.com/office/officeart/2005/8/layout/hierarchy1"/>
    <dgm:cxn modelId="{9F218B6F-1B00-0144-A10B-6A5634C622CC}" type="presParOf" srcId="{A8EB4039-2E50-F54C-BFCA-FEBFAD718E13}" destId="{F844B8BE-D476-8D45-BA25-AC8B250E2092}" srcOrd="1" destOrd="0" presId="urn:microsoft.com/office/officeart/2005/8/layout/hierarchy1"/>
    <dgm:cxn modelId="{8A49B715-1AFB-A249-8B9C-FFF20D02D3F8}" type="presParOf" srcId="{B9B7ED5A-689B-1546-8FA7-D770713A91D5}" destId="{3D5EA9C0-2AC9-4543-8D26-2BA6C207EBC5}" srcOrd="6" destOrd="0" presId="urn:microsoft.com/office/officeart/2005/8/layout/hierarchy1"/>
    <dgm:cxn modelId="{0500E494-F4EA-CE46-BFCC-1E5D0DE1B18D}" type="presParOf" srcId="{B9B7ED5A-689B-1546-8FA7-D770713A91D5}" destId="{4E3DE239-BE52-1446-BA21-0D891356F135}" srcOrd="7" destOrd="0" presId="urn:microsoft.com/office/officeart/2005/8/layout/hierarchy1"/>
    <dgm:cxn modelId="{2555FF39-2FAC-E04F-9460-0657D7B1C049}" type="presParOf" srcId="{4E3DE239-BE52-1446-BA21-0D891356F135}" destId="{9E68C757-673C-0848-947F-10B6B8F2FE8A}" srcOrd="0" destOrd="0" presId="urn:microsoft.com/office/officeart/2005/8/layout/hierarchy1"/>
    <dgm:cxn modelId="{88430051-FB7B-734E-ABAA-E0C60BCDA690}" type="presParOf" srcId="{9E68C757-673C-0848-947F-10B6B8F2FE8A}" destId="{49ED984C-76FC-BF41-9F26-F77A06D51D3F}" srcOrd="0" destOrd="0" presId="urn:microsoft.com/office/officeart/2005/8/layout/hierarchy1"/>
    <dgm:cxn modelId="{74AA2937-4A19-0549-B42F-06EE5B73D954}" type="presParOf" srcId="{9E68C757-673C-0848-947F-10B6B8F2FE8A}" destId="{4046CA24-C23D-464A-B16B-00025F2E54B4}" srcOrd="1" destOrd="0" presId="urn:microsoft.com/office/officeart/2005/8/layout/hierarchy1"/>
    <dgm:cxn modelId="{82754734-CC42-A140-945D-EE4B0B8920C6}" type="presParOf" srcId="{4E3DE239-BE52-1446-BA21-0D891356F135}" destId="{D0BBC61D-ADA2-C94C-994B-48894A83365D}" srcOrd="1" destOrd="0" presId="urn:microsoft.com/office/officeart/2005/8/layout/hierarchy1"/>
    <dgm:cxn modelId="{805B6297-6BFB-3B42-8A0D-89F62FFEFA93}" type="presParOf" srcId="{D0BBC61D-ADA2-C94C-994B-48894A83365D}" destId="{7A344263-23CA-0843-925D-9507DF7E7C12}" srcOrd="0" destOrd="0" presId="urn:microsoft.com/office/officeart/2005/8/layout/hierarchy1"/>
    <dgm:cxn modelId="{46AA1BE0-D67B-2B4E-975F-2FCBA7FDCC6D}" type="presParOf" srcId="{D0BBC61D-ADA2-C94C-994B-48894A83365D}" destId="{04BF6F7F-5622-3F42-AC83-134E1C024013}" srcOrd="1" destOrd="0" presId="urn:microsoft.com/office/officeart/2005/8/layout/hierarchy1"/>
    <dgm:cxn modelId="{3EB2C7FF-EB27-7741-A5FA-134E64548558}" type="presParOf" srcId="{04BF6F7F-5622-3F42-AC83-134E1C024013}" destId="{815034C5-7640-2940-AAD4-F8988792F17C}" srcOrd="0" destOrd="0" presId="urn:microsoft.com/office/officeart/2005/8/layout/hierarchy1"/>
    <dgm:cxn modelId="{934DF998-B9FB-5246-8AD3-D4989E67AF0C}" type="presParOf" srcId="{815034C5-7640-2940-AAD4-F8988792F17C}" destId="{FD3DE6DD-536C-B945-9C0A-75540673ED2E}" srcOrd="0" destOrd="0" presId="urn:microsoft.com/office/officeart/2005/8/layout/hierarchy1"/>
    <dgm:cxn modelId="{E7249942-B7C9-1E40-8719-12E15EBAB816}" type="presParOf" srcId="{815034C5-7640-2940-AAD4-F8988792F17C}" destId="{5EE70499-4894-7D43-83C8-DF4621CEED30}" srcOrd="1" destOrd="0" presId="urn:microsoft.com/office/officeart/2005/8/layout/hierarchy1"/>
    <dgm:cxn modelId="{48CEAB1A-B884-7448-8710-75DC78FCA6AE}" type="presParOf" srcId="{04BF6F7F-5622-3F42-AC83-134E1C024013}" destId="{01DE7E90-5D06-2B47-9CB6-3D0D0BBD877B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6D2D7C-2E0E-B142-9F79-648C058BF5F3}">
      <dsp:nvSpPr>
        <dsp:cNvPr id="0" name=""/>
        <dsp:cNvSpPr/>
      </dsp:nvSpPr>
      <dsp:spPr>
        <a:xfrm>
          <a:off x="2897163" y="1544659"/>
          <a:ext cx="2493238" cy="23386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9372"/>
              </a:lnTo>
              <a:lnTo>
                <a:pt x="2493238" y="159372"/>
              </a:lnTo>
              <a:lnTo>
                <a:pt x="2493238" y="23386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0BB140A-478B-B34F-B3B5-8F6366D781E2}">
      <dsp:nvSpPr>
        <dsp:cNvPr id="0" name=""/>
        <dsp:cNvSpPr/>
      </dsp:nvSpPr>
      <dsp:spPr>
        <a:xfrm>
          <a:off x="2897163" y="1544659"/>
          <a:ext cx="1510423" cy="23386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9372"/>
              </a:lnTo>
              <a:lnTo>
                <a:pt x="1510423" y="159372"/>
              </a:lnTo>
              <a:lnTo>
                <a:pt x="1510423" y="23386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839B11D-45D3-F040-B964-E9BB5C79A10A}">
      <dsp:nvSpPr>
        <dsp:cNvPr id="0" name=""/>
        <dsp:cNvSpPr/>
      </dsp:nvSpPr>
      <dsp:spPr>
        <a:xfrm>
          <a:off x="3424771" y="2289141"/>
          <a:ext cx="491407" cy="23386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9372"/>
              </a:lnTo>
              <a:lnTo>
                <a:pt x="491407" y="159372"/>
              </a:lnTo>
              <a:lnTo>
                <a:pt x="491407" y="23386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D91320B-81D3-1745-BB17-FE0DAAECE491}">
      <dsp:nvSpPr>
        <dsp:cNvPr id="0" name=""/>
        <dsp:cNvSpPr/>
      </dsp:nvSpPr>
      <dsp:spPr>
        <a:xfrm>
          <a:off x="2860961" y="2289141"/>
          <a:ext cx="563810" cy="233865"/>
        </a:xfrm>
        <a:custGeom>
          <a:avLst/>
          <a:gdLst/>
          <a:ahLst/>
          <a:cxnLst/>
          <a:rect l="0" t="0" r="0" b="0"/>
          <a:pathLst>
            <a:path>
              <a:moveTo>
                <a:pt x="563810" y="0"/>
              </a:moveTo>
              <a:lnTo>
                <a:pt x="563810" y="159372"/>
              </a:lnTo>
              <a:lnTo>
                <a:pt x="0" y="159372"/>
              </a:lnTo>
              <a:lnTo>
                <a:pt x="0" y="23386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4766F0A-F9FB-C24E-BA1C-6D4787D0588F}">
      <dsp:nvSpPr>
        <dsp:cNvPr id="0" name=""/>
        <dsp:cNvSpPr/>
      </dsp:nvSpPr>
      <dsp:spPr>
        <a:xfrm>
          <a:off x="2897163" y="1544659"/>
          <a:ext cx="527608" cy="23386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9372"/>
              </a:lnTo>
              <a:lnTo>
                <a:pt x="527608" y="159372"/>
              </a:lnTo>
              <a:lnTo>
                <a:pt x="527608" y="23386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ADEC48-AA9E-BE44-8AC8-5F200116D2DF}">
      <dsp:nvSpPr>
        <dsp:cNvPr id="0" name=""/>
        <dsp:cNvSpPr/>
      </dsp:nvSpPr>
      <dsp:spPr>
        <a:xfrm>
          <a:off x="1386739" y="2289141"/>
          <a:ext cx="491407" cy="23386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9372"/>
              </a:lnTo>
              <a:lnTo>
                <a:pt x="491407" y="159372"/>
              </a:lnTo>
              <a:lnTo>
                <a:pt x="491407" y="23386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7B9DD6E-51A0-904B-8857-909BCF7C5674}">
      <dsp:nvSpPr>
        <dsp:cNvPr id="0" name=""/>
        <dsp:cNvSpPr/>
      </dsp:nvSpPr>
      <dsp:spPr>
        <a:xfrm>
          <a:off x="895332" y="2289141"/>
          <a:ext cx="491407" cy="233865"/>
        </a:xfrm>
        <a:custGeom>
          <a:avLst/>
          <a:gdLst/>
          <a:ahLst/>
          <a:cxnLst/>
          <a:rect l="0" t="0" r="0" b="0"/>
          <a:pathLst>
            <a:path>
              <a:moveTo>
                <a:pt x="491407" y="0"/>
              </a:moveTo>
              <a:lnTo>
                <a:pt x="491407" y="159372"/>
              </a:lnTo>
              <a:lnTo>
                <a:pt x="0" y="159372"/>
              </a:lnTo>
              <a:lnTo>
                <a:pt x="0" y="23386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2C9409-DE78-2443-B5C3-52FF4080A77C}">
      <dsp:nvSpPr>
        <dsp:cNvPr id="0" name=""/>
        <dsp:cNvSpPr/>
      </dsp:nvSpPr>
      <dsp:spPr>
        <a:xfrm>
          <a:off x="1386739" y="1544659"/>
          <a:ext cx="1510423" cy="233865"/>
        </a:xfrm>
        <a:custGeom>
          <a:avLst/>
          <a:gdLst/>
          <a:ahLst/>
          <a:cxnLst/>
          <a:rect l="0" t="0" r="0" b="0"/>
          <a:pathLst>
            <a:path>
              <a:moveTo>
                <a:pt x="1510423" y="0"/>
              </a:moveTo>
              <a:lnTo>
                <a:pt x="1510423" y="159372"/>
              </a:lnTo>
              <a:lnTo>
                <a:pt x="0" y="159372"/>
              </a:lnTo>
              <a:lnTo>
                <a:pt x="0" y="23386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9B69776-DAA7-4E4F-8C21-C7E3C679F48C}">
      <dsp:nvSpPr>
        <dsp:cNvPr id="0" name=""/>
        <dsp:cNvSpPr/>
      </dsp:nvSpPr>
      <dsp:spPr>
        <a:xfrm>
          <a:off x="2326867" y="1544659"/>
          <a:ext cx="570295" cy="197754"/>
        </a:xfrm>
        <a:custGeom>
          <a:avLst/>
          <a:gdLst/>
          <a:ahLst/>
          <a:cxnLst/>
          <a:rect l="0" t="0" r="0" b="0"/>
          <a:pathLst>
            <a:path>
              <a:moveTo>
                <a:pt x="570295" y="0"/>
              </a:moveTo>
              <a:lnTo>
                <a:pt x="570295" y="123261"/>
              </a:lnTo>
              <a:lnTo>
                <a:pt x="0" y="123261"/>
              </a:lnTo>
              <a:lnTo>
                <a:pt x="0" y="19775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77A3B20-68CB-4F46-9348-45B10BBE509F}">
      <dsp:nvSpPr>
        <dsp:cNvPr id="0" name=""/>
        <dsp:cNvSpPr/>
      </dsp:nvSpPr>
      <dsp:spPr>
        <a:xfrm>
          <a:off x="2851443" y="800176"/>
          <a:ext cx="91440" cy="23386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3386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B6C1EB-2575-DB48-817B-B652F2995B59}">
      <dsp:nvSpPr>
        <dsp:cNvPr id="0" name=""/>
        <dsp:cNvSpPr/>
      </dsp:nvSpPr>
      <dsp:spPr>
        <a:xfrm>
          <a:off x="1871977" y="289560"/>
          <a:ext cx="2050372" cy="51061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97A054A-4BE6-4646-823F-6CD75A6B6520}">
      <dsp:nvSpPr>
        <dsp:cNvPr id="0" name=""/>
        <dsp:cNvSpPr/>
      </dsp:nvSpPr>
      <dsp:spPr>
        <a:xfrm>
          <a:off x="1961323" y="374439"/>
          <a:ext cx="2050372" cy="51061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chemeClr val="tx2"/>
              </a:solidFill>
            </a:rPr>
            <a:t>Sales SVP or CMO</a:t>
          </a:r>
        </a:p>
      </dsp:txBody>
      <dsp:txXfrm>
        <a:off x="1976278" y="389394"/>
        <a:ext cx="2020462" cy="480706"/>
      </dsp:txXfrm>
    </dsp:sp>
    <dsp:sp modelId="{1F635745-27BF-C240-B06C-4535F98DA12D}">
      <dsp:nvSpPr>
        <dsp:cNvPr id="0" name=""/>
        <dsp:cNvSpPr/>
      </dsp:nvSpPr>
      <dsp:spPr>
        <a:xfrm>
          <a:off x="1860586" y="1034042"/>
          <a:ext cx="2073152" cy="510616"/>
        </a:xfrm>
        <a:prstGeom prst="roundRect">
          <a:avLst>
            <a:gd name="adj" fmla="val 10000"/>
          </a:avLst>
        </a:prstGeom>
        <a:solidFill>
          <a:srgbClr val="81A8C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0C64DA3-FCC1-034F-B7B7-A00C54807430}">
      <dsp:nvSpPr>
        <dsp:cNvPr id="0" name=""/>
        <dsp:cNvSpPr/>
      </dsp:nvSpPr>
      <dsp:spPr>
        <a:xfrm>
          <a:off x="1949933" y="1118921"/>
          <a:ext cx="2073152" cy="51061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chemeClr val="tx2"/>
              </a:solidFill>
            </a:rPr>
            <a:t>eComm Head</a:t>
          </a:r>
        </a:p>
      </dsp:txBody>
      <dsp:txXfrm>
        <a:off x="1964888" y="1133876"/>
        <a:ext cx="2043242" cy="480706"/>
      </dsp:txXfrm>
    </dsp:sp>
    <dsp:sp modelId="{1783D9F6-AA95-AF44-9D8D-0BBDD504A25C}">
      <dsp:nvSpPr>
        <dsp:cNvPr id="0" name=""/>
        <dsp:cNvSpPr/>
      </dsp:nvSpPr>
      <dsp:spPr>
        <a:xfrm>
          <a:off x="1924807" y="1742413"/>
          <a:ext cx="804121" cy="510616"/>
        </a:xfrm>
        <a:prstGeom prst="roundRect">
          <a:avLst>
            <a:gd name="adj" fmla="val 10000"/>
          </a:avLst>
        </a:prstGeom>
        <a:solidFill>
          <a:srgbClr val="81A8C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25FC952-94ED-4C44-B46B-0DB9D4B8D178}">
      <dsp:nvSpPr>
        <dsp:cNvPr id="0" name=""/>
        <dsp:cNvSpPr/>
      </dsp:nvSpPr>
      <dsp:spPr>
        <a:xfrm>
          <a:off x="2014154" y="1827292"/>
          <a:ext cx="804121" cy="51061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2"/>
              </a:solidFill>
            </a:rPr>
            <a:t>eComm CatMan / Insights</a:t>
          </a:r>
        </a:p>
      </dsp:txBody>
      <dsp:txXfrm>
        <a:off x="2029109" y="1842247"/>
        <a:ext cx="774211" cy="480706"/>
      </dsp:txXfrm>
    </dsp:sp>
    <dsp:sp modelId="{3710C92F-33D7-B649-B0D9-9017538486CA}">
      <dsp:nvSpPr>
        <dsp:cNvPr id="0" name=""/>
        <dsp:cNvSpPr/>
      </dsp:nvSpPr>
      <dsp:spPr>
        <a:xfrm>
          <a:off x="984678" y="1778524"/>
          <a:ext cx="804121" cy="510616"/>
        </a:xfrm>
        <a:prstGeom prst="roundRect">
          <a:avLst>
            <a:gd name="adj" fmla="val 10000"/>
          </a:avLst>
        </a:prstGeom>
        <a:solidFill>
          <a:srgbClr val="81A8C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787C654-CFDA-194F-8229-FDD55AE11003}">
      <dsp:nvSpPr>
        <dsp:cNvPr id="0" name=""/>
        <dsp:cNvSpPr/>
      </dsp:nvSpPr>
      <dsp:spPr>
        <a:xfrm>
          <a:off x="1074025" y="1863403"/>
          <a:ext cx="804121" cy="51061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2"/>
              </a:solidFill>
            </a:rPr>
            <a:t>eComm Sales</a:t>
          </a:r>
        </a:p>
      </dsp:txBody>
      <dsp:txXfrm>
        <a:off x="1088980" y="1878358"/>
        <a:ext cx="774211" cy="480706"/>
      </dsp:txXfrm>
    </dsp:sp>
    <dsp:sp modelId="{C7655E1A-F69A-2240-8532-D629F5470B88}">
      <dsp:nvSpPr>
        <dsp:cNvPr id="0" name=""/>
        <dsp:cNvSpPr/>
      </dsp:nvSpPr>
      <dsp:spPr>
        <a:xfrm>
          <a:off x="493271" y="2523006"/>
          <a:ext cx="804121" cy="510616"/>
        </a:xfrm>
        <a:prstGeom prst="roundRect">
          <a:avLst>
            <a:gd name="adj" fmla="val 10000"/>
          </a:avLst>
        </a:prstGeom>
        <a:solidFill>
          <a:srgbClr val="81A8C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5E405A-8BED-6442-8CC9-9C0009CD6103}">
      <dsp:nvSpPr>
        <dsp:cNvPr id="0" name=""/>
        <dsp:cNvSpPr/>
      </dsp:nvSpPr>
      <dsp:spPr>
        <a:xfrm>
          <a:off x="582618" y="2607885"/>
          <a:ext cx="804121" cy="51061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2"/>
              </a:solidFill>
            </a:rPr>
            <a:t>eComm acct </a:t>
          </a:r>
          <a:r>
            <a:rPr lang="en-US" sz="1200" kern="1200" dirty="0" err="1">
              <a:solidFill>
                <a:schemeClr val="tx2"/>
              </a:solidFill>
            </a:rPr>
            <a:t>mgr</a:t>
          </a:r>
          <a:r>
            <a:rPr lang="en-US" sz="1200" kern="1200" dirty="0">
              <a:solidFill>
                <a:schemeClr val="tx2"/>
              </a:solidFill>
            </a:rPr>
            <a:t> 1</a:t>
          </a:r>
        </a:p>
      </dsp:txBody>
      <dsp:txXfrm>
        <a:off x="597573" y="2622840"/>
        <a:ext cx="774211" cy="480706"/>
      </dsp:txXfrm>
    </dsp:sp>
    <dsp:sp modelId="{F753397C-3B8F-EB40-B566-A96301CF8610}">
      <dsp:nvSpPr>
        <dsp:cNvPr id="0" name=""/>
        <dsp:cNvSpPr/>
      </dsp:nvSpPr>
      <dsp:spPr>
        <a:xfrm>
          <a:off x="1476086" y="2523006"/>
          <a:ext cx="804121" cy="510616"/>
        </a:xfrm>
        <a:prstGeom prst="roundRect">
          <a:avLst>
            <a:gd name="adj" fmla="val 10000"/>
          </a:avLst>
        </a:prstGeom>
        <a:solidFill>
          <a:srgbClr val="81A8C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01B9797-75B6-C348-838B-D970019D853D}">
      <dsp:nvSpPr>
        <dsp:cNvPr id="0" name=""/>
        <dsp:cNvSpPr/>
      </dsp:nvSpPr>
      <dsp:spPr>
        <a:xfrm>
          <a:off x="1565433" y="2607885"/>
          <a:ext cx="804121" cy="51061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2"/>
              </a:solidFill>
            </a:rPr>
            <a:t>eComm acct </a:t>
          </a:r>
          <a:r>
            <a:rPr lang="en-US" sz="1200" kern="1200" dirty="0" err="1">
              <a:solidFill>
                <a:schemeClr val="tx2"/>
              </a:solidFill>
            </a:rPr>
            <a:t>mgr</a:t>
          </a:r>
          <a:r>
            <a:rPr lang="en-US" sz="1200" kern="1200" dirty="0">
              <a:solidFill>
                <a:schemeClr val="tx2"/>
              </a:solidFill>
            </a:rPr>
            <a:t> 2</a:t>
          </a:r>
        </a:p>
      </dsp:txBody>
      <dsp:txXfrm>
        <a:off x="1580388" y="2622840"/>
        <a:ext cx="774211" cy="480706"/>
      </dsp:txXfrm>
    </dsp:sp>
    <dsp:sp modelId="{D980659C-BB47-D843-9F4B-B28E86B68156}">
      <dsp:nvSpPr>
        <dsp:cNvPr id="0" name=""/>
        <dsp:cNvSpPr/>
      </dsp:nvSpPr>
      <dsp:spPr>
        <a:xfrm>
          <a:off x="3022711" y="1778524"/>
          <a:ext cx="804121" cy="510616"/>
        </a:xfrm>
        <a:prstGeom prst="roundRect">
          <a:avLst>
            <a:gd name="adj" fmla="val 10000"/>
          </a:avLst>
        </a:prstGeom>
        <a:solidFill>
          <a:srgbClr val="81A8C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477324F-7AA7-BC41-92F4-44C571E623FA}">
      <dsp:nvSpPr>
        <dsp:cNvPr id="0" name=""/>
        <dsp:cNvSpPr/>
      </dsp:nvSpPr>
      <dsp:spPr>
        <a:xfrm>
          <a:off x="3112058" y="1863403"/>
          <a:ext cx="804121" cy="51061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2"/>
              </a:solidFill>
            </a:rPr>
            <a:t>eComm Marketing</a:t>
          </a:r>
        </a:p>
      </dsp:txBody>
      <dsp:txXfrm>
        <a:off x="3127013" y="1878358"/>
        <a:ext cx="774211" cy="480706"/>
      </dsp:txXfrm>
    </dsp:sp>
    <dsp:sp modelId="{5569FFBF-F9AA-B846-B166-03ACE060325E}">
      <dsp:nvSpPr>
        <dsp:cNvPr id="0" name=""/>
        <dsp:cNvSpPr/>
      </dsp:nvSpPr>
      <dsp:spPr>
        <a:xfrm>
          <a:off x="2458901" y="2523006"/>
          <a:ext cx="804121" cy="510616"/>
        </a:xfrm>
        <a:prstGeom prst="roundRect">
          <a:avLst>
            <a:gd name="adj" fmla="val 10000"/>
          </a:avLst>
        </a:prstGeom>
        <a:solidFill>
          <a:srgbClr val="81A8C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D7B1CEC-3ABA-F84D-8B66-D3068C56238F}">
      <dsp:nvSpPr>
        <dsp:cNvPr id="0" name=""/>
        <dsp:cNvSpPr/>
      </dsp:nvSpPr>
      <dsp:spPr>
        <a:xfrm>
          <a:off x="2548247" y="2607885"/>
          <a:ext cx="804121" cy="51061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2"/>
              </a:solidFill>
            </a:rPr>
            <a:t>eComm content </a:t>
          </a:r>
          <a:r>
            <a:rPr lang="en-US" sz="1200" kern="1200" dirty="0" err="1">
              <a:solidFill>
                <a:schemeClr val="tx2"/>
              </a:solidFill>
            </a:rPr>
            <a:t>mgr</a:t>
          </a:r>
          <a:endParaRPr lang="en-US" sz="1200" kern="1200" dirty="0">
            <a:solidFill>
              <a:schemeClr val="tx2"/>
            </a:solidFill>
          </a:endParaRPr>
        </a:p>
      </dsp:txBody>
      <dsp:txXfrm>
        <a:off x="2563202" y="2622840"/>
        <a:ext cx="774211" cy="480706"/>
      </dsp:txXfrm>
    </dsp:sp>
    <dsp:sp modelId="{9A72F312-657D-5E47-85F3-D3DEA235E5FF}">
      <dsp:nvSpPr>
        <dsp:cNvPr id="0" name=""/>
        <dsp:cNvSpPr/>
      </dsp:nvSpPr>
      <dsp:spPr>
        <a:xfrm>
          <a:off x="3441715" y="2523006"/>
          <a:ext cx="948927" cy="703767"/>
        </a:xfrm>
        <a:prstGeom prst="roundRect">
          <a:avLst>
            <a:gd name="adj" fmla="val 10000"/>
          </a:avLst>
        </a:prstGeom>
        <a:solidFill>
          <a:srgbClr val="81A8C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D51B4E7-88EC-2D4F-BE93-A3043D7BAF00}">
      <dsp:nvSpPr>
        <dsp:cNvPr id="0" name=""/>
        <dsp:cNvSpPr/>
      </dsp:nvSpPr>
      <dsp:spPr>
        <a:xfrm>
          <a:off x="3531062" y="2607885"/>
          <a:ext cx="948927" cy="70376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2"/>
              </a:solidFill>
            </a:rPr>
            <a:t>eComm Search, retail media, …</a:t>
          </a:r>
        </a:p>
      </dsp:txBody>
      <dsp:txXfrm>
        <a:off x="3551675" y="2628498"/>
        <a:ext cx="907701" cy="662541"/>
      </dsp:txXfrm>
    </dsp:sp>
    <dsp:sp modelId="{313C38EE-7FD9-0046-9CAF-CCE073419EA4}">
      <dsp:nvSpPr>
        <dsp:cNvPr id="0" name=""/>
        <dsp:cNvSpPr/>
      </dsp:nvSpPr>
      <dsp:spPr>
        <a:xfrm>
          <a:off x="4005526" y="1778524"/>
          <a:ext cx="804121" cy="510616"/>
        </a:xfrm>
        <a:prstGeom prst="roundRect">
          <a:avLst>
            <a:gd name="adj" fmla="val 10000"/>
          </a:avLst>
        </a:prstGeom>
        <a:solidFill>
          <a:srgbClr val="81A8C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D19E87C-E578-824D-AF21-AFEA60C81A83}">
      <dsp:nvSpPr>
        <dsp:cNvPr id="0" name=""/>
        <dsp:cNvSpPr/>
      </dsp:nvSpPr>
      <dsp:spPr>
        <a:xfrm>
          <a:off x="4094872" y="1863403"/>
          <a:ext cx="804121" cy="51061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2"/>
              </a:solidFill>
            </a:rPr>
            <a:t>eComm Supply Chain</a:t>
          </a:r>
        </a:p>
      </dsp:txBody>
      <dsp:txXfrm>
        <a:off x="4109827" y="1878358"/>
        <a:ext cx="774211" cy="480706"/>
      </dsp:txXfrm>
    </dsp:sp>
    <dsp:sp modelId="{22237CDF-7D85-DA4F-823B-64579DEC2FA9}">
      <dsp:nvSpPr>
        <dsp:cNvPr id="0" name=""/>
        <dsp:cNvSpPr/>
      </dsp:nvSpPr>
      <dsp:spPr>
        <a:xfrm>
          <a:off x="4988340" y="1778524"/>
          <a:ext cx="804121" cy="510616"/>
        </a:xfrm>
        <a:prstGeom prst="roundRect">
          <a:avLst>
            <a:gd name="adj" fmla="val 10000"/>
          </a:avLst>
        </a:prstGeom>
        <a:solidFill>
          <a:srgbClr val="81A8C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4F2118F-5285-2F4B-B29F-8DF546231CA4}">
      <dsp:nvSpPr>
        <dsp:cNvPr id="0" name=""/>
        <dsp:cNvSpPr/>
      </dsp:nvSpPr>
      <dsp:spPr>
        <a:xfrm>
          <a:off x="5077687" y="1863403"/>
          <a:ext cx="804121" cy="51061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2"/>
              </a:solidFill>
            </a:rPr>
            <a:t>eComm IT,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2"/>
              </a:solidFill>
            </a:rPr>
            <a:t>etc.</a:t>
          </a:r>
        </a:p>
      </dsp:txBody>
      <dsp:txXfrm>
        <a:off x="5092642" y="1878358"/>
        <a:ext cx="774211" cy="48070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A344263-23CA-0843-925D-9507DF7E7C12}">
      <dsp:nvSpPr>
        <dsp:cNvPr id="0" name=""/>
        <dsp:cNvSpPr/>
      </dsp:nvSpPr>
      <dsp:spPr>
        <a:xfrm>
          <a:off x="3305188" y="1557867"/>
          <a:ext cx="91440" cy="233814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3381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5EA9C0-2AC9-4543-8D26-2BA6C207EBC5}">
      <dsp:nvSpPr>
        <dsp:cNvPr id="0" name=""/>
        <dsp:cNvSpPr/>
      </dsp:nvSpPr>
      <dsp:spPr>
        <a:xfrm>
          <a:off x="1877004" y="813546"/>
          <a:ext cx="1473904" cy="23381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9337"/>
              </a:lnTo>
              <a:lnTo>
                <a:pt x="1473904" y="159337"/>
              </a:lnTo>
              <a:lnTo>
                <a:pt x="1473904" y="23381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B14CF04-68BF-F64A-B000-1B2A9C7B88F7}">
      <dsp:nvSpPr>
        <dsp:cNvPr id="0" name=""/>
        <dsp:cNvSpPr/>
      </dsp:nvSpPr>
      <dsp:spPr>
        <a:xfrm>
          <a:off x="2322585" y="1557867"/>
          <a:ext cx="91440" cy="233814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3381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A59445-CD70-5648-AEBD-FDF8EEFF7987}">
      <dsp:nvSpPr>
        <dsp:cNvPr id="0" name=""/>
        <dsp:cNvSpPr/>
      </dsp:nvSpPr>
      <dsp:spPr>
        <a:xfrm>
          <a:off x="1877004" y="813546"/>
          <a:ext cx="491301" cy="23381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9337"/>
              </a:lnTo>
              <a:lnTo>
                <a:pt x="491301" y="159337"/>
              </a:lnTo>
              <a:lnTo>
                <a:pt x="491301" y="23381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6A9A9E8-5B5B-E246-ADC7-81D018DC797E}">
      <dsp:nvSpPr>
        <dsp:cNvPr id="0" name=""/>
        <dsp:cNvSpPr/>
      </dsp:nvSpPr>
      <dsp:spPr>
        <a:xfrm>
          <a:off x="1339982" y="1557867"/>
          <a:ext cx="91440" cy="233814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3381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5D9896A-85A7-464A-8955-D65C28B8C391}">
      <dsp:nvSpPr>
        <dsp:cNvPr id="0" name=""/>
        <dsp:cNvSpPr/>
      </dsp:nvSpPr>
      <dsp:spPr>
        <a:xfrm>
          <a:off x="1385702" y="813546"/>
          <a:ext cx="491301" cy="233814"/>
        </a:xfrm>
        <a:custGeom>
          <a:avLst/>
          <a:gdLst/>
          <a:ahLst/>
          <a:cxnLst/>
          <a:rect l="0" t="0" r="0" b="0"/>
          <a:pathLst>
            <a:path>
              <a:moveTo>
                <a:pt x="491301" y="0"/>
              </a:moveTo>
              <a:lnTo>
                <a:pt x="491301" y="159337"/>
              </a:lnTo>
              <a:lnTo>
                <a:pt x="0" y="159337"/>
              </a:lnTo>
              <a:lnTo>
                <a:pt x="0" y="23381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2C9409-DE78-2443-B5C3-52FF4080A77C}">
      <dsp:nvSpPr>
        <dsp:cNvPr id="0" name=""/>
        <dsp:cNvSpPr/>
      </dsp:nvSpPr>
      <dsp:spPr>
        <a:xfrm>
          <a:off x="357379" y="1557867"/>
          <a:ext cx="91440" cy="233814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3381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77A3B20-68CB-4F46-9348-45B10BBE509F}">
      <dsp:nvSpPr>
        <dsp:cNvPr id="0" name=""/>
        <dsp:cNvSpPr/>
      </dsp:nvSpPr>
      <dsp:spPr>
        <a:xfrm>
          <a:off x="403099" y="813546"/>
          <a:ext cx="1473904" cy="233814"/>
        </a:xfrm>
        <a:custGeom>
          <a:avLst/>
          <a:gdLst/>
          <a:ahLst/>
          <a:cxnLst/>
          <a:rect l="0" t="0" r="0" b="0"/>
          <a:pathLst>
            <a:path>
              <a:moveTo>
                <a:pt x="1473904" y="0"/>
              </a:moveTo>
              <a:lnTo>
                <a:pt x="1473904" y="159337"/>
              </a:lnTo>
              <a:lnTo>
                <a:pt x="0" y="159337"/>
              </a:lnTo>
              <a:lnTo>
                <a:pt x="0" y="23381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B6C1EB-2575-DB48-817B-B652F2995B59}">
      <dsp:nvSpPr>
        <dsp:cNvPr id="0" name=""/>
        <dsp:cNvSpPr/>
      </dsp:nvSpPr>
      <dsp:spPr>
        <a:xfrm>
          <a:off x="1475030" y="303039"/>
          <a:ext cx="803947" cy="51050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97A054A-4BE6-4646-823F-6CD75A6B6520}">
      <dsp:nvSpPr>
        <dsp:cNvPr id="0" name=""/>
        <dsp:cNvSpPr/>
      </dsp:nvSpPr>
      <dsp:spPr>
        <a:xfrm>
          <a:off x="1564357" y="387900"/>
          <a:ext cx="803947" cy="51050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2"/>
              </a:solidFill>
            </a:rPr>
            <a:t>C-Suite</a:t>
          </a:r>
        </a:p>
      </dsp:txBody>
      <dsp:txXfrm>
        <a:off x="1579309" y="402852"/>
        <a:ext cx="774043" cy="480602"/>
      </dsp:txXfrm>
    </dsp:sp>
    <dsp:sp modelId="{1F635745-27BF-C240-B06C-4535F98DA12D}">
      <dsp:nvSpPr>
        <dsp:cNvPr id="0" name=""/>
        <dsp:cNvSpPr/>
      </dsp:nvSpPr>
      <dsp:spPr>
        <a:xfrm>
          <a:off x="1125" y="1047360"/>
          <a:ext cx="803947" cy="51050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0C64DA3-FCC1-034F-B7B7-A00C54807430}">
      <dsp:nvSpPr>
        <dsp:cNvPr id="0" name=""/>
        <dsp:cNvSpPr/>
      </dsp:nvSpPr>
      <dsp:spPr>
        <a:xfrm>
          <a:off x="90453" y="1132222"/>
          <a:ext cx="803947" cy="51050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2"/>
              </a:solidFill>
            </a:rPr>
            <a:t>Sales</a:t>
          </a:r>
        </a:p>
      </dsp:txBody>
      <dsp:txXfrm>
        <a:off x="105405" y="1147174"/>
        <a:ext cx="774043" cy="480602"/>
      </dsp:txXfrm>
    </dsp:sp>
    <dsp:sp modelId="{3710C92F-33D7-B649-B0D9-9017538486CA}">
      <dsp:nvSpPr>
        <dsp:cNvPr id="0" name=""/>
        <dsp:cNvSpPr/>
      </dsp:nvSpPr>
      <dsp:spPr>
        <a:xfrm>
          <a:off x="1125" y="1791682"/>
          <a:ext cx="803947" cy="510506"/>
        </a:xfrm>
        <a:prstGeom prst="roundRect">
          <a:avLst>
            <a:gd name="adj" fmla="val 10000"/>
          </a:avLst>
        </a:prstGeom>
        <a:solidFill>
          <a:srgbClr val="81A8C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787C654-CFDA-194F-8229-FDD55AE11003}">
      <dsp:nvSpPr>
        <dsp:cNvPr id="0" name=""/>
        <dsp:cNvSpPr/>
      </dsp:nvSpPr>
      <dsp:spPr>
        <a:xfrm>
          <a:off x="90453" y="1876543"/>
          <a:ext cx="803947" cy="51050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2"/>
              </a:solidFill>
            </a:rPr>
            <a:t>eComm Sales</a:t>
          </a:r>
        </a:p>
      </dsp:txBody>
      <dsp:txXfrm>
        <a:off x="105405" y="1891495"/>
        <a:ext cx="774043" cy="480602"/>
      </dsp:txXfrm>
    </dsp:sp>
    <dsp:sp modelId="{10D89D2A-2896-C946-BCBE-4EFCB411F552}">
      <dsp:nvSpPr>
        <dsp:cNvPr id="0" name=""/>
        <dsp:cNvSpPr/>
      </dsp:nvSpPr>
      <dsp:spPr>
        <a:xfrm>
          <a:off x="983728" y="1047360"/>
          <a:ext cx="803947" cy="51050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62B8FF4-087E-CF4E-9F12-4896DA584FE9}">
      <dsp:nvSpPr>
        <dsp:cNvPr id="0" name=""/>
        <dsp:cNvSpPr/>
      </dsp:nvSpPr>
      <dsp:spPr>
        <a:xfrm>
          <a:off x="1073056" y="1132222"/>
          <a:ext cx="803947" cy="51050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2"/>
              </a:solidFill>
            </a:rPr>
            <a:t>Marketing</a:t>
          </a:r>
        </a:p>
      </dsp:txBody>
      <dsp:txXfrm>
        <a:off x="1088008" y="1147174"/>
        <a:ext cx="774043" cy="480602"/>
      </dsp:txXfrm>
    </dsp:sp>
    <dsp:sp modelId="{0CAED66E-7A7A-3D4C-A3D3-38EC5D61FCBF}">
      <dsp:nvSpPr>
        <dsp:cNvPr id="0" name=""/>
        <dsp:cNvSpPr/>
      </dsp:nvSpPr>
      <dsp:spPr>
        <a:xfrm>
          <a:off x="983728" y="1791682"/>
          <a:ext cx="803947" cy="510506"/>
        </a:xfrm>
        <a:prstGeom prst="roundRect">
          <a:avLst>
            <a:gd name="adj" fmla="val 10000"/>
          </a:avLst>
        </a:prstGeom>
        <a:solidFill>
          <a:srgbClr val="81A8C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DA76CD6-64DB-4A4B-9778-4EF8797AEB24}">
      <dsp:nvSpPr>
        <dsp:cNvPr id="0" name=""/>
        <dsp:cNvSpPr/>
      </dsp:nvSpPr>
      <dsp:spPr>
        <a:xfrm>
          <a:off x="1073056" y="1876543"/>
          <a:ext cx="803947" cy="51050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2"/>
              </a:solidFill>
            </a:rPr>
            <a:t>eComm Mktg</a:t>
          </a:r>
        </a:p>
      </dsp:txBody>
      <dsp:txXfrm>
        <a:off x="1088008" y="1891495"/>
        <a:ext cx="774043" cy="480602"/>
      </dsp:txXfrm>
    </dsp:sp>
    <dsp:sp modelId="{E5DCE789-E7A6-4341-8B40-C1815D54F713}">
      <dsp:nvSpPr>
        <dsp:cNvPr id="0" name=""/>
        <dsp:cNvSpPr/>
      </dsp:nvSpPr>
      <dsp:spPr>
        <a:xfrm>
          <a:off x="1966331" y="1047360"/>
          <a:ext cx="803947" cy="51050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30FF762-2423-AC44-A63D-E9652CC0024B}">
      <dsp:nvSpPr>
        <dsp:cNvPr id="0" name=""/>
        <dsp:cNvSpPr/>
      </dsp:nvSpPr>
      <dsp:spPr>
        <a:xfrm>
          <a:off x="2055659" y="1132222"/>
          <a:ext cx="803947" cy="51050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2"/>
              </a:solidFill>
            </a:rPr>
            <a:t>Supply Chain</a:t>
          </a:r>
        </a:p>
      </dsp:txBody>
      <dsp:txXfrm>
        <a:off x="2070611" y="1147174"/>
        <a:ext cx="774043" cy="480602"/>
      </dsp:txXfrm>
    </dsp:sp>
    <dsp:sp modelId="{3D84166D-FA81-3546-9ED4-0FDB00BA82A5}">
      <dsp:nvSpPr>
        <dsp:cNvPr id="0" name=""/>
        <dsp:cNvSpPr/>
      </dsp:nvSpPr>
      <dsp:spPr>
        <a:xfrm>
          <a:off x="1966331" y="1791682"/>
          <a:ext cx="803947" cy="510506"/>
        </a:xfrm>
        <a:prstGeom prst="roundRect">
          <a:avLst>
            <a:gd name="adj" fmla="val 10000"/>
          </a:avLst>
        </a:prstGeom>
        <a:solidFill>
          <a:srgbClr val="81A8C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6AA1541-FBAD-A64F-A943-71B13FC1CEDA}">
      <dsp:nvSpPr>
        <dsp:cNvPr id="0" name=""/>
        <dsp:cNvSpPr/>
      </dsp:nvSpPr>
      <dsp:spPr>
        <a:xfrm>
          <a:off x="2055659" y="1876543"/>
          <a:ext cx="803947" cy="51050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2"/>
              </a:solidFill>
            </a:rPr>
            <a:t>eComm Supply Chain</a:t>
          </a:r>
        </a:p>
      </dsp:txBody>
      <dsp:txXfrm>
        <a:off x="2070611" y="1891495"/>
        <a:ext cx="774043" cy="480602"/>
      </dsp:txXfrm>
    </dsp:sp>
    <dsp:sp modelId="{49ED984C-76FC-BF41-9F26-F77A06D51D3F}">
      <dsp:nvSpPr>
        <dsp:cNvPr id="0" name=""/>
        <dsp:cNvSpPr/>
      </dsp:nvSpPr>
      <dsp:spPr>
        <a:xfrm>
          <a:off x="2948934" y="1047360"/>
          <a:ext cx="803947" cy="51050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046CA24-C23D-464A-B16B-00025F2E54B4}">
      <dsp:nvSpPr>
        <dsp:cNvPr id="0" name=""/>
        <dsp:cNvSpPr/>
      </dsp:nvSpPr>
      <dsp:spPr>
        <a:xfrm>
          <a:off x="3038262" y="1132222"/>
          <a:ext cx="803947" cy="51050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2"/>
              </a:solidFill>
            </a:rPr>
            <a:t>Other X-functions </a:t>
          </a:r>
        </a:p>
      </dsp:txBody>
      <dsp:txXfrm>
        <a:off x="3053214" y="1147174"/>
        <a:ext cx="774043" cy="480602"/>
      </dsp:txXfrm>
    </dsp:sp>
    <dsp:sp modelId="{FD3DE6DD-536C-B945-9C0A-75540673ED2E}">
      <dsp:nvSpPr>
        <dsp:cNvPr id="0" name=""/>
        <dsp:cNvSpPr/>
      </dsp:nvSpPr>
      <dsp:spPr>
        <a:xfrm>
          <a:off x="2948934" y="1791682"/>
          <a:ext cx="803947" cy="510506"/>
        </a:xfrm>
        <a:prstGeom prst="roundRect">
          <a:avLst>
            <a:gd name="adj" fmla="val 10000"/>
          </a:avLst>
        </a:prstGeom>
        <a:solidFill>
          <a:srgbClr val="81A8C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E70499-4894-7D43-83C8-DF4621CEED30}">
      <dsp:nvSpPr>
        <dsp:cNvPr id="0" name=""/>
        <dsp:cNvSpPr/>
      </dsp:nvSpPr>
      <dsp:spPr>
        <a:xfrm>
          <a:off x="3038262" y="1876543"/>
          <a:ext cx="803947" cy="51050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2"/>
              </a:solidFill>
            </a:rPr>
            <a:t>eComm IT, etc.</a:t>
          </a:r>
        </a:p>
      </dsp:txBody>
      <dsp:txXfrm>
        <a:off x="3053214" y="1891495"/>
        <a:ext cx="774043" cy="48060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977F7A-74A0-4AB3-BAA2-DF526D621B82}" type="datetimeFigureOut">
              <a:rPr lang="en-US" smtClean="0"/>
              <a:t>6/1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5C2F5F-E944-42DC-9945-DBAD1CA716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17313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5C2F5F-E944-42DC-9945-DBAD1CA7169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947025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8085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5C2F5F-E944-42DC-9945-DBAD1CA7169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9033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5C2F5F-E944-42DC-9945-DBAD1CA7169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56021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5C2F5F-E944-42DC-9945-DBAD1CA7169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21407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5C2F5F-E944-42DC-9945-DBAD1CA7169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42644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5C2F5F-E944-42DC-9945-DBAD1CA7169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6506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49250" y="393700"/>
            <a:ext cx="4132263" cy="2324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422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422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05513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5C2F5F-E944-42DC-9945-DBAD1CA7169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36986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5C2F5F-E944-42DC-9945-DBAD1CA7169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63913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5C2F5F-E944-42DC-9945-DBAD1CA7169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47944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FD78DB-CACE-4E44-8560-D0DF713680AD}" type="slidenum">
              <a:rPr lang="es-AR" smtClean="0"/>
              <a:t>9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8562768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Master" Target="../slideMasters/slideMaster2.xml"/><Relationship Id="rId7" Type="http://schemas.openxmlformats.org/officeDocument/2006/relationships/image" Target="NUL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5" Type="http://schemas.microsoft.com/office/2007/relationships/hdphoto" Target="../media/hdphoto1.wdp"/><Relationship Id="rId10" Type="http://schemas.openxmlformats.org/officeDocument/2006/relationships/image" Target="../media/image6.png"/><Relationship Id="rId4" Type="http://schemas.openxmlformats.org/officeDocument/2006/relationships/image" Target="../media/image4.png"/><Relationship Id="rId9" Type="http://schemas.openxmlformats.org/officeDocument/2006/relationships/image" Target="../media/image5.png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Circle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655B1FCA-4D49-4122-B6E9-D550AA0C5E7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2"/>
            <a:ext cx="5266036" cy="6857999"/>
          </a:xfrm>
          <a:custGeom>
            <a:avLst/>
            <a:gdLst>
              <a:gd name="connsiteX0" fmla="*/ 0 w 5266036"/>
              <a:gd name="connsiteY0" fmla="*/ 0 h 6857999"/>
              <a:gd name="connsiteX1" fmla="*/ 3014696 w 5266036"/>
              <a:gd name="connsiteY1" fmla="*/ 0 h 6857999"/>
              <a:gd name="connsiteX2" fmla="*/ 3040982 w 5266036"/>
              <a:gd name="connsiteY2" fmla="*/ 11408 h 6857999"/>
              <a:gd name="connsiteX3" fmla="*/ 5250901 w 5266036"/>
              <a:gd name="connsiteY3" fmla="*/ 4085922 h 6857999"/>
              <a:gd name="connsiteX4" fmla="*/ 3435696 w 5266036"/>
              <a:gd name="connsiteY4" fmla="*/ 6839477 h 6857999"/>
              <a:gd name="connsiteX5" fmla="*/ 3398838 w 5266036"/>
              <a:gd name="connsiteY5" fmla="*/ 6857999 h 6857999"/>
              <a:gd name="connsiteX6" fmla="*/ 0 w 5266036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66036" h="6857999">
                <a:moveTo>
                  <a:pt x="0" y="0"/>
                </a:moveTo>
                <a:lnTo>
                  <a:pt x="3014696" y="0"/>
                </a:lnTo>
                <a:lnTo>
                  <a:pt x="3040982" y="11408"/>
                </a:lnTo>
                <a:cubicBezTo>
                  <a:pt x="4562919" y="717837"/>
                  <a:pt x="5390071" y="2397951"/>
                  <a:pt x="5250901" y="4085922"/>
                </a:cubicBezTo>
                <a:cubicBezTo>
                  <a:pt x="5138669" y="5484335"/>
                  <a:pt x="4361602" y="6343612"/>
                  <a:pt x="3435696" y="6839477"/>
                </a:cubicBezTo>
                <a:lnTo>
                  <a:pt x="3398838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tIns="365760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half slide image is 640 x 720 pixels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6608E2E-E744-4878-A234-60F6B6711C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3306349"/>
            <a:ext cx="5638800" cy="72208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Subtitle or Presenter Nam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534CB02-81D9-4803-9899-8E6A2EABA9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457200"/>
            <a:ext cx="5715000" cy="2565401"/>
          </a:xfrm>
        </p:spPr>
        <p:txBody>
          <a:bodyPr/>
          <a:lstStyle>
            <a:lvl1pPr>
              <a:lnSpc>
                <a:spcPct val="82000"/>
              </a:lnSpc>
              <a:defRPr sz="6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40684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ircle Number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5429212D-B00C-4BBB-BB9D-1666236C692B}"/>
              </a:ext>
            </a:extLst>
          </p:cNvPr>
          <p:cNvSpPr/>
          <p:nvPr/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990842 h 6858000"/>
              <a:gd name="connsiteX5" fmla="*/ 150975 w 12192000"/>
              <a:gd name="connsiteY5" fmla="*/ 5998474 h 6858000"/>
              <a:gd name="connsiteX6" fmla="*/ 5193108 w 12192000"/>
              <a:gd name="connsiteY6" fmla="*/ 6001978 h 6858000"/>
              <a:gd name="connsiteX7" fmla="*/ 8558788 w 12192000"/>
              <a:gd name="connsiteY7" fmla="*/ 6014203 h 6858000"/>
              <a:gd name="connsiteX8" fmla="*/ 11288459 w 12192000"/>
              <a:gd name="connsiteY8" fmla="*/ 6050854 h 6858000"/>
              <a:gd name="connsiteX9" fmla="*/ 11871493 w 12192000"/>
              <a:gd name="connsiteY9" fmla="*/ 5281048 h 6858000"/>
              <a:gd name="connsiteX10" fmla="*/ 11897981 w 12192000"/>
              <a:gd name="connsiteY10" fmla="*/ 3643667 h 6858000"/>
              <a:gd name="connsiteX11" fmla="*/ 11924496 w 12192000"/>
              <a:gd name="connsiteY11" fmla="*/ 2409516 h 6858000"/>
              <a:gd name="connsiteX12" fmla="*/ 11924496 w 12192000"/>
              <a:gd name="connsiteY12" fmla="*/ 1554168 h 6858000"/>
              <a:gd name="connsiteX13" fmla="*/ 11844978 w 12192000"/>
              <a:gd name="connsiteY13" fmla="*/ 491099 h 6858000"/>
              <a:gd name="connsiteX14" fmla="*/ 10943926 w 12192000"/>
              <a:gd name="connsiteY14" fmla="*/ 295591 h 6858000"/>
              <a:gd name="connsiteX15" fmla="*/ 10016386 w 12192000"/>
              <a:gd name="connsiteY15" fmla="*/ 283365 h 6858000"/>
              <a:gd name="connsiteX16" fmla="*/ 9062331 w 12192000"/>
              <a:gd name="connsiteY16" fmla="*/ 222275 h 6858000"/>
              <a:gd name="connsiteX17" fmla="*/ 1906918 w 12192000"/>
              <a:gd name="connsiteY17" fmla="*/ 271152 h 6858000"/>
              <a:gd name="connsiteX18" fmla="*/ 581842 w 12192000"/>
              <a:gd name="connsiteY18" fmla="*/ 332242 h 6858000"/>
              <a:gd name="connsiteX19" fmla="*/ 39127 w 12192000"/>
              <a:gd name="connsiteY19" fmla="*/ 367898 h 6858000"/>
              <a:gd name="connsiteX20" fmla="*/ 0 w 12192000"/>
              <a:gd name="connsiteY20" fmla="*/ 37256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990842"/>
                </a:lnTo>
                <a:lnTo>
                  <a:pt x="150975" y="5998474"/>
                </a:lnTo>
                <a:cubicBezTo>
                  <a:pt x="1703185" y="6058110"/>
                  <a:pt x="3407556" y="6001978"/>
                  <a:pt x="5193108" y="6001978"/>
                </a:cubicBezTo>
                <a:cubicBezTo>
                  <a:pt x="6226654" y="6001978"/>
                  <a:pt x="7551730" y="6026417"/>
                  <a:pt x="8558788" y="6014203"/>
                </a:cubicBezTo>
                <a:cubicBezTo>
                  <a:pt x="8876806" y="6001978"/>
                  <a:pt x="10970441" y="6050854"/>
                  <a:pt x="11288459" y="6050854"/>
                </a:cubicBezTo>
                <a:cubicBezTo>
                  <a:pt x="11977499" y="6050854"/>
                  <a:pt x="11871493" y="5659839"/>
                  <a:pt x="11871493" y="5281048"/>
                </a:cubicBezTo>
                <a:cubicBezTo>
                  <a:pt x="11844978" y="4731174"/>
                  <a:pt x="11950984" y="4193527"/>
                  <a:pt x="11897981" y="3643667"/>
                </a:cubicBezTo>
                <a:cubicBezTo>
                  <a:pt x="11871493" y="3240426"/>
                  <a:pt x="11950984" y="2812758"/>
                  <a:pt x="11924496" y="2409516"/>
                </a:cubicBezTo>
                <a:cubicBezTo>
                  <a:pt x="11897981" y="2128479"/>
                  <a:pt x="11950984" y="1835217"/>
                  <a:pt x="11924496" y="1554168"/>
                </a:cubicBezTo>
                <a:cubicBezTo>
                  <a:pt x="11897981" y="1273131"/>
                  <a:pt x="11950984" y="857677"/>
                  <a:pt x="11844978" y="491099"/>
                </a:cubicBezTo>
                <a:cubicBezTo>
                  <a:pt x="11791974" y="344467"/>
                  <a:pt x="11314947" y="320030"/>
                  <a:pt x="10943926" y="295591"/>
                </a:cubicBezTo>
                <a:cubicBezTo>
                  <a:pt x="10731913" y="283365"/>
                  <a:pt x="10334404" y="307804"/>
                  <a:pt x="10016386" y="283365"/>
                </a:cubicBezTo>
                <a:cubicBezTo>
                  <a:pt x="9777858" y="258927"/>
                  <a:pt x="9327346" y="222275"/>
                  <a:pt x="9062331" y="222275"/>
                </a:cubicBezTo>
                <a:cubicBezTo>
                  <a:pt x="6359175" y="185611"/>
                  <a:pt x="5034099" y="258927"/>
                  <a:pt x="1906918" y="271152"/>
                </a:cubicBezTo>
                <a:cubicBezTo>
                  <a:pt x="1615388" y="271152"/>
                  <a:pt x="1217879" y="271152"/>
                  <a:pt x="581842" y="332242"/>
                </a:cubicBezTo>
                <a:cubicBezTo>
                  <a:pt x="363204" y="350571"/>
                  <a:pt x="185559" y="355153"/>
                  <a:pt x="39127" y="367898"/>
                </a:cubicBezTo>
                <a:lnTo>
                  <a:pt x="0" y="372567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4F0FFF-5D36-4549-8268-45CFD8189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2" y="429065"/>
            <a:ext cx="11294180" cy="4853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2CAF28-BA8C-48BC-AC7B-67ED87054B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EB1475D-EF5B-48A6-8CCB-3BD08F726926}" type="datetimeFigureOut">
              <a:rPr lang="en-US"/>
              <a:pPr/>
              <a:t>6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DD4960-69A7-4E3C-9AD4-21496392E0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74DF74-F5E9-4644-AFC4-45DD819ED1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565A54F4-DB31-4FC5-B748-3F06867349C3}" type="slidenum">
              <a:rPr lang="en-US"/>
              <a:pPr/>
              <a:t>‹#›</a:t>
            </a:fld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FD305FA-3E8C-4125-9A77-5EC36A2132EA}"/>
              </a:ext>
            </a:extLst>
          </p:cNvPr>
          <p:cNvGrpSpPr>
            <a:grpSpLocks noChangeAspect="1"/>
          </p:cNvGrpSpPr>
          <p:nvPr/>
        </p:nvGrpSpPr>
        <p:grpSpPr>
          <a:xfrm>
            <a:off x="10676779" y="6205751"/>
            <a:ext cx="1143000" cy="440144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155931C-326F-4267-9BC5-89EB4D2E96F6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72C407B-D3EF-4996-A77D-4376FAEF30F9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75D4722-DDE2-4E36-ADA4-6B4FF78954BA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BE1D7AF-956D-4A32-B45C-0B84DA0E4E1A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E905069-5A9F-4256-9865-26C748322AAC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21AE7A8-58AC-45E5-8868-AE57A64019A6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4DFD2FB-510C-4156-98D8-02939396C287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AA471C0-6209-4B7B-901C-48CCE2BC7D52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431BB416-75D8-47BF-9E4E-9027F57E85DD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AEB78440-7F62-4D79-9483-861B628F32D2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C9D7D0A-4F73-4194-9757-8A00A890A672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C5246292-11FA-4726-9072-DDDA78218BFC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9ACEC316-BA5C-440C-89BF-6FE143520B34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435751A7-0636-4A94-82A5-061081DF9E1F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8B40D30E-3FD1-4BB4-B9AC-09DA2F2D5CE1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9B44342E-62F3-4A6E-9AEC-F34D3436B671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9857CCB-8FF9-4139-8A9B-3C59A36A0348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FC1A0A4-BD0A-43E3-AA8C-35E9A0DA95ED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4DC71C56-C4F6-45F5-9717-6FFB05DFB38A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669EF73-3FE0-4CA9-8956-AE8D9E8EF522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9566FE17-6DFB-4B41-9F21-2F7F40BFEFCB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52296D45-E00F-46CB-8C2E-441F3F4EEBB8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D99CC68-D3E2-4B92-ADB7-0C09AF4A4A84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8D9F3B7D-3D0E-46E7-8821-91592A37E87D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56789F94-77D1-419E-9CB0-17B670111926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9E33C35F-2A47-43BD-A69C-C7EEB1924394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F2F4E1C-4B0E-4041-AFAD-37EBA7110ECE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3BD4128C-C42F-4336-BDBD-E914A28EFC6F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C6CA1296-E56E-4964-A66F-3EB3E89A1239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92FBFDE-3137-468A-8F8D-05A481D5D8C8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5C916629-4CAD-4AF4-9647-09F37B1F9C13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634B62B-26FD-4099-9C72-DED3E7F20DC3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25DE5C31-EDDF-4BF1-8681-14E1D78A16D0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AA123048-4C12-46AC-9243-BF2263C43BE6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D2174A2-CA7D-446C-AD8A-8C4DE990DD26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6A074F1E-F61E-4BB1-A6F8-4B878375C02B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A7E978CE-B7FC-4134-A0E0-BB1C5A9FD982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8D2DE57F-1699-43AB-8646-668F794713B2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8E0DB68-7257-4198-9DF3-32DE34D75DCC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57C41A0D-C2E3-4D53-84BE-98D0A1FDB835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F0CBCB5D-8273-445A-953A-CC3C6A32C121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B3252F-B372-453C-853F-96C6D6241684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53" name="Text Placeholder 53">
            <a:extLst>
              <a:ext uri="{FF2B5EF4-FFF2-40B4-BE49-F238E27FC236}">
                <a16:creationId xmlns:a16="http://schemas.microsoft.com/office/drawing/2014/main" id="{A06BB12E-B6C0-430E-92B2-14BF001693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1551" y="1444711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Type first item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669D2195-8E5A-403C-9846-2544DFFAF2B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1418375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9" name="Text Placeholder 53">
            <a:extLst>
              <a:ext uri="{FF2B5EF4-FFF2-40B4-BE49-F238E27FC236}">
                <a16:creationId xmlns:a16="http://schemas.microsoft.com/office/drawing/2014/main" id="{A7B5E7A9-B9DF-45F8-A739-FC8A9096C7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1551" y="2107168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Type next item</a:t>
            </a:r>
          </a:p>
        </p:txBody>
      </p:sp>
      <p:sp>
        <p:nvSpPr>
          <p:cNvPr id="60" name="Text Placeholder 59">
            <a:extLst>
              <a:ext uri="{FF2B5EF4-FFF2-40B4-BE49-F238E27FC236}">
                <a16:creationId xmlns:a16="http://schemas.microsoft.com/office/drawing/2014/main" id="{A21D3DEF-A031-45FE-89E2-41EF0AF9C9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1" y="2080832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1" name="Text Placeholder 53">
            <a:extLst>
              <a:ext uri="{FF2B5EF4-FFF2-40B4-BE49-F238E27FC236}">
                <a16:creationId xmlns:a16="http://schemas.microsoft.com/office/drawing/2014/main" id="{843991E2-821D-4ADE-B4B2-D73D36D98AD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1551" y="2774943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Type next item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CCF9AAF0-8A4F-48C4-AC54-27C04E20141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1001" y="2748607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3" name="Text Placeholder 53">
            <a:extLst>
              <a:ext uri="{FF2B5EF4-FFF2-40B4-BE49-F238E27FC236}">
                <a16:creationId xmlns:a16="http://schemas.microsoft.com/office/drawing/2014/main" id="{5235ED59-3C41-47EE-B906-51D1E578E39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1551" y="3469143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Type next item</a:t>
            </a:r>
          </a:p>
        </p:txBody>
      </p:sp>
      <p:sp>
        <p:nvSpPr>
          <p:cNvPr id="64" name="Text Placeholder 63">
            <a:extLst>
              <a:ext uri="{FF2B5EF4-FFF2-40B4-BE49-F238E27FC236}">
                <a16:creationId xmlns:a16="http://schemas.microsoft.com/office/drawing/2014/main" id="{4280E422-A0A9-40DF-9122-00AD1444FB5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001" y="3442807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5" name="Text Placeholder 53">
            <a:extLst>
              <a:ext uri="{FF2B5EF4-FFF2-40B4-BE49-F238E27FC236}">
                <a16:creationId xmlns:a16="http://schemas.microsoft.com/office/drawing/2014/main" id="{AECA80CA-9F74-4096-9C45-C057913B58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71551" y="4126468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Type next item</a:t>
            </a:r>
          </a:p>
        </p:txBody>
      </p:sp>
      <p:sp>
        <p:nvSpPr>
          <p:cNvPr id="66" name="Text Placeholder 65">
            <a:extLst>
              <a:ext uri="{FF2B5EF4-FFF2-40B4-BE49-F238E27FC236}">
                <a16:creationId xmlns:a16="http://schemas.microsoft.com/office/drawing/2014/main" id="{B6CAD1F9-5950-4D84-A97B-25108B12772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1001" y="4100132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7" name="Text Placeholder 53">
            <a:extLst>
              <a:ext uri="{FF2B5EF4-FFF2-40B4-BE49-F238E27FC236}">
                <a16:creationId xmlns:a16="http://schemas.microsoft.com/office/drawing/2014/main" id="{A4C226B7-27E7-48B6-9ACD-14E208CD447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1551" y="4792261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Type next item</a:t>
            </a:r>
          </a:p>
        </p:txBody>
      </p:sp>
      <p:sp>
        <p:nvSpPr>
          <p:cNvPr id="68" name="Text Placeholder 67">
            <a:extLst>
              <a:ext uri="{FF2B5EF4-FFF2-40B4-BE49-F238E27FC236}">
                <a16:creationId xmlns:a16="http://schemas.microsoft.com/office/drawing/2014/main" id="{D0EA1119-3409-4D86-8187-1CFFEF0DF14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1001" y="4765925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9" name="Text Placeholder 53">
            <a:extLst>
              <a:ext uri="{FF2B5EF4-FFF2-40B4-BE49-F238E27FC236}">
                <a16:creationId xmlns:a16="http://schemas.microsoft.com/office/drawing/2014/main" id="{DF220140-A17A-47FD-96A9-63441622845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845301" y="1444711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ircle fill color can be changed</a:t>
            </a: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D5C5A157-E82E-413B-BB5A-5BB8F6F13C7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54751" y="1418375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71" name="Text Placeholder 53">
            <a:extLst>
              <a:ext uri="{FF2B5EF4-FFF2-40B4-BE49-F238E27FC236}">
                <a16:creationId xmlns:a16="http://schemas.microsoft.com/office/drawing/2014/main" id="{BD21E496-D37E-4761-8172-822F85DCF01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45301" y="2107168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ircle fill color can be changed</a:t>
            </a:r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E0EF41A7-D380-4CC9-9EC8-D362F1F0B13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54751" y="2080832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73" name="Text Placeholder 53">
            <a:extLst>
              <a:ext uri="{FF2B5EF4-FFF2-40B4-BE49-F238E27FC236}">
                <a16:creationId xmlns:a16="http://schemas.microsoft.com/office/drawing/2014/main" id="{4F469721-F9C8-4264-985A-69119F52CAC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845301" y="2774943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ircle fill color can be changed</a:t>
            </a:r>
          </a:p>
        </p:txBody>
      </p:sp>
      <p:sp>
        <p:nvSpPr>
          <p:cNvPr id="74" name="Text Placeholder 73">
            <a:extLst>
              <a:ext uri="{FF2B5EF4-FFF2-40B4-BE49-F238E27FC236}">
                <a16:creationId xmlns:a16="http://schemas.microsoft.com/office/drawing/2014/main" id="{FECC6C45-1A8B-4F2F-B1E3-9FE603D3F2B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54751" y="2748607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75" name="Text Placeholder 53">
            <a:extLst>
              <a:ext uri="{FF2B5EF4-FFF2-40B4-BE49-F238E27FC236}">
                <a16:creationId xmlns:a16="http://schemas.microsoft.com/office/drawing/2014/main" id="{9C294EA6-0710-4E2B-9FE5-E2AA43EB745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845301" y="3469143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Delete all unused placeholders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C167E3BD-01BA-46B0-8C56-C2139417F9B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4751" y="3442807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77" name="Text Placeholder 53">
            <a:extLst>
              <a:ext uri="{FF2B5EF4-FFF2-40B4-BE49-F238E27FC236}">
                <a16:creationId xmlns:a16="http://schemas.microsoft.com/office/drawing/2014/main" id="{CC08D11D-1C9F-4E62-B3A8-39C8892D767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845301" y="4126468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Delete all unused placeholders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E99AB11B-9D32-4DF8-80A4-930B735446C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54751" y="4100132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79" name="Text Placeholder 53">
            <a:extLst>
              <a:ext uri="{FF2B5EF4-FFF2-40B4-BE49-F238E27FC236}">
                <a16:creationId xmlns:a16="http://schemas.microsoft.com/office/drawing/2014/main" id="{F8CCC2D7-D1BC-4EB8-BB66-1CCA97A45B6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845301" y="4792261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Delete all unused placeholders</a:t>
            </a:r>
          </a:p>
        </p:txBody>
      </p:sp>
      <p:sp>
        <p:nvSpPr>
          <p:cNvPr id="80" name="Text Placeholder 79">
            <a:extLst>
              <a:ext uri="{FF2B5EF4-FFF2-40B4-BE49-F238E27FC236}">
                <a16:creationId xmlns:a16="http://schemas.microsoft.com/office/drawing/2014/main" id="{8C487161-30FF-4175-B33D-D4EFB0DD4EA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54751" y="4765925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2089416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 with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967A9474-DCF8-444C-9F9E-D4D5FF840D78}"/>
              </a:ext>
            </a:extLst>
          </p:cNvPr>
          <p:cNvSpPr/>
          <p:nvPr/>
        </p:nvSpPr>
        <p:spPr>
          <a:xfrm>
            <a:off x="0" y="308486"/>
            <a:ext cx="4118657" cy="3661435"/>
          </a:xfrm>
          <a:custGeom>
            <a:avLst/>
            <a:gdLst>
              <a:gd name="connsiteX0" fmla="*/ 2315158 w 4118657"/>
              <a:gd name="connsiteY0" fmla="*/ 0 h 3661435"/>
              <a:gd name="connsiteX1" fmla="*/ 2321167 w 4118657"/>
              <a:gd name="connsiteY1" fmla="*/ 0 h 3661435"/>
              <a:gd name="connsiteX2" fmla="*/ 3782138 w 4118657"/>
              <a:gd name="connsiteY2" fmla="*/ 1376794 h 3661435"/>
              <a:gd name="connsiteX3" fmla="*/ 4106797 w 4118657"/>
              <a:gd name="connsiteY3" fmla="*/ 2026113 h 3661435"/>
              <a:gd name="connsiteX4" fmla="*/ 3896366 w 4118657"/>
              <a:gd name="connsiteY4" fmla="*/ 2338748 h 3661435"/>
              <a:gd name="connsiteX5" fmla="*/ 2567671 w 4118657"/>
              <a:gd name="connsiteY5" fmla="*/ 3438986 h 3661435"/>
              <a:gd name="connsiteX6" fmla="*/ 2321167 w 4118657"/>
              <a:gd name="connsiteY6" fmla="*/ 3619352 h 3661435"/>
              <a:gd name="connsiteX7" fmla="*/ 2255036 w 4118657"/>
              <a:gd name="connsiteY7" fmla="*/ 3661435 h 3661435"/>
              <a:gd name="connsiteX8" fmla="*/ 2243012 w 4118657"/>
              <a:gd name="connsiteY8" fmla="*/ 3661435 h 3661435"/>
              <a:gd name="connsiteX9" fmla="*/ 2146817 w 4118657"/>
              <a:gd name="connsiteY9" fmla="*/ 3475059 h 3661435"/>
              <a:gd name="connsiteX10" fmla="*/ 2140801 w 4118657"/>
              <a:gd name="connsiteY10" fmla="*/ 3270644 h 3661435"/>
              <a:gd name="connsiteX11" fmla="*/ 2146817 w 4118657"/>
              <a:gd name="connsiteY11" fmla="*/ 2909911 h 3661435"/>
              <a:gd name="connsiteX12" fmla="*/ 2146817 w 4118657"/>
              <a:gd name="connsiteY12" fmla="*/ 2765618 h 3661435"/>
              <a:gd name="connsiteX13" fmla="*/ 0 w 4118657"/>
              <a:gd name="connsiteY13" fmla="*/ 2765618 h 3661435"/>
              <a:gd name="connsiteX14" fmla="*/ 0 w 4118657"/>
              <a:gd name="connsiteY14" fmla="*/ 893100 h 3661435"/>
              <a:gd name="connsiteX15" fmla="*/ 36528 w 4118657"/>
              <a:gd name="connsiteY15" fmla="*/ 889808 h 3661435"/>
              <a:gd name="connsiteX16" fmla="*/ 2212948 w 4118657"/>
              <a:gd name="connsiteY16" fmla="*/ 889808 h 3661435"/>
              <a:gd name="connsiteX17" fmla="*/ 2297119 w 4118657"/>
              <a:gd name="connsiteY17" fmla="*/ 12025 h 3661435"/>
              <a:gd name="connsiteX18" fmla="*/ 2303134 w 4118657"/>
              <a:gd name="connsiteY18" fmla="*/ 6009 h 3661435"/>
              <a:gd name="connsiteX19" fmla="*/ 2315158 w 4118657"/>
              <a:gd name="connsiteY19" fmla="*/ 0 h 3661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118657" h="3661435">
                <a:moveTo>
                  <a:pt x="2315158" y="0"/>
                </a:moveTo>
                <a:lnTo>
                  <a:pt x="2321167" y="0"/>
                </a:lnTo>
                <a:cubicBezTo>
                  <a:pt x="2477485" y="0"/>
                  <a:pt x="3649869" y="1232501"/>
                  <a:pt x="3782138" y="1376794"/>
                </a:cubicBezTo>
                <a:cubicBezTo>
                  <a:pt x="3800171" y="1394834"/>
                  <a:pt x="4190968" y="1833722"/>
                  <a:pt x="4106797" y="2026113"/>
                </a:cubicBezTo>
                <a:cubicBezTo>
                  <a:pt x="4076733" y="2104275"/>
                  <a:pt x="3902382" y="2326724"/>
                  <a:pt x="3896366" y="2338748"/>
                </a:cubicBezTo>
                <a:cubicBezTo>
                  <a:pt x="3493551" y="2801692"/>
                  <a:pt x="2892331" y="3216531"/>
                  <a:pt x="2567671" y="3438986"/>
                </a:cubicBezTo>
                <a:cubicBezTo>
                  <a:pt x="2435403" y="3529166"/>
                  <a:pt x="2345216" y="3595304"/>
                  <a:pt x="2321167" y="3619352"/>
                </a:cubicBezTo>
                <a:cubicBezTo>
                  <a:pt x="2297119" y="3649410"/>
                  <a:pt x="2273070" y="3661435"/>
                  <a:pt x="2255036" y="3661435"/>
                </a:cubicBezTo>
                <a:cubicBezTo>
                  <a:pt x="2249021" y="3661435"/>
                  <a:pt x="2249021" y="3661435"/>
                  <a:pt x="2243012" y="3661435"/>
                </a:cubicBezTo>
                <a:cubicBezTo>
                  <a:pt x="2194914" y="3649410"/>
                  <a:pt x="2164850" y="3559230"/>
                  <a:pt x="2146817" y="3475059"/>
                </a:cubicBezTo>
                <a:cubicBezTo>
                  <a:pt x="2128777" y="3408922"/>
                  <a:pt x="2134792" y="3354815"/>
                  <a:pt x="2140801" y="3270644"/>
                </a:cubicBezTo>
                <a:cubicBezTo>
                  <a:pt x="2146817" y="3186473"/>
                  <a:pt x="2152826" y="3078253"/>
                  <a:pt x="2146817" y="2909911"/>
                </a:cubicBezTo>
                <a:cubicBezTo>
                  <a:pt x="2146817" y="2867823"/>
                  <a:pt x="2146817" y="2819725"/>
                  <a:pt x="2146817" y="2765618"/>
                </a:cubicBezTo>
                <a:lnTo>
                  <a:pt x="0" y="2765618"/>
                </a:lnTo>
                <a:lnTo>
                  <a:pt x="0" y="893100"/>
                </a:lnTo>
                <a:lnTo>
                  <a:pt x="36528" y="889808"/>
                </a:lnTo>
                <a:lnTo>
                  <a:pt x="2212948" y="889808"/>
                </a:lnTo>
                <a:cubicBezTo>
                  <a:pt x="2212948" y="162327"/>
                  <a:pt x="2273070" y="30058"/>
                  <a:pt x="2297119" y="12025"/>
                </a:cubicBezTo>
                <a:lnTo>
                  <a:pt x="2303134" y="6009"/>
                </a:lnTo>
                <a:cubicBezTo>
                  <a:pt x="2303134" y="6009"/>
                  <a:pt x="2309143" y="0"/>
                  <a:pt x="2315158" y="0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3117BFFA-728A-45B4-855F-C65538E196D8}"/>
              </a:ext>
            </a:extLst>
          </p:cNvPr>
          <p:cNvSpPr/>
          <p:nvPr/>
        </p:nvSpPr>
        <p:spPr bwMode="ltGray">
          <a:xfrm>
            <a:off x="4252974" y="0"/>
            <a:ext cx="7564605" cy="6019800"/>
          </a:xfrm>
          <a:custGeom>
            <a:avLst/>
            <a:gdLst>
              <a:gd name="connsiteX0" fmla="*/ 49779 w 7564605"/>
              <a:gd name="connsiteY0" fmla="*/ 0 h 5823600"/>
              <a:gd name="connsiteX1" fmla="*/ 7531204 w 7564605"/>
              <a:gd name="connsiteY1" fmla="*/ 0 h 5823600"/>
              <a:gd name="connsiteX2" fmla="*/ 7531733 w 7564605"/>
              <a:gd name="connsiteY2" fmla="*/ 14515 h 5823600"/>
              <a:gd name="connsiteX3" fmla="*/ 7528259 w 7564605"/>
              <a:gd name="connsiteY3" fmla="*/ 318689 h 5823600"/>
              <a:gd name="connsiteX4" fmla="*/ 7544134 w 7564605"/>
              <a:gd name="connsiteY4" fmla="*/ 2096896 h 5823600"/>
              <a:gd name="connsiteX5" fmla="*/ 7560025 w 7564605"/>
              <a:gd name="connsiteY5" fmla="*/ 3437194 h 5823600"/>
              <a:gd name="connsiteX6" fmla="*/ 7560025 w 7564605"/>
              <a:gd name="connsiteY6" fmla="*/ 4366108 h 5823600"/>
              <a:gd name="connsiteX7" fmla="*/ 7512369 w 7564605"/>
              <a:gd name="connsiteY7" fmla="*/ 5520609 h 5823600"/>
              <a:gd name="connsiteX8" fmla="*/ 6972367 w 7564605"/>
              <a:gd name="connsiteY8" fmla="*/ 5732932 h 5823600"/>
              <a:gd name="connsiteX9" fmla="*/ 6416491 w 7564605"/>
              <a:gd name="connsiteY9" fmla="*/ 5746210 h 5823600"/>
              <a:gd name="connsiteX10" fmla="*/ 5844725 w 7564605"/>
              <a:gd name="connsiteY10" fmla="*/ 5812554 h 5823600"/>
              <a:gd name="connsiteX11" fmla="*/ 1556476 w 7564605"/>
              <a:gd name="connsiteY11" fmla="*/ 5759473 h 5823600"/>
              <a:gd name="connsiteX12" fmla="*/ 762356 w 7564605"/>
              <a:gd name="connsiteY12" fmla="*/ 5693129 h 5823600"/>
              <a:gd name="connsiteX13" fmla="*/ 127060 w 7564605"/>
              <a:gd name="connsiteY13" fmla="*/ 5401184 h 5823600"/>
              <a:gd name="connsiteX14" fmla="*/ 63530 w 7564605"/>
              <a:gd name="connsiteY14" fmla="*/ 4074164 h 5823600"/>
              <a:gd name="connsiteX15" fmla="*/ 31766 w 7564605"/>
              <a:gd name="connsiteY15" fmla="*/ 2083633 h 5823600"/>
              <a:gd name="connsiteX16" fmla="*/ 0 w 7564605"/>
              <a:gd name="connsiteY16" fmla="*/ 1420123 h 5823600"/>
              <a:gd name="connsiteX17" fmla="*/ 31766 w 7564605"/>
              <a:gd name="connsiteY17" fmla="*/ 385047 h 5823600"/>
              <a:gd name="connsiteX18" fmla="*/ 47640 w 7564605"/>
              <a:gd name="connsiteY18" fmla="*/ 53285 h 5823600"/>
              <a:gd name="connsiteX19" fmla="*/ 49066 w 7564605"/>
              <a:gd name="connsiteY19" fmla="*/ 10986 h 582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7564605" h="5823600">
                <a:moveTo>
                  <a:pt x="49779" y="0"/>
                </a:moveTo>
                <a:lnTo>
                  <a:pt x="7531204" y="0"/>
                </a:lnTo>
                <a:lnTo>
                  <a:pt x="7531733" y="14515"/>
                </a:lnTo>
                <a:cubicBezTo>
                  <a:pt x="7532230" y="112174"/>
                  <a:pt x="7528259" y="215847"/>
                  <a:pt x="7528259" y="318689"/>
                </a:cubicBezTo>
                <a:cubicBezTo>
                  <a:pt x="7512369" y="915855"/>
                  <a:pt x="7575899" y="1499744"/>
                  <a:pt x="7544134" y="2096896"/>
                </a:cubicBezTo>
                <a:cubicBezTo>
                  <a:pt x="7528259" y="2534820"/>
                  <a:pt x="7575899" y="2999270"/>
                  <a:pt x="7560025" y="3437194"/>
                </a:cubicBezTo>
                <a:cubicBezTo>
                  <a:pt x="7544134" y="3742402"/>
                  <a:pt x="7575899" y="4060887"/>
                  <a:pt x="7560025" y="4366108"/>
                </a:cubicBezTo>
                <a:cubicBezTo>
                  <a:pt x="7544134" y="4671316"/>
                  <a:pt x="7575899" y="5122503"/>
                  <a:pt x="7512369" y="5520609"/>
                </a:cubicBezTo>
                <a:cubicBezTo>
                  <a:pt x="7480604" y="5679852"/>
                  <a:pt x="7194721" y="5706392"/>
                  <a:pt x="6972367" y="5732932"/>
                </a:cubicBezTo>
                <a:cubicBezTo>
                  <a:pt x="6845308" y="5746210"/>
                  <a:pt x="6607081" y="5719669"/>
                  <a:pt x="6416491" y="5746210"/>
                </a:cubicBezTo>
                <a:cubicBezTo>
                  <a:pt x="6273541" y="5772750"/>
                  <a:pt x="6003549" y="5812554"/>
                  <a:pt x="5844725" y="5812554"/>
                </a:cubicBezTo>
                <a:cubicBezTo>
                  <a:pt x="4224719" y="5852371"/>
                  <a:pt x="3430600" y="5772750"/>
                  <a:pt x="1556476" y="5759473"/>
                </a:cubicBezTo>
                <a:cubicBezTo>
                  <a:pt x="1381761" y="5759473"/>
                  <a:pt x="1143534" y="5759473"/>
                  <a:pt x="762356" y="5693129"/>
                </a:cubicBezTo>
                <a:cubicBezTo>
                  <a:pt x="412943" y="5640048"/>
                  <a:pt x="238228" y="5693129"/>
                  <a:pt x="127060" y="5401184"/>
                </a:cubicBezTo>
                <a:cubicBezTo>
                  <a:pt x="31766" y="5162321"/>
                  <a:pt x="79404" y="4379372"/>
                  <a:pt x="63530" y="4074164"/>
                </a:cubicBezTo>
                <a:cubicBezTo>
                  <a:pt x="31766" y="3384113"/>
                  <a:pt x="31766" y="2906386"/>
                  <a:pt x="31766" y="2083633"/>
                </a:cubicBezTo>
                <a:lnTo>
                  <a:pt x="0" y="1420123"/>
                </a:lnTo>
                <a:cubicBezTo>
                  <a:pt x="79404" y="1048557"/>
                  <a:pt x="-47655" y="769876"/>
                  <a:pt x="31766" y="385047"/>
                </a:cubicBezTo>
                <a:cubicBezTo>
                  <a:pt x="47640" y="252345"/>
                  <a:pt x="47640" y="265608"/>
                  <a:pt x="47640" y="53285"/>
                </a:cubicBezTo>
                <a:cubicBezTo>
                  <a:pt x="47640" y="43332"/>
                  <a:pt x="48136" y="28818"/>
                  <a:pt x="49066" y="10986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EAB047-7709-4466-A961-418CD41D0E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555130"/>
            <a:ext cx="3111499" cy="921370"/>
          </a:xfrm>
        </p:spPr>
        <p:txBody>
          <a:bodyPr/>
          <a:lstStyle>
            <a:lvl1pPr>
              <a:defRPr sz="6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78109F1-DB54-40AC-9EFE-BD170DCF93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B1475D-EF5B-48A6-8CCB-3BD08F726926}" type="datetimeFigureOut">
              <a:rPr lang="en-US"/>
              <a:pPr/>
              <a:t>6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8632F8-B1D4-42C3-A25F-51F06753F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D40013-3360-45D5-A8EF-FE748E712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65A54F4-DB31-4FC5-B748-3F06867349C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BCEFFE7-67B4-45E7-A42F-DB170DD4AE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30750" y="914400"/>
            <a:ext cx="6705600" cy="45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(change to numbered list on Home tab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0287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0A67651-30FC-482C-8BD7-415FEAC5C2F3}"/>
              </a:ext>
            </a:extLst>
          </p:cNvPr>
          <p:cNvSpPr/>
          <p:nvPr/>
        </p:nvSpPr>
        <p:spPr>
          <a:xfrm>
            <a:off x="0" y="0"/>
            <a:ext cx="12192000" cy="6874379"/>
          </a:xfrm>
          <a:custGeom>
            <a:avLst/>
            <a:gdLst>
              <a:gd name="connsiteX0" fmla="*/ 0 w 12192000"/>
              <a:gd name="connsiteY0" fmla="*/ 0 h 6874379"/>
              <a:gd name="connsiteX1" fmla="*/ 12192000 w 12192000"/>
              <a:gd name="connsiteY1" fmla="*/ 0 h 6874379"/>
              <a:gd name="connsiteX2" fmla="*/ 12192000 w 12192000"/>
              <a:gd name="connsiteY2" fmla="*/ 190329 h 6874379"/>
              <a:gd name="connsiteX3" fmla="*/ 12097817 w 12192000"/>
              <a:gd name="connsiteY3" fmla="*/ 160025 h 6874379"/>
              <a:gd name="connsiteX4" fmla="*/ 11807295 w 12192000"/>
              <a:gd name="connsiteY4" fmla="*/ 132559 h 6874379"/>
              <a:gd name="connsiteX5" fmla="*/ 11803273 w 12192000"/>
              <a:gd name="connsiteY5" fmla="*/ 132651 h 6874379"/>
              <a:gd name="connsiteX6" fmla="*/ 11801114 w 12192000"/>
              <a:gd name="connsiteY6" fmla="*/ 132559 h 6874379"/>
              <a:gd name="connsiteX7" fmla="*/ 9648247 w 12192000"/>
              <a:gd name="connsiteY7" fmla="*/ 283191 h 6874379"/>
              <a:gd name="connsiteX8" fmla="*/ 9289437 w 12192000"/>
              <a:gd name="connsiteY8" fmla="*/ 298139 h 6874379"/>
              <a:gd name="connsiteX9" fmla="*/ 8937897 w 12192000"/>
              <a:gd name="connsiteY9" fmla="*/ 297353 h 6874379"/>
              <a:gd name="connsiteX10" fmla="*/ 7958013 w 12192000"/>
              <a:gd name="connsiteY10" fmla="*/ 284263 h 6874379"/>
              <a:gd name="connsiteX11" fmla="*/ 7948375 w 12192000"/>
              <a:gd name="connsiteY11" fmla="*/ 284273 h 6874379"/>
              <a:gd name="connsiteX12" fmla="*/ 7947582 w 12192000"/>
              <a:gd name="connsiteY12" fmla="*/ 284263 h 6874379"/>
              <a:gd name="connsiteX13" fmla="*/ 5026488 w 12192000"/>
              <a:gd name="connsiteY13" fmla="*/ 324819 h 6874379"/>
              <a:gd name="connsiteX14" fmla="*/ 5003554 w 12192000"/>
              <a:gd name="connsiteY14" fmla="*/ 325295 h 6874379"/>
              <a:gd name="connsiteX15" fmla="*/ 4543566 w 12192000"/>
              <a:gd name="connsiteY15" fmla="*/ 331280 h 6874379"/>
              <a:gd name="connsiteX16" fmla="*/ 1280017 w 12192000"/>
              <a:gd name="connsiteY16" fmla="*/ 176856 h 6874379"/>
              <a:gd name="connsiteX17" fmla="*/ 405208 w 12192000"/>
              <a:gd name="connsiteY17" fmla="*/ 314184 h 6874379"/>
              <a:gd name="connsiteX18" fmla="*/ 282764 w 12192000"/>
              <a:gd name="connsiteY18" fmla="*/ 671391 h 6874379"/>
              <a:gd name="connsiteX19" fmla="*/ 248165 w 12192000"/>
              <a:gd name="connsiteY19" fmla="*/ 1871382 h 6874379"/>
              <a:gd name="connsiteX20" fmla="*/ 256012 w 12192000"/>
              <a:gd name="connsiteY20" fmla="*/ 2213101 h 6874379"/>
              <a:gd name="connsiteX21" fmla="*/ 252706 w 12192000"/>
              <a:gd name="connsiteY21" fmla="*/ 2453832 h 6874379"/>
              <a:gd name="connsiteX22" fmla="*/ 244400 w 12192000"/>
              <a:gd name="connsiteY22" fmla="*/ 3071384 h 6874379"/>
              <a:gd name="connsiteX23" fmla="*/ 177982 w 12192000"/>
              <a:gd name="connsiteY23" fmla="*/ 3854148 h 6874379"/>
              <a:gd name="connsiteX24" fmla="*/ 144773 w 12192000"/>
              <a:gd name="connsiteY24" fmla="*/ 6202469 h 6874379"/>
              <a:gd name="connsiteX25" fmla="*/ 676116 w 12192000"/>
              <a:gd name="connsiteY25" fmla="*/ 6710576 h 6874379"/>
              <a:gd name="connsiteX26" fmla="*/ 739810 w 12192000"/>
              <a:gd name="connsiteY26" fmla="*/ 6711571 h 6874379"/>
              <a:gd name="connsiteX27" fmla="*/ 742537 w 12192000"/>
              <a:gd name="connsiteY27" fmla="*/ 6711326 h 6874379"/>
              <a:gd name="connsiteX28" fmla="*/ 758188 w 12192000"/>
              <a:gd name="connsiteY28" fmla="*/ 6711571 h 6874379"/>
              <a:gd name="connsiteX29" fmla="*/ 1161699 w 12192000"/>
              <a:gd name="connsiteY29" fmla="*/ 6645433 h 6874379"/>
              <a:gd name="connsiteX30" fmla="*/ 1223129 w 12192000"/>
              <a:gd name="connsiteY30" fmla="*/ 6642040 h 6874379"/>
              <a:gd name="connsiteX31" fmla="*/ 1249749 w 12192000"/>
              <a:gd name="connsiteY31" fmla="*/ 6642246 h 6874379"/>
              <a:gd name="connsiteX32" fmla="*/ 2021087 w 12192000"/>
              <a:gd name="connsiteY32" fmla="*/ 6683110 h 6874379"/>
              <a:gd name="connsiteX33" fmla="*/ 7012994 w 12192000"/>
              <a:gd name="connsiteY33" fmla="*/ 6716069 h 6874379"/>
              <a:gd name="connsiteX34" fmla="*/ 7016698 w 12192000"/>
              <a:gd name="connsiteY34" fmla="*/ 6716018 h 6874379"/>
              <a:gd name="connsiteX35" fmla="*/ 7024455 w 12192000"/>
              <a:gd name="connsiteY35" fmla="*/ 6716069 h 6874379"/>
              <a:gd name="connsiteX36" fmla="*/ 7963164 w 12192000"/>
              <a:gd name="connsiteY36" fmla="*/ 6700185 h 6874379"/>
              <a:gd name="connsiteX37" fmla="*/ 8424990 w 12192000"/>
              <a:gd name="connsiteY37" fmla="*/ 6696610 h 6874379"/>
              <a:gd name="connsiteX38" fmla="*/ 8891818 w 12192000"/>
              <a:gd name="connsiteY38" fmla="*/ 6707289 h 6874379"/>
              <a:gd name="connsiteX39" fmla="*/ 11120508 w 12192000"/>
              <a:gd name="connsiteY39" fmla="*/ 6749147 h 6874379"/>
              <a:gd name="connsiteX40" fmla="*/ 11123244 w 12192000"/>
              <a:gd name="connsiteY40" fmla="*/ 6749138 h 6874379"/>
              <a:gd name="connsiteX41" fmla="*/ 11127440 w 12192000"/>
              <a:gd name="connsiteY41" fmla="*/ 6749147 h 6874379"/>
              <a:gd name="connsiteX42" fmla="*/ 11659021 w 12192000"/>
              <a:gd name="connsiteY42" fmla="*/ 6746289 h 6874379"/>
              <a:gd name="connsiteX43" fmla="*/ 12146815 w 12192000"/>
              <a:gd name="connsiteY43" fmla="*/ 6741361 h 6874379"/>
              <a:gd name="connsiteX44" fmla="*/ 12192000 w 12192000"/>
              <a:gd name="connsiteY44" fmla="*/ 6734754 h 6874379"/>
              <a:gd name="connsiteX45" fmla="*/ 12192000 w 12192000"/>
              <a:gd name="connsiteY45" fmla="*/ 6874379 h 6874379"/>
              <a:gd name="connsiteX46" fmla="*/ 0 w 12192000"/>
              <a:gd name="connsiteY46" fmla="*/ 6874379 h 68743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12192000" h="6874379">
                <a:moveTo>
                  <a:pt x="0" y="0"/>
                </a:moveTo>
                <a:lnTo>
                  <a:pt x="12192000" y="0"/>
                </a:lnTo>
                <a:lnTo>
                  <a:pt x="12192000" y="190329"/>
                </a:lnTo>
                <a:lnTo>
                  <a:pt x="12097817" y="160025"/>
                </a:lnTo>
                <a:cubicBezTo>
                  <a:pt x="12015663" y="141142"/>
                  <a:pt x="11919254" y="132559"/>
                  <a:pt x="11807295" y="132559"/>
                </a:cubicBezTo>
                <a:lnTo>
                  <a:pt x="11803273" y="132651"/>
                </a:lnTo>
                <a:lnTo>
                  <a:pt x="11801114" y="132559"/>
                </a:lnTo>
                <a:cubicBezTo>
                  <a:pt x="11078819" y="132559"/>
                  <a:pt x="10365869" y="240705"/>
                  <a:pt x="9648247" y="283191"/>
                </a:cubicBezTo>
                <a:lnTo>
                  <a:pt x="9289437" y="298139"/>
                </a:lnTo>
                <a:lnTo>
                  <a:pt x="8937897" y="297353"/>
                </a:lnTo>
                <a:cubicBezTo>
                  <a:pt x="8610318" y="290487"/>
                  <a:pt x="8283777" y="286195"/>
                  <a:pt x="7958013" y="284263"/>
                </a:cubicBezTo>
                <a:lnTo>
                  <a:pt x="7948375" y="284273"/>
                </a:lnTo>
                <a:lnTo>
                  <a:pt x="7947582" y="284263"/>
                </a:lnTo>
                <a:cubicBezTo>
                  <a:pt x="6969212" y="278468"/>
                  <a:pt x="5997850" y="293915"/>
                  <a:pt x="5026488" y="324819"/>
                </a:cubicBezTo>
                <a:lnTo>
                  <a:pt x="5003554" y="325295"/>
                </a:lnTo>
                <a:lnTo>
                  <a:pt x="4543566" y="331280"/>
                </a:lnTo>
                <a:cubicBezTo>
                  <a:pt x="3349959" y="326969"/>
                  <a:pt x="1955605" y="198024"/>
                  <a:pt x="1280017" y="176856"/>
                </a:cubicBezTo>
                <a:cubicBezTo>
                  <a:pt x="615478" y="156034"/>
                  <a:pt x="571070" y="163116"/>
                  <a:pt x="405208" y="314184"/>
                </a:cubicBezTo>
                <a:cubicBezTo>
                  <a:pt x="322286" y="396581"/>
                  <a:pt x="299341" y="575254"/>
                  <a:pt x="282764" y="671391"/>
                </a:cubicBezTo>
                <a:cubicBezTo>
                  <a:pt x="241294" y="1090239"/>
                  <a:pt x="240583" y="1480809"/>
                  <a:pt x="248165" y="1871382"/>
                </a:cubicBezTo>
                <a:lnTo>
                  <a:pt x="256012" y="2213101"/>
                </a:lnTo>
                <a:lnTo>
                  <a:pt x="252706" y="2453832"/>
                </a:lnTo>
                <a:cubicBezTo>
                  <a:pt x="250630" y="2656821"/>
                  <a:pt x="248553" y="2861957"/>
                  <a:pt x="244400" y="3071384"/>
                </a:cubicBezTo>
                <a:cubicBezTo>
                  <a:pt x="244400" y="3277369"/>
                  <a:pt x="211191" y="3552026"/>
                  <a:pt x="177982" y="3854148"/>
                </a:cubicBezTo>
                <a:cubicBezTo>
                  <a:pt x="94968" y="4623186"/>
                  <a:pt x="177982" y="5419690"/>
                  <a:pt x="144773" y="6202469"/>
                </a:cubicBezTo>
                <a:cubicBezTo>
                  <a:pt x="128177" y="6477125"/>
                  <a:pt x="227804" y="6683110"/>
                  <a:pt x="676116" y="6710576"/>
                </a:cubicBezTo>
                <a:cubicBezTo>
                  <a:pt x="696872" y="6712294"/>
                  <a:pt x="718146" y="6712509"/>
                  <a:pt x="739810" y="6711571"/>
                </a:cubicBezTo>
                <a:lnTo>
                  <a:pt x="742537" y="6711326"/>
                </a:lnTo>
                <a:lnTo>
                  <a:pt x="758188" y="6711571"/>
                </a:lnTo>
                <a:cubicBezTo>
                  <a:pt x="888027" y="6705943"/>
                  <a:pt x="1031860" y="6658790"/>
                  <a:pt x="1161699" y="6645433"/>
                </a:cubicBezTo>
                <a:lnTo>
                  <a:pt x="1223129" y="6642040"/>
                </a:lnTo>
                <a:lnTo>
                  <a:pt x="1249749" y="6642246"/>
                </a:lnTo>
                <a:cubicBezTo>
                  <a:pt x="1426096" y="6645459"/>
                  <a:pt x="1113971" y="6671527"/>
                  <a:pt x="2021087" y="6683110"/>
                </a:cubicBezTo>
                <a:lnTo>
                  <a:pt x="7012994" y="6716069"/>
                </a:lnTo>
                <a:lnTo>
                  <a:pt x="7016698" y="6716018"/>
                </a:lnTo>
                <a:lnTo>
                  <a:pt x="7024455" y="6716069"/>
                </a:lnTo>
                <a:cubicBezTo>
                  <a:pt x="7337250" y="6714606"/>
                  <a:pt x="7650263" y="6705480"/>
                  <a:pt x="7963164" y="6700185"/>
                </a:cubicBezTo>
                <a:lnTo>
                  <a:pt x="8424990" y="6696610"/>
                </a:lnTo>
                <a:lnTo>
                  <a:pt x="8891818" y="6707289"/>
                </a:lnTo>
                <a:cubicBezTo>
                  <a:pt x="9645805" y="6740724"/>
                  <a:pt x="10498919" y="6749520"/>
                  <a:pt x="11120508" y="6749147"/>
                </a:cubicBezTo>
                <a:lnTo>
                  <a:pt x="11123244" y="6749138"/>
                </a:lnTo>
                <a:lnTo>
                  <a:pt x="11127440" y="6749147"/>
                </a:lnTo>
                <a:cubicBezTo>
                  <a:pt x="11334408" y="6749022"/>
                  <a:pt x="11515679" y="6747879"/>
                  <a:pt x="11659021" y="6746289"/>
                </a:cubicBezTo>
                <a:cubicBezTo>
                  <a:pt x="11945705" y="6743110"/>
                  <a:pt x="12070693" y="6747846"/>
                  <a:pt x="12146815" y="6741361"/>
                </a:cubicBezTo>
                <a:lnTo>
                  <a:pt x="12192000" y="6734754"/>
                </a:lnTo>
                <a:lnTo>
                  <a:pt x="12192000" y="6874379"/>
                </a:lnTo>
                <a:lnTo>
                  <a:pt x="0" y="687437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8FEA80-7B9C-47B6-AB26-C483191299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501" y="457200"/>
            <a:ext cx="11182499" cy="4853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412722-E6BD-447B-8052-740133E9D4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1475D-EF5B-48A6-8CCB-3BD08F726926}" type="datetimeFigureOut">
              <a:rPr lang="en-US"/>
              <a:pPr/>
              <a:t>6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511FD4-F314-401C-A0EF-CB4185315A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40098E-180C-438C-85EA-F6F1FB1B5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609F077-D81F-4729-9AC7-9C5410D4590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8651" y="1664702"/>
            <a:ext cx="11182350" cy="43550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53">
            <a:extLst>
              <a:ext uri="{FF2B5EF4-FFF2-40B4-BE49-F238E27FC236}">
                <a16:creationId xmlns:a16="http://schemas.microsoft.com/office/drawing/2014/main" id="{DCA8F8B7-60BD-4B53-A658-C77FA4FA67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8500" y="1086829"/>
            <a:ext cx="11182499" cy="29051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95823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5318214A-2D20-42DC-9E1E-5FE8646C4D6C}"/>
              </a:ext>
            </a:extLst>
          </p:cNvPr>
          <p:cNvSpPr/>
          <p:nvPr/>
        </p:nvSpPr>
        <p:spPr bwMode="ltGray">
          <a:xfrm>
            <a:off x="0" y="0"/>
            <a:ext cx="12192000" cy="6874379"/>
          </a:xfrm>
          <a:custGeom>
            <a:avLst/>
            <a:gdLst>
              <a:gd name="connsiteX0" fmla="*/ 0 w 12192000"/>
              <a:gd name="connsiteY0" fmla="*/ 0 h 6874379"/>
              <a:gd name="connsiteX1" fmla="*/ 12192000 w 12192000"/>
              <a:gd name="connsiteY1" fmla="*/ 0 h 6874379"/>
              <a:gd name="connsiteX2" fmla="*/ 12192000 w 12192000"/>
              <a:gd name="connsiteY2" fmla="*/ 341392 h 6874379"/>
              <a:gd name="connsiteX3" fmla="*/ 12134257 w 12192000"/>
              <a:gd name="connsiteY3" fmla="*/ 320479 h 6874379"/>
              <a:gd name="connsiteX4" fmla="*/ 11462617 w 12192000"/>
              <a:gd name="connsiteY4" fmla="*/ 234532 h 6874379"/>
              <a:gd name="connsiteX5" fmla="*/ 10560397 w 12192000"/>
              <a:gd name="connsiteY5" fmla="*/ 220643 h 6874379"/>
              <a:gd name="connsiteX6" fmla="*/ 9632386 w 12192000"/>
              <a:gd name="connsiteY6" fmla="*/ 151243 h 6874379"/>
              <a:gd name="connsiteX7" fmla="*/ 8274354 w 12192000"/>
              <a:gd name="connsiteY7" fmla="*/ 139710 h 6874379"/>
              <a:gd name="connsiteX8" fmla="*/ 2672303 w 12192000"/>
              <a:gd name="connsiteY8" fmla="*/ 206769 h 6874379"/>
              <a:gd name="connsiteX9" fmla="*/ 1383398 w 12192000"/>
              <a:gd name="connsiteY9" fmla="*/ 276170 h 6874379"/>
              <a:gd name="connsiteX10" fmla="*/ 352275 w 12192000"/>
              <a:gd name="connsiteY10" fmla="*/ 581565 h 6874379"/>
              <a:gd name="connsiteX11" fmla="*/ 249163 w 12192000"/>
              <a:gd name="connsiteY11" fmla="*/ 1969723 h 6874379"/>
              <a:gd name="connsiteX12" fmla="*/ 197606 w 12192000"/>
              <a:gd name="connsiteY12" fmla="*/ 4051960 h 6874379"/>
              <a:gd name="connsiteX13" fmla="*/ 146050 w 12192000"/>
              <a:gd name="connsiteY13" fmla="*/ 4746040 h 6874379"/>
              <a:gd name="connsiteX14" fmla="*/ 197606 w 12192000"/>
              <a:gd name="connsiteY14" fmla="*/ 5828803 h 6874379"/>
              <a:gd name="connsiteX15" fmla="*/ 223371 w 12192000"/>
              <a:gd name="connsiteY15" fmla="*/ 6175850 h 6874379"/>
              <a:gd name="connsiteX16" fmla="*/ 452464 w 12192000"/>
              <a:gd name="connsiteY16" fmla="*/ 6511675 h 6874379"/>
              <a:gd name="connsiteX17" fmla="*/ 5891167 w 12192000"/>
              <a:gd name="connsiteY17" fmla="*/ 6680936 h 6874379"/>
              <a:gd name="connsiteX18" fmla="*/ 9142589 w 12192000"/>
              <a:gd name="connsiteY18" fmla="*/ 6731113 h 6874379"/>
              <a:gd name="connsiteX19" fmla="*/ 12192000 w 12192000"/>
              <a:gd name="connsiteY19" fmla="*/ 6743126 h 6874379"/>
              <a:gd name="connsiteX20" fmla="*/ 12192000 w 12192000"/>
              <a:gd name="connsiteY20" fmla="*/ 6874379 h 6874379"/>
              <a:gd name="connsiteX21" fmla="*/ 0 w 12192000"/>
              <a:gd name="connsiteY21" fmla="*/ 6874379 h 68743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2192000" h="6874379">
                <a:moveTo>
                  <a:pt x="0" y="0"/>
                </a:moveTo>
                <a:lnTo>
                  <a:pt x="12192000" y="0"/>
                </a:lnTo>
                <a:lnTo>
                  <a:pt x="12192000" y="341392"/>
                </a:lnTo>
                <a:lnTo>
                  <a:pt x="12134257" y="320479"/>
                </a:lnTo>
                <a:cubicBezTo>
                  <a:pt x="11954012" y="269236"/>
                  <a:pt x="11688175" y="251884"/>
                  <a:pt x="11462617" y="234532"/>
                </a:cubicBezTo>
                <a:cubicBezTo>
                  <a:pt x="11256392" y="220643"/>
                  <a:pt x="10869734" y="248407"/>
                  <a:pt x="10560397" y="220643"/>
                </a:cubicBezTo>
                <a:cubicBezTo>
                  <a:pt x="10328381" y="192880"/>
                  <a:pt x="9890167" y="151243"/>
                  <a:pt x="9632386" y="151243"/>
                </a:cubicBezTo>
                <a:cubicBezTo>
                  <a:pt x="9139380" y="143433"/>
                  <a:pt x="8693500" y="140016"/>
                  <a:pt x="8274354" y="139710"/>
                </a:cubicBezTo>
                <a:cubicBezTo>
                  <a:pt x="6458057" y="138384"/>
                  <a:pt x="5143777" y="195484"/>
                  <a:pt x="2672303" y="206769"/>
                </a:cubicBezTo>
                <a:cubicBezTo>
                  <a:pt x="2388730" y="206769"/>
                  <a:pt x="2002073" y="206769"/>
                  <a:pt x="1383398" y="276170"/>
                </a:cubicBezTo>
                <a:cubicBezTo>
                  <a:pt x="816280" y="331696"/>
                  <a:pt x="532708" y="276170"/>
                  <a:pt x="352275" y="581565"/>
                </a:cubicBezTo>
                <a:cubicBezTo>
                  <a:pt x="197606" y="831433"/>
                  <a:pt x="274927" y="1650454"/>
                  <a:pt x="249163" y="1969723"/>
                </a:cubicBezTo>
                <a:cubicBezTo>
                  <a:pt x="197606" y="2691565"/>
                  <a:pt x="197606" y="3191302"/>
                  <a:pt x="197606" y="4051960"/>
                </a:cubicBezTo>
                <a:lnTo>
                  <a:pt x="146050" y="4746040"/>
                </a:lnTo>
                <a:cubicBezTo>
                  <a:pt x="274927" y="5134724"/>
                  <a:pt x="68702" y="5426244"/>
                  <a:pt x="197606" y="5828803"/>
                </a:cubicBezTo>
                <a:cubicBezTo>
                  <a:pt x="223371" y="5967619"/>
                  <a:pt x="180908" y="6062043"/>
                  <a:pt x="223371" y="6175850"/>
                </a:cubicBezTo>
                <a:cubicBezTo>
                  <a:pt x="265834" y="6289657"/>
                  <a:pt x="263750" y="6295253"/>
                  <a:pt x="452464" y="6511675"/>
                </a:cubicBezTo>
                <a:cubicBezTo>
                  <a:pt x="1044048" y="6836264"/>
                  <a:pt x="4442832" y="6644370"/>
                  <a:pt x="5891167" y="6680936"/>
                </a:cubicBezTo>
                <a:cubicBezTo>
                  <a:pt x="7339503" y="6717501"/>
                  <a:pt x="8163022" y="6744988"/>
                  <a:pt x="9142589" y="6731113"/>
                </a:cubicBezTo>
                <a:lnTo>
                  <a:pt x="12192000" y="6743126"/>
                </a:lnTo>
                <a:lnTo>
                  <a:pt x="12192000" y="6874379"/>
                </a:lnTo>
                <a:lnTo>
                  <a:pt x="0" y="687437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1DE026-1211-4BB1-B4B5-C2260592AD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501" y="457200"/>
            <a:ext cx="11182499" cy="4853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17AA9E-D108-4CE2-89FE-7BF9BE02BB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1475D-EF5B-48A6-8CCB-3BD08F726926}" type="datetimeFigureOut">
              <a:rPr lang="en-US"/>
              <a:pPr/>
              <a:t>6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D5D3E2-25F9-4BB3-889E-54F2FFA42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FC1D393-2630-4AA7-9044-26C6B46637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9" name="Text Placeholder 53">
            <a:extLst>
              <a:ext uri="{FF2B5EF4-FFF2-40B4-BE49-F238E27FC236}">
                <a16:creationId xmlns:a16="http://schemas.microsoft.com/office/drawing/2014/main" id="{9D2C6C6E-901A-4B8F-B000-D207C47F07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8500" y="1086829"/>
            <a:ext cx="11182499" cy="29051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A18E98C8-CBF7-4423-80CA-BBA23E40058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8649" y="1664702"/>
            <a:ext cx="5486400" cy="43550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77318A40-5974-4778-8EA2-5CB8991B7CB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24599" y="1664702"/>
            <a:ext cx="5486400" cy="43550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17641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2EC308-A595-4731-81D6-E996B8DA199F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204747-4051-4C7A-B674-A1E64ACD02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1475D-EF5B-48A6-8CCB-3BD08F726926}" type="datetimeFigureOut">
              <a:rPr lang="en-US"/>
              <a:t>6/1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DB6A6F-2612-48E0-B685-EE5FD0A1A4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B2BD39-0025-4E14-A207-974EC0FD86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A593348-F93D-4FEF-A9B9-1AEA4A21A6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30454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7533635-B1C4-457F-B4C4-D0F7EFBF08C3}"/>
              </a:ext>
            </a:extLst>
          </p:cNvPr>
          <p:cNvSpPr/>
          <p:nvPr/>
        </p:nvSpPr>
        <p:spPr bwMode="ltGray">
          <a:xfrm>
            <a:off x="10462371" y="5974804"/>
            <a:ext cx="1585477" cy="883197"/>
          </a:xfrm>
          <a:custGeom>
            <a:avLst/>
            <a:gdLst>
              <a:gd name="connsiteX0" fmla="*/ 838774 w 1585477"/>
              <a:gd name="connsiteY0" fmla="*/ 14 h 883197"/>
              <a:gd name="connsiteX1" fmla="*/ 996107 w 1585477"/>
              <a:gd name="connsiteY1" fmla="*/ 18377 h 883197"/>
              <a:gd name="connsiteX2" fmla="*/ 1585477 w 1585477"/>
              <a:gd name="connsiteY2" fmla="*/ 746145 h 883197"/>
              <a:gd name="connsiteX3" fmla="*/ 1585202 w 1585477"/>
              <a:gd name="connsiteY3" fmla="*/ 883197 h 883197"/>
              <a:gd name="connsiteX4" fmla="*/ 695 w 1585477"/>
              <a:gd name="connsiteY4" fmla="*/ 883197 h 883197"/>
              <a:gd name="connsiteX5" fmla="*/ 294 w 1585477"/>
              <a:gd name="connsiteY5" fmla="*/ 879328 h 883197"/>
              <a:gd name="connsiteX6" fmla="*/ 20167 w 1585477"/>
              <a:gd name="connsiteY6" fmla="*/ 648487 h 883197"/>
              <a:gd name="connsiteX7" fmla="*/ 838774 w 1585477"/>
              <a:gd name="connsiteY7" fmla="*/ 14 h 883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85477" h="883197">
                <a:moveTo>
                  <a:pt x="838774" y="14"/>
                </a:moveTo>
                <a:cubicBezTo>
                  <a:pt x="891699" y="335"/>
                  <a:pt x="944452" y="6288"/>
                  <a:pt x="996107" y="18377"/>
                </a:cubicBezTo>
                <a:cubicBezTo>
                  <a:pt x="1344865" y="100437"/>
                  <a:pt x="1558993" y="409128"/>
                  <a:pt x="1585477" y="746145"/>
                </a:cubicBezTo>
                <a:lnTo>
                  <a:pt x="1585202" y="883197"/>
                </a:lnTo>
                <a:lnTo>
                  <a:pt x="695" y="883197"/>
                </a:lnTo>
                <a:lnTo>
                  <a:pt x="294" y="879328"/>
                </a:lnTo>
                <a:cubicBezTo>
                  <a:pt x="-1813" y="797038"/>
                  <a:pt x="7712" y="718092"/>
                  <a:pt x="20167" y="648487"/>
                </a:cubicBezTo>
                <a:cubicBezTo>
                  <a:pt x="89408" y="271519"/>
                  <a:pt x="468297" y="-2229"/>
                  <a:pt x="838774" y="14"/>
                </a:cubicBezTo>
                <a:close/>
              </a:path>
            </a:pathLst>
          </a:custGeom>
          <a:solidFill>
            <a:srgbClr val="4F2170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B813CEC-1B8A-4FB0-9276-0170AED9E3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336" y="152400"/>
            <a:ext cx="11430001" cy="485335"/>
          </a:xfrm>
        </p:spPr>
        <p:txBody>
          <a:bodyPr/>
          <a:lstStyle>
            <a:lvl1pPr>
              <a:defRPr lang="en-US" sz="3200" kern="1200" dirty="0">
                <a:solidFill>
                  <a:srgbClr val="4F2170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994A90-D491-44FB-9802-5BF47DE84F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1475D-EF5B-48A6-8CCB-3BD08F726926}" type="datetimeFigureOut">
              <a:rPr lang="en-US"/>
              <a:pPr/>
              <a:t>6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7A821A-79DC-41C0-A300-2B368D9926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49FD507-7645-49CA-AA88-72717BAD31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Text Placeholder 53">
            <a:extLst>
              <a:ext uri="{FF2B5EF4-FFF2-40B4-BE49-F238E27FC236}">
                <a16:creationId xmlns:a16="http://schemas.microsoft.com/office/drawing/2014/main" id="{B420C7EB-E753-4F7B-AEA6-BF83E3F371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9336" y="692696"/>
            <a:ext cx="11429998" cy="252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lang="en-US" sz="1800" kern="1200" dirty="0">
                <a:solidFill>
                  <a:srgbClr val="4F2170"/>
                </a:solidFill>
                <a:latin typeface="+mj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5A0AFF1-9E54-421B-AC34-EAFAF90112DD}"/>
              </a:ext>
            </a:extLst>
          </p:cNvPr>
          <p:cNvGrpSpPr>
            <a:grpSpLocks noChangeAspect="1"/>
          </p:cNvGrpSpPr>
          <p:nvPr/>
        </p:nvGrpSpPr>
        <p:grpSpPr>
          <a:xfrm>
            <a:off x="10676779" y="6205751"/>
            <a:ext cx="1143000" cy="440144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BFDC3F4-CA3C-4FC2-92DD-3CADF4989447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37DBEEE-CF7F-4D1F-849D-928BA82EC93B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B2F70EF-E943-4F09-9AF2-6BD9CAD5CB3A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7C3E69A-2B35-4A55-B991-C0C039AFB0CE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1AF4A2B-A30E-4897-8EDC-C99DE54C2936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2DCAE65-6D6D-48D1-B28A-A058E3BC709E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95AFC10-7312-4BF8-A557-DA8678F962DA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2F36A6C7-D0EE-46D0-A334-73B13AC9039B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A99400B-701C-434B-A9DF-407DAC516AB5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2D1B86A-33BB-46AB-8000-A26581AE547C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6F0D372-8C1C-4BBA-8C19-5C5D50CB40D3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EF4B029-DDF1-4096-896A-C4F8417BFF1E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3742297-9C6A-4599-8768-0BDB13B1FCEF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0253335F-845B-4DB3-A9A0-46D3B34CD5DB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599992C4-BDD7-4BA0-95D9-C32B47D580A5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BA1C7DC-6309-4E4F-B5A5-1E32C5ABFC1A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F248CF09-AD3B-4C85-B535-3B9F24457F3F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E974E943-15A7-4D05-B2E8-5041FD49AFD8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FAEB3-1B3E-4C78-9313-BD977A48C24D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013A6C2-7D68-4911-9BB2-76B931A0840C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3A0FC2E-1696-4E5D-8740-0173FEC0C940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A6C3BEF-B959-4A63-9972-3910916B1FB5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95A684EE-FC6F-42C2-A395-8D903D7DA553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FFA0438A-6980-45CF-B8F0-FB53943DAB08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FC20C9B-4BB9-46A9-9696-DAAC441E835C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19D53DE-A4DA-4AE7-BA92-608B7F6E88D3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B625ED8A-D3D4-4154-B0B3-EF43EBC3C6D3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9B1C02FF-90CC-4831-BAE5-A86D10791FC1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F82A0DB8-0ECB-4944-9468-4B85E60D809E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DA4A0440-EB6E-4064-A01C-1781BC03A876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49007CFA-4CB6-4475-8DC1-AE2D8D316015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862B4178-3CD4-4F75-9B25-C23D707C377A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558B1006-CC1F-40DD-BD7B-99C832704287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E3A64DEA-4098-4ADC-9CD1-9687FE43DC93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A832BAE0-D017-4A44-B1FD-B27B15799420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5C4E59D-A8AD-4910-AF39-8DEEF44A00F1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A81B5D9D-89FB-4D2F-A78D-73AF9AEC196D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DBFAFEDA-92A7-430B-864D-95B664E05370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74C54477-D660-4214-9D6F-AF9A7F0C3099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7AB18A07-F054-4F36-97CA-4DBDC6B271F5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FD1E386E-E3EA-4515-B634-C0D94651C931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A4566A92-B6AE-4D30-A8A5-6CAEA783F9AC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451070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6CF7A3-C01B-4858-95E5-B008688EC0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C0B5B2-035E-4875-9E0B-65D7693B97EB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001" y="914400"/>
            <a:ext cx="5610221" cy="5105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1C9F57-0475-48B8-B2C4-3C1B844EB79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0774" y="914401"/>
            <a:ext cx="5610221" cy="5105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8D6859-D53D-4387-B548-092AE96646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FEB38-5A4E-45E5-A640-26D00BC1F3AB}" type="datetimeFigureOut">
              <a:rPr lang="en-US"/>
              <a:t>6/12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800914-2B16-461D-99E1-47F2640247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A110C2F-EFB2-4168-86BE-C3ABA04BA6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F95A1E-4E3E-4AAD-A517-7DAD9580D6B2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11178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081126-3DF6-4AE2-A8AE-6034E9AA39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E021F4-C37C-4B7E-96F0-1DCC62967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1475D-EF5B-48A6-8CCB-3BD08F726926}" type="datetimeFigureOut">
              <a:rPr lang="en-US"/>
              <a:pPr/>
              <a:t>6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343FD06-8A80-436E-AAD0-0B4CC79FEF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54BFCC-9FE5-4526-91E6-920CEB6231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5AA6A50-CF51-470A-8339-2A98B229115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81000" y="914400"/>
            <a:ext cx="3733800" cy="5105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EC50042C-8E0C-40C9-A488-3584EFC873E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914400"/>
            <a:ext cx="3733800" cy="5105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E85AC529-F215-45F0-A438-817CEBA3DFF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077200" y="914400"/>
            <a:ext cx="3733800" cy="5105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72200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D82B1C-9D1C-470A-8DAC-872C6F3CE1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815023-C126-4128-BC8F-1BB4CB113E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FEB38-5A4E-45E5-A640-26D00BC1F3AB}" type="datetimeFigureOut">
              <a:rPr lang="en-US"/>
              <a:t>6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FFE3BA-31F8-4FB8-B78F-6C12DFB24A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CDE704-6759-4C07-BC57-03EACFFCB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F95A1E-4E3E-4AAD-A517-7DAD9580D6B2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85808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182308-D8FD-4D2D-A4A4-0AB7B42613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5C24ADA-2B35-4506-BCFE-28F2ED617C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1475D-EF5B-48A6-8CCB-3BD08F726926}" type="datetimeFigureOut">
              <a:rPr lang="en-US"/>
              <a:pPr/>
              <a:t>6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EABF83-04BE-4745-A7CD-9BF2974561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FB1B30-07A6-4897-BFAA-775293B4CC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Text Placeholder 53">
            <a:extLst>
              <a:ext uri="{FF2B5EF4-FFF2-40B4-BE49-F238E27FC236}">
                <a16:creationId xmlns:a16="http://schemas.microsoft.com/office/drawing/2014/main" id="{AC1DD188-8160-4400-A56B-985CF10D49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731530"/>
            <a:ext cx="11429998" cy="36573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8160663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Full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Picture Placeholder 56">
            <a:extLst>
              <a:ext uri="{FF2B5EF4-FFF2-40B4-BE49-F238E27FC236}">
                <a16:creationId xmlns:a16="http://schemas.microsoft.com/office/drawing/2014/main" id="{2410F133-604A-4AC7-8A06-35B16808E8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459602" y="0"/>
            <a:ext cx="8732399" cy="6858000"/>
          </a:xfrm>
          <a:custGeom>
            <a:avLst/>
            <a:gdLst>
              <a:gd name="connsiteX0" fmla="*/ 343919 w 8732399"/>
              <a:gd name="connsiteY0" fmla="*/ 0 h 6858000"/>
              <a:gd name="connsiteX1" fmla="*/ 8732399 w 8732399"/>
              <a:gd name="connsiteY1" fmla="*/ 0 h 6858000"/>
              <a:gd name="connsiteX2" fmla="*/ 8732399 w 8732399"/>
              <a:gd name="connsiteY2" fmla="*/ 6858000 h 6858000"/>
              <a:gd name="connsiteX3" fmla="*/ 0 w 8732399"/>
              <a:gd name="connsiteY3" fmla="*/ 6858000 h 6858000"/>
              <a:gd name="connsiteX4" fmla="*/ 177693 w 8732399"/>
              <a:gd name="connsiteY4" fmla="*/ 6768713 h 6858000"/>
              <a:gd name="connsiteX5" fmla="*/ 2063325 w 8732399"/>
              <a:gd name="connsiteY5" fmla="*/ 3899618 h 6858000"/>
              <a:gd name="connsiteX6" fmla="*/ 2077959 w 8732399"/>
              <a:gd name="connsiteY6" fmla="*/ 3618494 h 6858000"/>
              <a:gd name="connsiteX7" fmla="*/ 2077954 w 8732399"/>
              <a:gd name="connsiteY7" fmla="*/ 3617951 h 6858000"/>
              <a:gd name="connsiteX8" fmla="*/ 2077959 w 8732399"/>
              <a:gd name="connsiteY8" fmla="*/ 3617865 h 6858000"/>
              <a:gd name="connsiteX9" fmla="*/ 2076397 w 8732399"/>
              <a:gd name="connsiteY9" fmla="*/ 3429041 h 6858000"/>
              <a:gd name="connsiteX10" fmla="*/ 2075650 w 8732399"/>
              <a:gd name="connsiteY10" fmla="*/ 3338309 h 6858000"/>
              <a:gd name="connsiteX11" fmla="*/ 404439 w 8732399"/>
              <a:gd name="connsiteY11" fmla="*/ 3993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732399" h="6858000">
                <a:moveTo>
                  <a:pt x="343919" y="0"/>
                </a:moveTo>
                <a:lnTo>
                  <a:pt x="8732399" y="0"/>
                </a:lnTo>
                <a:lnTo>
                  <a:pt x="8732399" y="6858000"/>
                </a:lnTo>
                <a:lnTo>
                  <a:pt x="0" y="6858000"/>
                </a:lnTo>
                <a:lnTo>
                  <a:pt x="177693" y="6768713"/>
                </a:lnTo>
                <a:cubicBezTo>
                  <a:pt x="1141742" y="6254472"/>
                  <a:pt x="1951349" y="5360222"/>
                  <a:pt x="2063325" y="3899618"/>
                </a:cubicBezTo>
                <a:cubicBezTo>
                  <a:pt x="2071055" y="3805858"/>
                  <a:pt x="2075919" y="3712098"/>
                  <a:pt x="2077959" y="3618494"/>
                </a:cubicBezTo>
                <a:lnTo>
                  <a:pt x="2077954" y="3617951"/>
                </a:lnTo>
                <a:lnTo>
                  <a:pt x="2077959" y="3617865"/>
                </a:lnTo>
                <a:lnTo>
                  <a:pt x="2076397" y="3429041"/>
                </a:lnTo>
                <a:lnTo>
                  <a:pt x="2075650" y="3338309"/>
                </a:lnTo>
                <a:cubicBezTo>
                  <a:pt x="2025731" y="2034428"/>
                  <a:pt x="1430533" y="791870"/>
                  <a:pt x="404439" y="39934"/>
                </a:cubicBezTo>
                <a:close/>
              </a:path>
            </a:pathLst>
          </a:custGeom>
          <a:solidFill>
            <a:srgbClr val="D9D9D9"/>
          </a:solidFill>
        </p:spPr>
        <p:txBody>
          <a:bodyPr wrap="square" lIns="4663440" t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full slide image is 1280 x 7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683E8B-89CE-4EF5-BBB9-62368C3820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660503"/>
            <a:ext cx="4389120" cy="2391042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99B91ED-E0FA-43C7-8B4E-31F9017845E6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609630" y="457200"/>
            <a:ext cx="2286000" cy="880288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9AB0108-0379-4A18-900E-6A61DF3018CE}"/>
                </a:ext>
              </a:extLst>
            </p:cNvPr>
            <p:cNvSpPr/>
            <p:nvPr/>
          </p:nvSpPr>
          <p:spPr bwMode="black"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F2F77B2-9024-4ACC-A728-CA3AB71F5A8E}"/>
                </a:ext>
              </a:extLst>
            </p:cNvPr>
            <p:cNvSpPr/>
            <p:nvPr/>
          </p:nvSpPr>
          <p:spPr bwMode="black"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0BB7A39-4E40-4061-A76F-7B79D98B54EE}"/>
                </a:ext>
              </a:extLst>
            </p:cNvPr>
            <p:cNvSpPr/>
            <p:nvPr/>
          </p:nvSpPr>
          <p:spPr bwMode="black"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5441B9D-EA57-4F40-8DCE-CBEF348C3A0F}"/>
                </a:ext>
              </a:extLst>
            </p:cNvPr>
            <p:cNvSpPr/>
            <p:nvPr/>
          </p:nvSpPr>
          <p:spPr bwMode="black"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9AE4E4D0-FF92-495C-9CD5-354ED8923672}"/>
                </a:ext>
              </a:extLst>
            </p:cNvPr>
            <p:cNvSpPr/>
            <p:nvPr/>
          </p:nvSpPr>
          <p:spPr bwMode="black"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D4AF130-6E23-4412-BC70-EE04DCC1545D}"/>
                </a:ext>
              </a:extLst>
            </p:cNvPr>
            <p:cNvSpPr/>
            <p:nvPr/>
          </p:nvSpPr>
          <p:spPr bwMode="black"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2ABE821-58B4-49BB-A652-52A61F3BD10D}"/>
                </a:ext>
              </a:extLst>
            </p:cNvPr>
            <p:cNvSpPr/>
            <p:nvPr/>
          </p:nvSpPr>
          <p:spPr bwMode="black"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0D66007-2868-471F-B969-3FB8E82DCC4E}"/>
                </a:ext>
              </a:extLst>
            </p:cNvPr>
            <p:cNvSpPr/>
            <p:nvPr/>
          </p:nvSpPr>
          <p:spPr bwMode="black"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6270846-6F4C-40AA-99D4-EF9934A7E399}"/>
                </a:ext>
              </a:extLst>
            </p:cNvPr>
            <p:cNvSpPr/>
            <p:nvPr/>
          </p:nvSpPr>
          <p:spPr bwMode="black"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703D0E3-2D30-4032-9E53-A7EB9F4BC9C3}"/>
                </a:ext>
              </a:extLst>
            </p:cNvPr>
            <p:cNvSpPr/>
            <p:nvPr/>
          </p:nvSpPr>
          <p:spPr bwMode="black"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FD40A0A-73C4-4955-9FF6-0EEB215FD392}"/>
                </a:ext>
              </a:extLst>
            </p:cNvPr>
            <p:cNvSpPr/>
            <p:nvPr/>
          </p:nvSpPr>
          <p:spPr bwMode="black"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904D811-319A-4186-8A59-457C07D35712}"/>
                </a:ext>
              </a:extLst>
            </p:cNvPr>
            <p:cNvSpPr/>
            <p:nvPr/>
          </p:nvSpPr>
          <p:spPr bwMode="black"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70FC748-AD59-44E9-9226-9F3F398D3C6A}"/>
                </a:ext>
              </a:extLst>
            </p:cNvPr>
            <p:cNvSpPr/>
            <p:nvPr/>
          </p:nvSpPr>
          <p:spPr bwMode="black"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67A6B2FE-A112-480D-A8E6-6ED513559C90}"/>
                </a:ext>
              </a:extLst>
            </p:cNvPr>
            <p:cNvSpPr/>
            <p:nvPr/>
          </p:nvSpPr>
          <p:spPr bwMode="black"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DBBC33B-5E76-47D0-9997-B175DC5CA88D}"/>
                </a:ext>
              </a:extLst>
            </p:cNvPr>
            <p:cNvSpPr/>
            <p:nvPr/>
          </p:nvSpPr>
          <p:spPr bwMode="black"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F5FE826-C991-4781-9C3E-F5243696119B}"/>
                </a:ext>
              </a:extLst>
            </p:cNvPr>
            <p:cNvSpPr/>
            <p:nvPr/>
          </p:nvSpPr>
          <p:spPr bwMode="black"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EFB7C3C-C9B9-4A7C-9802-BE61D791106C}"/>
                </a:ext>
              </a:extLst>
            </p:cNvPr>
            <p:cNvSpPr/>
            <p:nvPr/>
          </p:nvSpPr>
          <p:spPr bwMode="black"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CE6058B8-6C4B-4DD3-9D56-2A32C09E480C}"/>
                </a:ext>
              </a:extLst>
            </p:cNvPr>
            <p:cNvSpPr/>
            <p:nvPr/>
          </p:nvSpPr>
          <p:spPr bwMode="black"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7BDDCE3B-CBF0-46A0-95E3-BE2D1DB5CC39}"/>
                </a:ext>
              </a:extLst>
            </p:cNvPr>
            <p:cNvSpPr/>
            <p:nvPr/>
          </p:nvSpPr>
          <p:spPr bwMode="black"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CA898F72-C445-4743-97BA-4379F1696CC7}"/>
                </a:ext>
              </a:extLst>
            </p:cNvPr>
            <p:cNvSpPr/>
            <p:nvPr/>
          </p:nvSpPr>
          <p:spPr bwMode="black"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FC0A55B-CEB1-43A3-BD42-9118CCCC4997}"/>
                </a:ext>
              </a:extLst>
            </p:cNvPr>
            <p:cNvSpPr/>
            <p:nvPr/>
          </p:nvSpPr>
          <p:spPr bwMode="black"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B50D7FF-ABF7-48B0-B01A-BDAB3E56A59C}"/>
                </a:ext>
              </a:extLst>
            </p:cNvPr>
            <p:cNvSpPr/>
            <p:nvPr/>
          </p:nvSpPr>
          <p:spPr bwMode="black"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5498461-453E-4B01-AC09-28EB4FE30933}"/>
                </a:ext>
              </a:extLst>
            </p:cNvPr>
            <p:cNvSpPr/>
            <p:nvPr/>
          </p:nvSpPr>
          <p:spPr bwMode="black"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29CBDCEB-800E-4D28-B2C3-1A925BFB4697}"/>
                </a:ext>
              </a:extLst>
            </p:cNvPr>
            <p:cNvSpPr/>
            <p:nvPr/>
          </p:nvSpPr>
          <p:spPr bwMode="black"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81C4C5D3-38A9-48A3-A737-2E1782DEC6C3}"/>
                </a:ext>
              </a:extLst>
            </p:cNvPr>
            <p:cNvSpPr/>
            <p:nvPr/>
          </p:nvSpPr>
          <p:spPr bwMode="black"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CC67A3C2-5E36-485E-BD0C-74020928665D}"/>
                </a:ext>
              </a:extLst>
            </p:cNvPr>
            <p:cNvSpPr/>
            <p:nvPr/>
          </p:nvSpPr>
          <p:spPr bwMode="black"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EED642CE-A789-4786-8A92-D88EC62AC133}"/>
                </a:ext>
              </a:extLst>
            </p:cNvPr>
            <p:cNvSpPr/>
            <p:nvPr/>
          </p:nvSpPr>
          <p:spPr bwMode="black"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4386D89-2FDC-4706-8B37-36CF6ABF07FB}"/>
                </a:ext>
              </a:extLst>
            </p:cNvPr>
            <p:cNvSpPr/>
            <p:nvPr/>
          </p:nvSpPr>
          <p:spPr bwMode="black"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FE86223-C5DA-4CB7-B13B-0B51B75F54C4}"/>
                </a:ext>
              </a:extLst>
            </p:cNvPr>
            <p:cNvSpPr/>
            <p:nvPr/>
          </p:nvSpPr>
          <p:spPr bwMode="black"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423558B8-06E0-4621-852F-9D8F09A23F14}"/>
                </a:ext>
              </a:extLst>
            </p:cNvPr>
            <p:cNvSpPr/>
            <p:nvPr/>
          </p:nvSpPr>
          <p:spPr bwMode="black"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96A1217-0C47-4B68-B46A-6D7E7E1D3BBD}"/>
                </a:ext>
              </a:extLst>
            </p:cNvPr>
            <p:cNvSpPr/>
            <p:nvPr/>
          </p:nvSpPr>
          <p:spPr bwMode="black"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CAD3D5E-D368-4C1C-96EE-A63B27AC18E9}"/>
                </a:ext>
              </a:extLst>
            </p:cNvPr>
            <p:cNvSpPr/>
            <p:nvPr/>
          </p:nvSpPr>
          <p:spPr bwMode="black"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48589BCD-A0C1-497B-8D9B-7071336DC859}"/>
                </a:ext>
              </a:extLst>
            </p:cNvPr>
            <p:cNvSpPr/>
            <p:nvPr/>
          </p:nvSpPr>
          <p:spPr bwMode="black"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8DFF6291-0096-416B-8932-CFAEE8C24CC3}"/>
                </a:ext>
              </a:extLst>
            </p:cNvPr>
            <p:cNvSpPr/>
            <p:nvPr/>
          </p:nvSpPr>
          <p:spPr bwMode="black"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9F0A9BCD-4E63-42B7-9992-63F009834CC8}"/>
                </a:ext>
              </a:extLst>
            </p:cNvPr>
            <p:cNvSpPr/>
            <p:nvPr/>
          </p:nvSpPr>
          <p:spPr bwMode="black"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D45F9331-6EB0-4EF1-AF1B-D8101C2D5B8D}"/>
                </a:ext>
              </a:extLst>
            </p:cNvPr>
            <p:cNvSpPr/>
            <p:nvPr/>
          </p:nvSpPr>
          <p:spPr bwMode="black"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DE7CE7BB-5D54-49B3-B53E-541559A726B8}"/>
                </a:ext>
              </a:extLst>
            </p:cNvPr>
            <p:cNvSpPr/>
            <p:nvPr/>
          </p:nvSpPr>
          <p:spPr bwMode="black"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E0134D3C-A529-412E-B918-F35B50DB4607}"/>
                </a:ext>
              </a:extLst>
            </p:cNvPr>
            <p:cNvSpPr/>
            <p:nvPr/>
          </p:nvSpPr>
          <p:spPr bwMode="black"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06216BF-A380-4FA9-9B4A-C9DC258CCF12}"/>
                </a:ext>
              </a:extLst>
            </p:cNvPr>
            <p:cNvSpPr/>
            <p:nvPr/>
          </p:nvSpPr>
          <p:spPr bwMode="black"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D3FA18A3-B765-448E-A96D-70ECA09B74C4}"/>
                </a:ext>
              </a:extLst>
            </p:cNvPr>
            <p:cNvSpPr/>
            <p:nvPr/>
          </p:nvSpPr>
          <p:spPr bwMode="black"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C909F6E8-DEAA-40C5-A466-3C2C305FF26A}"/>
                </a:ext>
              </a:extLst>
            </p:cNvPr>
            <p:cNvSpPr/>
            <p:nvPr/>
          </p:nvSpPr>
          <p:spPr bwMode="black"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EC730DF2-B7B8-470D-B166-19B7C7F51A75}"/>
                </a:ext>
              </a:extLst>
            </p:cNvPr>
            <p:cNvSpPr/>
            <p:nvPr/>
          </p:nvSpPr>
          <p:spPr bwMode="black"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 Placeholder 53">
            <a:extLst>
              <a:ext uri="{FF2B5EF4-FFF2-40B4-BE49-F238E27FC236}">
                <a16:creationId xmlns:a16="http://schemas.microsoft.com/office/drawing/2014/main" id="{6C6F15D6-83AC-4099-9946-CE8B5A1B72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1333" y="4370504"/>
            <a:ext cx="4389120" cy="73152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Subtitle or Presenter Name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86018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36DCD65-4054-4059-9788-175B50658E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1475D-EF5B-48A6-8CCB-3BD08F726926}" type="datetimeFigureOut">
              <a:rPr lang="en-US"/>
              <a:t>6/12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09CC7B-BD5E-4DEB-98F7-581E73AB0D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B1890A-9F5B-4D33-B25B-84BA80C938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80026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A63F8DDC-ACF7-4A20-8541-378AD67A6BE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05999" y="5020104"/>
            <a:ext cx="2797175" cy="1837896"/>
          </a:xfrm>
          <a:custGeom>
            <a:avLst/>
            <a:gdLst>
              <a:gd name="connsiteX0" fmla="*/ 1477209 w 2797175"/>
              <a:gd name="connsiteY0" fmla="*/ 25 h 1837896"/>
              <a:gd name="connsiteX1" fmla="*/ 1754297 w 2797175"/>
              <a:gd name="connsiteY1" fmla="*/ 32364 h 1837896"/>
              <a:gd name="connsiteX2" fmla="*/ 2791755 w 2797175"/>
              <a:gd name="connsiteY2" fmla="*/ 1570484 h 1837896"/>
              <a:gd name="connsiteX3" fmla="*/ 2761264 w 2797175"/>
              <a:gd name="connsiteY3" fmla="*/ 1772753 h 1837896"/>
              <a:gd name="connsiteX4" fmla="*/ 2740822 w 2797175"/>
              <a:gd name="connsiteY4" fmla="*/ 1837896 h 1837896"/>
              <a:gd name="connsiteX5" fmla="*/ 40031 w 2797175"/>
              <a:gd name="connsiteY5" fmla="*/ 1837896 h 1837896"/>
              <a:gd name="connsiteX6" fmla="*/ 14140 w 2797175"/>
              <a:gd name="connsiteY6" fmla="*/ 1713596 h 1837896"/>
              <a:gd name="connsiteX7" fmla="*/ 35516 w 2797175"/>
              <a:gd name="connsiteY7" fmla="*/ 1142084 h 1837896"/>
              <a:gd name="connsiteX8" fmla="*/ 1477209 w 2797175"/>
              <a:gd name="connsiteY8" fmla="*/ 25 h 1837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97175" h="1837896">
                <a:moveTo>
                  <a:pt x="1477209" y="25"/>
                </a:moveTo>
                <a:cubicBezTo>
                  <a:pt x="1570418" y="590"/>
                  <a:pt x="1663325" y="11074"/>
                  <a:pt x="1754297" y="32364"/>
                </a:cubicBezTo>
                <a:cubicBezTo>
                  <a:pt x="2456261" y="197531"/>
                  <a:pt x="2848534" y="884010"/>
                  <a:pt x="2791755" y="1570484"/>
                </a:cubicBezTo>
                <a:cubicBezTo>
                  <a:pt x="2786271" y="1641777"/>
                  <a:pt x="2775928" y="1709139"/>
                  <a:pt x="2761264" y="1772753"/>
                </a:cubicBezTo>
                <a:lnTo>
                  <a:pt x="2740822" y="1837896"/>
                </a:lnTo>
                <a:lnTo>
                  <a:pt x="40031" y="1837896"/>
                </a:lnTo>
                <a:lnTo>
                  <a:pt x="14140" y="1713596"/>
                </a:lnTo>
                <a:cubicBezTo>
                  <a:pt x="-15049" y="1510297"/>
                  <a:pt x="5355" y="1310638"/>
                  <a:pt x="35516" y="1142084"/>
                </a:cubicBezTo>
                <a:cubicBezTo>
                  <a:pt x="157459" y="478188"/>
                  <a:pt x="824742" y="-3925"/>
                  <a:pt x="1477209" y="25"/>
                </a:cubicBezTo>
                <a:close/>
              </a:path>
            </a:pathLst>
          </a:custGeom>
          <a:solidFill>
            <a:srgbClr val="D9D9D9"/>
          </a:solidFill>
        </p:spPr>
        <p:txBody>
          <a:bodyPr wrap="square" tIns="109728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size 320 x 3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2924F1-A0DC-49D4-96C4-A482D4DF75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9100" y="152400"/>
            <a:ext cx="7581902" cy="4853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A32D13B-5124-4E72-BA9F-FE8C6BFCCC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1475D-EF5B-48A6-8CCB-3BD08F726926}" type="datetimeFigureOut">
              <a:rPr lang="en-US"/>
              <a:pPr/>
              <a:t>6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A0BBFE-DFC3-45FF-B281-F9BC65C1B4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7E582E-199C-40D6-A654-4D49AF0C7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7104F46-245D-486A-B90A-2D0951EDC2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29100" y="1383792"/>
            <a:ext cx="7581900" cy="463600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53">
            <a:extLst>
              <a:ext uri="{FF2B5EF4-FFF2-40B4-BE49-F238E27FC236}">
                <a16:creationId xmlns:a16="http://schemas.microsoft.com/office/drawing/2014/main" id="{EF7030FC-3432-442B-80CB-FA420E440C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29100" y="731530"/>
            <a:ext cx="7581898" cy="36573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5D6B7F4B-2B1B-4CC9-B4BE-A27597837E2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5996" y="1"/>
            <a:ext cx="2797176" cy="1905875"/>
          </a:xfrm>
          <a:custGeom>
            <a:avLst/>
            <a:gdLst>
              <a:gd name="connsiteX0" fmla="*/ 126450 w 2797176"/>
              <a:gd name="connsiteY0" fmla="*/ 0 h 1905875"/>
              <a:gd name="connsiteX1" fmla="*/ 2684933 w 2797176"/>
              <a:gd name="connsiteY1" fmla="*/ 0 h 1905875"/>
              <a:gd name="connsiteX2" fmla="*/ 2717681 w 2797176"/>
              <a:gd name="connsiteY2" fmla="*/ 86895 h 1905875"/>
              <a:gd name="connsiteX3" fmla="*/ 2791756 w 2797176"/>
              <a:gd name="connsiteY3" fmla="*/ 714556 h 1905875"/>
              <a:gd name="connsiteX4" fmla="*/ 1000720 w 2797176"/>
              <a:gd name="connsiteY4" fmla="*/ 1870727 h 1905875"/>
              <a:gd name="connsiteX5" fmla="*/ 35517 w 2797176"/>
              <a:gd name="connsiteY5" fmla="*/ 286156 h 1905875"/>
              <a:gd name="connsiteX6" fmla="*/ 119533 w 2797176"/>
              <a:gd name="connsiteY6" fmla="*/ 13646 h 190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97176" h="1905875">
                <a:moveTo>
                  <a:pt x="126450" y="0"/>
                </a:moveTo>
                <a:lnTo>
                  <a:pt x="2684933" y="0"/>
                </a:lnTo>
                <a:lnTo>
                  <a:pt x="2717681" y="86895"/>
                </a:lnTo>
                <a:cubicBezTo>
                  <a:pt x="2783390" y="285509"/>
                  <a:pt x="2809500" y="500033"/>
                  <a:pt x="2791756" y="714556"/>
                </a:cubicBezTo>
                <a:cubicBezTo>
                  <a:pt x="2704013" y="1855245"/>
                  <a:pt x="1372347" y="1989443"/>
                  <a:pt x="1000720" y="1870727"/>
                </a:cubicBezTo>
                <a:cubicBezTo>
                  <a:pt x="-57390" y="1530069"/>
                  <a:pt x="-52226" y="776494"/>
                  <a:pt x="35517" y="286156"/>
                </a:cubicBezTo>
                <a:cubicBezTo>
                  <a:pt x="52937" y="191314"/>
                  <a:pt x="81487" y="100181"/>
                  <a:pt x="119533" y="13646"/>
                </a:cubicBezTo>
                <a:close/>
              </a:path>
            </a:pathLst>
          </a:custGeom>
          <a:solidFill>
            <a:srgbClr val="D9D9D9"/>
          </a:solidFill>
        </p:spPr>
        <p:txBody>
          <a:bodyPr wrap="square" tIns="36576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size 320 x 320 pixels)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F9C56AD-BDF6-4DD3-BCC6-F6A6E7ADA30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05996" y="2082136"/>
            <a:ext cx="2797176" cy="2761803"/>
          </a:xfrm>
          <a:custGeom>
            <a:avLst/>
            <a:gdLst>
              <a:gd name="connsiteX0" fmla="*/ 1477210 w 2797176"/>
              <a:gd name="connsiteY0" fmla="*/ 25 h 2761803"/>
              <a:gd name="connsiteX1" fmla="*/ 1754298 w 2797176"/>
              <a:gd name="connsiteY1" fmla="*/ 32364 h 2761803"/>
              <a:gd name="connsiteX2" fmla="*/ 2791756 w 2797176"/>
              <a:gd name="connsiteY2" fmla="*/ 1570484 h 2761803"/>
              <a:gd name="connsiteX3" fmla="*/ 1000720 w 2797176"/>
              <a:gd name="connsiteY3" fmla="*/ 2726655 h 2761803"/>
              <a:gd name="connsiteX4" fmla="*/ 35517 w 2797176"/>
              <a:gd name="connsiteY4" fmla="*/ 1142084 h 2761803"/>
              <a:gd name="connsiteX5" fmla="*/ 1477210 w 2797176"/>
              <a:gd name="connsiteY5" fmla="*/ 25 h 2761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97176" h="2761803">
                <a:moveTo>
                  <a:pt x="1477210" y="25"/>
                </a:moveTo>
                <a:cubicBezTo>
                  <a:pt x="1570419" y="589"/>
                  <a:pt x="1663326" y="11073"/>
                  <a:pt x="1754298" y="32364"/>
                </a:cubicBezTo>
                <a:cubicBezTo>
                  <a:pt x="2456262" y="197531"/>
                  <a:pt x="2848535" y="884010"/>
                  <a:pt x="2791756" y="1570484"/>
                </a:cubicBezTo>
                <a:cubicBezTo>
                  <a:pt x="2704013" y="2711173"/>
                  <a:pt x="1372347" y="2845371"/>
                  <a:pt x="1000720" y="2726655"/>
                </a:cubicBezTo>
                <a:cubicBezTo>
                  <a:pt x="-57390" y="2385997"/>
                  <a:pt x="-52226" y="1632422"/>
                  <a:pt x="35517" y="1142084"/>
                </a:cubicBezTo>
                <a:cubicBezTo>
                  <a:pt x="157460" y="478187"/>
                  <a:pt x="824743" y="-3925"/>
                  <a:pt x="1477210" y="25"/>
                </a:cubicBezTo>
                <a:close/>
              </a:path>
            </a:pathLst>
          </a:custGeom>
          <a:solidFill>
            <a:srgbClr val="D9D9D9"/>
          </a:solidFill>
        </p:spPr>
        <p:txBody>
          <a:bodyPr wrap="square" tIns="73152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size 320 x 320 pixels)</a:t>
            </a:r>
          </a:p>
        </p:txBody>
      </p:sp>
    </p:spTree>
    <p:extLst>
      <p:ext uri="{BB962C8B-B14F-4D97-AF65-F5344CB8AC3E}">
        <p14:creationId xmlns:p14="http://schemas.microsoft.com/office/powerpoint/2010/main" val="18825741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rcle 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A2733906-1C03-4012-B214-1CE93389DA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2"/>
            <a:ext cx="5266036" cy="6857999"/>
          </a:xfrm>
          <a:custGeom>
            <a:avLst/>
            <a:gdLst>
              <a:gd name="connsiteX0" fmla="*/ 0 w 5266036"/>
              <a:gd name="connsiteY0" fmla="*/ 0 h 6857999"/>
              <a:gd name="connsiteX1" fmla="*/ 3014696 w 5266036"/>
              <a:gd name="connsiteY1" fmla="*/ 0 h 6857999"/>
              <a:gd name="connsiteX2" fmla="*/ 3040982 w 5266036"/>
              <a:gd name="connsiteY2" fmla="*/ 11408 h 6857999"/>
              <a:gd name="connsiteX3" fmla="*/ 5250901 w 5266036"/>
              <a:gd name="connsiteY3" fmla="*/ 4085922 h 6857999"/>
              <a:gd name="connsiteX4" fmla="*/ 3435696 w 5266036"/>
              <a:gd name="connsiteY4" fmla="*/ 6839477 h 6857999"/>
              <a:gd name="connsiteX5" fmla="*/ 3398838 w 5266036"/>
              <a:gd name="connsiteY5" fmla="*/ 6857999 h 6857999"/>
              <a:gd name="connsiteX6" fmla="*/ 0 w 5266036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66036" h="6857999">
                <a:moveTo>
                  <a:pt x="0" y="0"/>
                </a:moveTo>
                <a:lnTo>
                  <a:pt x="3014696" y="0"/>
                </a:lnTo>
                <a:lnTo>
                  <a:pt x="3040982" y="11408"/>
                </a:lnTo>
                <a:cubicBezTo>
                  <a:pt x="4562919" y="717837"/>
                  <a:pt x="5390071" y="2397951"/>
                  <a:pt x="5250901" y="4085922"/>
                </a:cubicBezTo>
                <a:cubicBezTo>
                  <a:pt x="5138669" y="5484335"/>
                  <a:pt x="4361602" y="6343612"/>
                  <a:pt x="3435696" y="6839477"/>
                </a:cubicBezTo>
                <a:lnTo>
                  <a:pt x="3398838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tIns="365760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half slide image is 640 x 7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AEA02C-1880-4C71-86A6-34ED8A672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152400"/>
            <a:ext cx="5715002" cy="9017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20C5055-7E08-43F9-85F7-AF9A137CF0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096000" y="1383792"/>
            <a:ext cx="5715000" cy="463600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348176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73CA62-557B-4233-A280-B632FDE7E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152400"/>
            <a:ext cx="11430001" cy="4853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477033-05D8-4136-947B-33FDFE0937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1475D-EF5B-48A6-8CCB-3BD08F726926}" type="datetimeFigureOut">
              <a:rPr lang="en-US"/>
              <a:pPr/>
              <a:t>6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ABE26E-7618-4F78-8596-2A31C0BCE0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4B0F7D-C1BE-4FF4-8D9C-4EB1E87603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CAA4CE7-2E79-487E-9FB0-5C7F0E926C2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81000" y="1383792"/>
            <a:ext cx="6400800" cy="463600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53">
            <a:extLst>
              <a:ext uri="{FF2B5EF4-FFF2-40B4-BE49-F238E27FC236}">
                <a16:creationId xmlns:a16="http://schemas.microsoft.com/office/drawing/2014/main" id="{734CE9CF-0E3B-470F-87D6-C69D18AB3E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731530"/>
            <a:ext cx="6400799" cy="36573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11A1073-7FE1-4F7F-8031-C3C041EB8AF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986761" y="862564"/>
            <a:ext cx="4851030" cy="5081476"/>
          </a:xfrm>
          <a:custGeom>
            <a:avLst/>
            <a:gdLst>
              <a:gd name="connsiteX0" fmla="*/ 4603651 w 4851030"/>
              <a:gd name="connsiteY0" fmla="*/ 0 h 5081476"/>
              <a:gd name="connsiteX1" fmla="*/ 4827723 w 4851030"/>
              <a:gd name="connsiteY1" fmla="*/ 669963 h 5081476"/>
              <a:gd name="connsiteX2" fmla="*/ 4837903 w 4851030"/>
              <a:gd name="connsiteY2" fmla="*/ 2094980 h 5081476"/>
              <a:gd name="connsiteX3" fmla="*/ 4848093 w 4851030"/>
              <a:gd name="connsiteY3" fmla="*/ 3169064 h 5081476"/>
              <a:gd name="connsiteX4" fmla="*/ 4848093 w 4851030"/>
              <a:gd name="connsiteY4" fmla="*/ 3913475 h 5081476"/>
              <a:gd name="connsiteX5" fmla="*/ 4817532 w 4851030"/>
              <a:gd name="connsiteY5" fmla="*/ 4838667 h 5081476"/>
              <a:gd name="connsiteX6" fmla="*/ 4471241 w 4851030"/>
              <a:gd name="connsiteY6" fmla="*/ 5008818 h 5081476"/>
              <a:gd name="connsiteX7" fmla="*/ 4114767 w 4851030"/>
              <a:gd name="connsiteY7" fmla="*/ 5019457 h 5081476"/>
              <a:gd name="connsiteX8" fmla="*/ 3748105 w 4851030"/>
              <a:gd name="connsiteY8" fmla="*/ 5072624 h 5081476"/>
              <a:gd name="connsiteX9" fmla="*/ 998137 w 4851030"/>
              <a:gd name="connsiteY9" fmla="*/ 5030086 h 5081476"/>
              <a:gd name="connsiteX10" fmla="*/ 488884 w 4851030"/>
              <a:gd name="connsiteY10" fmla="*/ 4976920 h 5081476"/>
              <a:gd name="connsiteX11" fmla="*/ 81481 w 4851030"/>
              <a:gd name="connsiteY11" fmla="*/ 4742962 h 5081476"/>
              <a:gd name="connsiteX12" fmla="*/ 40741 w 4851030"/>
              <a:gd name="connsiteY12" fmla="*/ 3679517 h 5081476"/>
              <a:gd name="connsiteX13" fmla="*/ 20371 w 4851030"/>
              <a:gd name="connsiteY13" fmla="*/ 2084351 h 5081476"/>
              <a:gd name="connsiteX14" fmla="*/ 0 w 4851030"/>
              <a:gd name="connsiteY14" fmla="*/ 1552629 h 5081476"/>
              <a:gd name="connsiteX15" fmla="*/ 20371 w 4851030"/>
              <a:gd name="connsiteY15" fmla="*/ 723142 h 5081476"/>
              <a:gd name="connsiteX16" fmla="*/ 30551 w 4851030"/>
              <a:gd name="connsiteY16" fmla="*/ 457275 h 5081476"/>
              <a:gd name="connsiteX17" fmla="*/ 71291 w 4851030"/>
              <a:gd name="connsiteY17" fmla="*/ 74435 h 5081476"/>
              <a:gd name="connsiteX18" fmla="*/ 2261085 w 4851030"/>
              <a:gd name="connsiteY18" fmla="*/ 42537 h 5081476"/>
              <a:gd name="connsiteX19" fmla="*/ 3554584 w 4851030"/>
              <a:gd name="connsiteY19" fmla="*/ 31898 h 5081476"/>
              <a:gd name="connsiteX20" fmla="*/ 4603651 w 4851030"/>
              <a:gd name="connsiteY20" fmla="*/ 0 h 5081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851030" h="5081476">
                <a:moveTo>
                  <a:pt x="4603651" y="0"/>
                </a:moveTo>
                <a:cubicBezTo>
                  <a:pt x="4868463" y="0"/>
                  <a:pt x="4827723" y="340302"/>
                  <a:pt x="4827723" y="669963"/>
                </a:cubicBezTo>
                <a:cubicBezTo>
                  <a:pt x="4817532" y="1148520"/>
                  <a:pt x="4858273" y="1616435"/>
                  <a:pt x="4837903" y="2094980"/>
                </a:cubicBezTo>
                <a:cubicBezTo>
                  <a:pt x="4827723" y="2445922"/>
                  <a:pt x="4858273" y="2818122"/>
                  <a:pt x="4848093" y="3169064"/>
                </a:cubicBezTo>
                <a:cubicBezTo>
                  <a:pt x="4837903" y="3413650"/>
                  <a:pt x="4858273" y="3668878"/>
                  <a:pt x="4848093" y="3913475"/>
                </a:cubicBezTo>
                <a:cubicBezTo>
                  <a:pt x="4837903" y="4158061"/>
                  <a:pt x="4858273" y="4519633"/>
                  <a:pt x="4817532" y="4838667"/>
                </a:cubicBezTo>
                <a:cubicBezTo>
                  <a:pt x="4797162" y="4966279"/>
                  <a:pt x="4613831" y="4987548"/>
                  <a:pt x="4471241" y="5008818"/>
                </a:cubicBezTo>
                <a:cubicBezTo>
                  <a:pt x="4389759" y="5019457"/>
                  <a:pt x="4236989" y="4998188"/>
                  <a:pt x="4114767" y="5019457"/>
                </a:cubicBezTo>
                <a:cubicBezTo>
                  <a:pt x="4023097" y="5040726"/>
                  <a:pt x="3849956" y="5072624"/>
                  <a:pt x="3748105" y="5072624"/>
                </a:cubicBezTo>
                <a:cubicBezTo>
                  <a:pt x="2709228" y="5104533"/>
                  <a:pt x="2199975" y="5040726"/>
                  <a:pt x="998137" y="5030086"/>
                </a:cubicBezTo>
                <a:cubicBezTo>
                  <a:pt x="886096" y="5030086"/>
                  <a:pt x="733325" y="5030086"/>
                  <a:pt x="488884" y="4976920"/>
                </a:cubicBezTo>
                <a:cubicBezTo>
                  <a:pt x="264812" y="4934382"/>
                  <a:pt x="152771" y="4976920"/>
                  <a:pt x="81481" y="4742962"/>
                </a:cubicBezTo>
                <a:cubicBezTo>
                  <a:pt x="20371" y="4551542"/>
                  <a:pt x="50920" y="3924104"/>
                  <a:pt x="40741" y="3679517"/>
                </a:cubicBezTo>
                <a:cubicBezTo>
                  <a:pt x="20371" y="3126526"/>
                  <a:pt x="20371" y="2743686"/>
                  <a:pt x="20371" y="2084351"/>
                </a:cubicBezTo>
                <a:lnTo>
                  <a:pt x="0" y="1552629"/>
                </a:lnTo>
                <a:cubicBezTo>
                  <a:pt x="50920" y="1254863"/>
                  <a:pt x="-30560" y="1031534"/>
                  <a:pt x="20371" y="723142"/>
                </a:cubicBezTo>
                <a:cubicBezTo>
                  <a:pt x="30551" y="616798"/>
                  <a:pt x="30551" y="627426"/>
                  <a:pt x="30551" y="457275"/>
                </a:cubicBezTo>
                <a:cubicBezTo>
                  <a:pt x="30551" y="393469"/>
                  <a:pt x="-31630" y="221930"/>
                  <a:pt x="71291" y="74435"/>
                </a:cubicBezTo>
                <a:cubicBezTo>
                  <a:pt x="358675" y="-52826"/>
                  <a:pt x="1476830" y="42537"/>
                  <a:pt x="2261085" y="42537"/>
                </a:cubicBezTo>
                <a:cubicBezTo>
                  <a:pt x="2658297" y="42537"/>
                  <a:pt x="3167551" y="21269"/>
                  <a:pt x="3554584" y="31898"/>
                </a:cubicBezTo>
                <a:cubicBezTo>
                  <a:pt x="3676805" y="42537"/>
                  <a:pt x="4481430" y="0"/>
                  <a:pt x="4603651" y="0"/>
                </a:cubicBezTo>
                <a:close/>
              </a:path>
            </a:pathLst>
          </a:custGeom>
          <a:solidFill>
            <a:srgbClr val="D9D9D9"/>
          </a:solidFill>
        </p:spPr>
        <p:txBody>
          <a:bodyPr wrap="square" tIns="155448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half slide image is 640 x 720 pixels)</a:t>
            </a:r>
          </a:p>
        </p:txBody>
      </p:sp>
    </p:spTree>
    <p:extLst>
      <p:ext uri="{BB962C8B-B14F-4D97-AF65-F5344CB8AC3E}">
        <p14:creationId xmlns:p14="http://schemas.microsoft.com/office/powerpoint/2010/main" val="28045781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icture with Circ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66CA63B-C1B1-43E5-8904-2600EAA42658}"/>
              </a:ext>
            </a:extLst>
          </p:cNvPr>
          <p:cNvSpPr/>
          <p:nvPr/>
        </p:nvSpPr>
        <p:spPr bwMode="ltGray">
          <a:xfrm>
            <a:off x="10451952" y="5963196"/>
            <a:ext cx="1606316" cy="894804"/>
          </a:xfrm>
          <a:custGeom>
            <a:avLst/>
            <a:gdLst>
              <a:gd name="connsiteX0" fmla="*/ 838774 w 1585477"/>
              <a:gd name="connsiteY0" fmla="*/ 14 h 883197"/>
              <a:gd name="connsiteX1" fmla="*/ 996107 w 1585477"/>
              <a:gd name="connsiteY1" fmla="*/ 18377 h 883197"/>
              <a:gd name="connsiteX2" fmla="*/ 1585477 w 1585477"/>
              <a:gd name="connsiteY2" fmla="*/ 746145 h 883197"/>
              <a:gd name="connsiteX3" fmla="*/ 1585202 w 1585477"/>
              <a:gd name="connsiteY3" fmla="*/ 883197 h 883197"/>
              <a:gd name="connsiteX4" fmla="*/ 695 w 1585477"/>
              <a:gd name="connsiteY4" fmla="*/ 883197 h 883197"/>
              <a:gd name="connsiteX5" fmla="*/ 294 w 1585477"/>
              <a:gd name="connsiteY5" fmla="*/ 879328 h 883197"/>
              <a:gd name="connsiteX6" fmla="*/ 20167 w 1585477"/>
              <a:gd name="connsiteY6" fmla="*/ 648487 h 883197"/>
              <a:gd name="connsiteX7" fmla="*/ 838774 w 1585477"/>
              <a:gd name="connsiteY7" fmla="*/ 14 h 883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85477" h="883197">
                <a:moveTo>
                  <a:pt x="838774" y="14"/>
                </a:moveTo>
                <a:cubicBezTo>
                  <a:pt x="891699" y="335"/>
                  <a:pt x="944452" y="6288"/>
                  <a:pt x="996107" y="18377"/>
                </a:cubicBezTo>
                <a:cubicBezTo>
                  <a:pt x="1344865" y="100437"/>
                  <a:pt x="1558993" y="409128"/>
                  <a:pt x="1585477" y="746145"/>
                </a:cubicBezTo>
                <a:lnTo>
                  <a:pt x="1585202" y="883197"/>
                </a:lnTo>
                <a:lnTo>
                  <a:pt x="695" y="883197"/>
                </a:lnTo>
                <a:lnTo>
                  <a:pt x="294" y="879328"/>
                </a:lnTo>
                <a:cubicBezTo>
                  <a:pt x="-1813" y="797038"/>
                  <a:pt x="7712" y="718092"/>
                  <a:pt x="20167" y="648487"/>
                </a:cubicBezTo>
                <a:cubicBezTo>
                  <a:pt x="89408" y="271519"/>
                  <a:pt x="468297" y="-2229"/>
                  <a:pt x="838774" y="14"/>
                </a:cubicBezTo>
                <a:close/>
              </a:path>
            </a:pathLst>
          </a:custGeom>
          <a:solidFill>
            <a:srgbClr val="4F2170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56" name="Picture Placeholder 55">
            <a:extLst>
              <a:ext uri="{FF2B5EF4-FFF2-40B4-BE49-F238E27FC236}">
                <a16:creationId xmlns:a16="http://schemas.microsoft.com/office/drawing/2014/main" id="{A5EAFFDE-7D79-4F83-9864-FE3F4E8DFC8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2 h 6858000"/>
              <a:gd name="connsiteX3" fmla="*/ 7663103 w 12192000"/>
              <a:gd name="connsiteY3" fmla="*/ 2 h 6858000"/>
              <a:gd name="connsiteX4" fmla="*/ 7480204 w 12192000"/>
              <a:gd name="connsiteY4" fmla="*/ 153025 h 6858000"/>
              <a:gd name="connsiteX5" fmla="*/ 6428049 w 12192000"/>
              <a:gd name="connsiteY5" fmla="*/ 1989352 h 6858000"/>
              <a:gd name="connsiteX6" fmla="*/ 8885900 w 12192000"/>
              <a:gd name="connsiteY6" fmla="*/ 5978297 h 6858000"/>
              <a:gd name="connsiteX7" fmla="*/ 12154972 w 12192000"/>
              <a:gd name="connsiteY7" fmla="*/ 5329397 h 6858000"/>
              <a:gd name="connsiteX8" fmla="*/ 12192000 w 12192000"/>
              <a:gd name="connsiteY8" fmla="*/ 5302368 h 6858000"/>
              <a:gd name="connsiteX9" fmla="*/ 12192000 w 12192000"/>
              <a:gd name="connsiteY9" fmla="*/ 6858000 h 6858000"/>
              <a:gd name="connsiteX10" fmla="*/ 12047573 w 12192000"/>
              <a:gd name="connsiteY10" fmla="*/ 6858000 h 6858000"/>
              <a:gd name="connsiteX11" fmla="*/ 12047848 w 12192000"/>
              <a:gd name="connsiteY11" fmla="*/ 6720949 h 6858000"/>
              <a:gd name="connsiteX12" fmla="*/ 11458478 w 12192000"/>
              <a:gd name="connsiteY12" fmla="*/ 5993181 h 6858000"/>
              <a:gd name="connsiteX13" fmla="*/ 11301145 w 12192000"/>
              <a:gd name="connsiteY13" fmla="*/ 5974818 h 6858000"/>
              <a:gd name="connsiteX14" fmla="*/ 10482538 w 12192000"/>
              <a:gd name="connsiteY14" fmla="*/ 6623291 h 6858000"/>
              <a:gd name="connsiteX15" fmla="*/ 10462665 w 12192000"/>
              <a:gd name="connsiteY15" fmla="*/ 6854132 h 6858000"/>
              <a:gd name="connsiteX16" fmla="*/ 10463066 w 12192000"/>
              <a:gd name="connsiteY16" fmla="*/ 6858000 h 6858000"/>
              <a:gd name="connsiteX17" fmla="*/ 0 w 12192000"/>
              <a:gd name="connsiteY1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2"/>
                </a:lnTo>
                <a:lnTo>
                  <a:pt x="7663103" y="2"/>
                </a:lnTo>
                <a:lnTo>
                  <a:pt x="7480204" y="153025"/>
                </a:lnTo>
                <a:cubicBezTo>
                  <a:pt x="6949276" y="640885"/>
                  <a:pt x="6561130" y="1273092"/>
                  <a:pt x="6428049" y="1989352"/>
                </a:cubicBezTo>
                <a:cubicBezTo>
                  <a:pt x="6204615" y="3223711"/>
                  <a:pt x="6191465" y="5120738"/>
                  <a:pt x="8885900" y="5978297"/>
                </a:cubicBezTo>
                <a:cubicBezTo>
                  <a:pt x="9477360" y="6165081"/>
                  <a:pt x="11023781" y="6103162"/>
                  <a:pt x="12154972" y="5329397"/>
                </a:cubicBezTo>
                <a:lnTo>
                  <a:pt x="12192000" y="5302368"/>
                </a:lnTo>
                <a:lnTo>
                  <a:pt x="12192000" y="6858000"/>
                </a:lnTo>
                <a:lnTo>
                  <a:pt x="12047573" y="6858000"/>
                </a:lnTo>
                <a:lnTo>
                  <a:pt x="12047848" y="6720949"/>
                </a:lnTo>
                <a:cubicBezTo>
                  <a:pt x="12021364" y="6383932"/>
                  <a:pt x="11807236" y="6075241"/>
                  <a:pt x="11458478" y="5993181"/>
                </a:cubicBezTo>
                <a:cubicBezTo>
                  <a:pt x="11406823" y="5981092"/>
                  <a:pt x="11354070" y="5975139"/>
                  <a:pt x="11301145" y="5974818"/>
                </a:cubicBezTo>
                <a:cubicBezTo>
                  <a:pt x="10930668" y="5972575"/>
                  <a:pt x="10551779" y="6246323"/>
                  <a:pt x="10482538" y="6623291"/>
                </a:cubicBezTo>
                <a:cubicBezTo>
                  <a:pt x="10470083" y="6692896"/>
                  <a:pt x="10460558" y="6771842"/>
                  <a:pt x="10462665" y="6854132"/>
                </a:cubicBezTo>
                <a:lnTo>
                  <a:pt x="10463066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rIns="347472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full slide image is 1280 x 7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54D87F-D170-4CA6-B8DB-A068AAB2EE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84556" y="909045"/>
            <a:ext cx="4626444" cy="84182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BB3B4C9-10AF-4C1C-BD4C-19B5526DA837}"/>
              </a:ext>
            </a:extLst>
          </p:cNvPr>
          <p:cNvGrpSpPr>
            <a:grpSpLocks noChangeAspect="1"/>
          </p:cNvGrpSpPr>
          <p:nvPr/>
        </p:nvGrpSpPr>
        <p:grpSpPr>
          <a:xfrm>
            <a:off x="10676779" y="6205751"/>
            <a:ext cx="1143000" cy="440144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AA55965-C91C-46A8-84D3-9426B2920951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FA7C3306-5AFD-4197-B039-52B9B3D0AC6E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C31767F-4ADA-45F2-B354-AEF2579A6A70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B6DA548-0CD9-4078-B433-D61F10371744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D688978-BCBB-42C3-8877-14A7C1EF64F9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3EAD6C8-DC12-4BCC-8993-9CD4B9FF1B4B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0A3D4A8-5179-4579-86DA-E3BE1D9939BC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DB9A871-4A68-495F-A3EF-392427AED281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001B3D6-C1BC-4979-BF9B-2956B2C7EC99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6367185-B7D6-4C5F-BFDB-408FCE04E3F2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7770C8A-5B84-4503-8D5D-B710B131CCB1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7E3A062-DDC7-49B6-A3D5-B32A3A38D180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B52140B-5C19-4D8B-93F0-72CFECE86CC0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9A100D8-96DD-4438-B034-852ACD48360A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435034-3BFA-4E05-A947-D42274FB4ACD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F94EEDF-4DA9-4C49-8D81-4FEAA7A00790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47FAE4D-6929-4A6E-B735-59F6ED016FDD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61A7D8E-A6BF-40D7-95EB-1191999BD2EC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1409C27-3D54-4E7E-B608-F8D1F36BC68E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D063CBE-F520-471D-99C8-586943DE0D8C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DC003CD-8A26-432E-9060-84F8E0B2AA1B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8EA46793-C37F-42AD-B0A2-1B9D19975188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00046F6B-E5D4-4598-93CE-3280F6A1E048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D9E3FEEA-893B-4BCB-878A-93F25BBD9C29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C294731-92AD-4771-A321-6B09FBA089E6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E06B157-DBF4-4A2A-A41B-A23CBB507D06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06E6070-9EF3-4ED3-9C75-E6CAC8EA9E4A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417FE90C-6359-4A38-A932-B9E34A36EB87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0195EC85-116E-4D1D-AAC5-E1EE778E9F14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1199EB2-8CF7-412C-88D7-2C906A9B506E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A54ECDD-525B-4F0D-A32C-CAD98CC4E1E2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99AA5A5-B810-47BF-9870-E078E580E225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176AE20-94DB-48D9-93A0-3EB3C1F5FB2E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5CAD56A-462D-4366-9EFB-54581CD299AF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277C2FCB-7D05-4824-AE10-F453FE482C72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6019EDE9-B07A-4FD5-87B9-487B5E3194EF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E57DE58C-884C-473D-88BB-56EE3548B302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4E622CD9-12E7-481D-9568-392632F69D07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2CB86C1E-34D9-4E0F-88EC-65476446F32C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D932AD99-53C0-46CD-960C-6F1735F80A7B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6C6EC568-17DB-458F-9492-F1CC33DF1A00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045AFC19-C641-4E38-8827-516270B72E11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0" name="Content Placeholder 59">
            <a:extLst>
              <a:ext uri="{FF2B5EF4-FFF2-40B4-BE49-F238E27FC236}">
                <a16:creationId xmlns:a16="http://schemas.microsoft.com/office/drawing/2014/main" id="{8EFE1F84-4849-448C-8C35-33EC553AD83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185025" y="1981200"/>
            <a:ext cx="4625975" cy="29083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57098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icture with Squa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66CA63B-C1B1-43E5-8904-2600EAA42658}"/>
              </a:ext>
            </a:extLst>
          </p:cNvPr>
          <p:cNvSpPr/>
          <p:nvPr/>
        </p:nvSpPr>
        <p:spPr bwMode="ltGray">
          <a:xfrm>
            <a:off x="10442039" y="5952152"/>
            <a:ext cx="1626142" cy="905848"/>
          </a:xfrm>
          <a:custGeom>
            <a:avLst/>
            <a:gdLst>
              <a:gd name="connsiteX0" fmla="*/ 838774 w 1585477"/>
              <a:gd name="connsiteY0" fmla="*/ 14 h 883197"/>
              <a:gd name="connsiteX1" fmla="*/ 996107 w 1585477"/>
              <a:gd name="connsiteY1" fmla="*/ 18377 h 883197"/>
              <a:gd name="connsiteX2" fmla="*/ 1585477 w 1585477"/>
              <a:gd name="connsiteY2" fmla="*/ 746145 h 883197"/>
              <a:gd name="connsiteX3" fmla="*/ 1585202 w 1585477"/>
              <a:gd name="connsiteY3" fmla="*/ 883197 h 883197"/>
              <a:gd name="connsiteX4" fmla="*/ 695 w 1585477"/>
              <a:gd name="connsiteY4" fmla="*/ 883197 h 883197"/>
              <a:gd name="connsiteX5" fmla="*/ 294 w 1585477"/>
              <a:gd name="connsiteY5" fmla="*/ 879328 h 883197"/>
              <a:gd name="connsiteX6" fmla="*/ 20167 w 1585477"/>
              <a:gd name="connsiteY6" fmla="*/ 648487 h 883197"/>
              <a:gd name="connsiteX7" fmla="*/ 838774 w 1585477"/>
              <a:gd name="connsiteY7" fmla="*/ 14 h 883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85477" h="883197">
                <a:moveTo>
                  <a:pt x="838774" y="14"/>
                </a:moveTo>
                <a:cubicBezTo>
                  <a:pt x="891699" y="335"/>
                  <a:pt x="944452" y="6288"/>
                  <a:pt x="996107" y="18377"/>
                </a:cubicBezTo>
                <a:cubicBezTo>
                  <a:pt x="1344865" y="100437"/>
                  <a:pt x="1558993" y="409128"/>
                  <a:pt x="1585477" y="746145"/>
                </a:cubicBezTo>
                <a:lnTo>
                  <a:pt x="1585202" y="883197"/>
                </a:lnTo>
                <a:lnTo>
                  <a:pt x="695" y="883197"/>
                </a:lnTo>
                <a:lnTo>
                  <a:pt x="294" y="879328"/>
                </a:lnTo>
                <a:cubicBezTo>
                  <a:pt x="-1813" y="797038"/>
                  <a:pt x="7712" y="718092"/>
                  <a:pt x="20167" y="648487"/>
                </a:cubicBezTo>
                <a:cubicBezTo>
                  <a:pt x="89408" y="271519"/>
                  <a:pt x="468297" y="-2229"/>
                  <a:pt x="838774" y="14"/>
                </a:cubicBezTo>
                <a:close/>
              </a:path>
            </a:pathLst>
          </a:custGeom>
          <a:solidFill>
            <a:srgbClr val="4F2170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57" name="Picture Placeholder 56">
            <a:extLst>
              <a:ext uri="{FF2B5EF4-FFF2-40B4-BE49-F238E27FC236}">
                <a16:creationId xmlns:a16="http://schemas.microsoft.com/office/drawing/2014/main" id="{1992DD06-529E-413D-A391-D73017C8142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568889 w 12192000"/>
              <a:gd name="connsiteY0" fmla="*/ 372706 h 6858000"/>
              <a:gd name="connsiteX1" fmla="*/ 10371380 w 12192000"/>
              <a:gd name="connsiteY1" fmla="*/ 401205 h 6858000"/>
              <a:gd name="connsiteX2" fmla="*/ 8894854 w 12192000"/>
              <a:gd name="connsiteY2" fmla="*/ 410711 h 6858000"/>
              <a:gd name="connsiteX3" fmla="*/ 6395207 w 12192000"/>
              <a:gd name="connsiteY3" fmla="*/ 439209 h 6858000"/>
              <a:gd name="connsiteX4" fmla="*/ 6348702 w 12192000"/>
              <a:gd name="connsiteY4" fmla="*/ 781250 h 6858000"/>
              <a:gd name="connsiteX5" fmla="*/ 6337082 w 12192000"/>
              <a:gd name="connsiteY5" fmla="*/ 1018784 h 6858000"/>
              <a:gd name="connsiteX6" fmla="*/ 6313829 w 12192000"/>
              <a:gd name="connsiteY6" fmla="*/ 1759872 h 6858000"/>
              <a:gd name="connsiteX7" fmla="*/ 6337082 w 12192000"/>
              <a:gd name="connsiteY7" fmla="*/ 2234929 h 6858000"/>
              <a:gd name="connsiteX8" fmla="*/ 6360334 w 12192000"/>
              <a:gd name="connsiteY8" fmla="*/ 3660100 h 6858000"/>
              <a:gd name="connsiteX9" fmla="*/ 6406839 w 12192000"/>
              <a:gd name="connsiteY9" fmla="*/ 4610214 h 6858000"/>
              <a:gd name="connsiteX10" fmla="*/ 6871889 w 12192000"/>
              <a:gd name="connsiteY10" fmla="*/ 4819239 h 6858000"/>
              <a:gd name="connsiteX11" fmla="*/ 7453200 w 12192000"/>
              <a:gd name="connsiteY11" fmla="*/ 4866740 h 6858000"/>
              <a:gd name="connsiteX12" fmla="*/ 10592284 w 12192000"/>
              <a:gd name="connsiteY12" fmla="*/ 4904744 h 6858000"/>
              <a:gd name="connsiteX13" fmla="*/ 11010830 w 12192000"/>
              <a:gd name="connsiteY13" fmla="*/ 4857244 h 6858000"/>
              <a:gd name="connsiteX14" fmla="*/ 11417742 w 12192000"/>
              <a:gd name="connsiteY14" fmla="*/ 4847738 h 6858000"/>
              <a:gd name="connsiteX15" fmla="*/ 11813034 w 12192000"/>
              <a:gd name="connsiteY15" fmla="*/ 4695719 h 6858000"/>
              <a:gd name="connsiteX16" fmla="*/ 11847918 w 12192000"/>
              <a:gd name="connsiteY16" fmla="*/ 3869125 h 6858000"/>
              <a:gd name="connsiteX17" fmla="*/ 11847918 w 12192000"/>
              <a:gd name="connsiteY17" fmla="*/ 3204046 h 6858000"/>
              <a:gd name="connsiteX18" fmla="*/ 11836286 w 12192000"/>
              <a:gd name="connsiteY18" fmla="*/ 2244426 h 6858000"/>
              <a:gd name="connsiteX19" fmla="*/ 11824666 w 12192000"/>
              <a:gd name="connsiteY19" fmla="*/ 971273 h 6858000"/>
              <a:gd name="connsiteX20" fmla="*/ 11568889 w 12192000"/>
              <a:gd name="connsiteY20" fmla="*/ 372706 h 6858000"/>
              <a:gd name="connsiteX21" fmla="*/ 0 w 12192000"/>
              <a:gd name="connsiteY21" fmla="*/ 0 h 6858000"/>
              <a:gd name="connsiteX22" fmla="*/ 12192000 w 12192000"/>
              <a:gd name="connsiteY22" fmla="*/ 0 h 6858000"/>
              <a:gd name="connsiteX23" fmla="*/ 12192000 w 12192000"/>
              <a:gd name="connsiteY23" fmla="*/ 6858000 h 6858000"/>
              <a:gd name="connsiteX24" fmla="*/ 12047573 w 12192000"/>
              <a:gd name="connsiteY24" fmla="*/ 6858000 h 6858000"/>
              <a:gd name="connsiteX25" fmla="*/ 12047848 w 12192000"/>
              <a:gd name="connsiteY25" fmla="*/ 6720949 h 6858000"/>
              <a:gd name="connsiteX26" fmla="*/ 11458478 w 12192000"/>
              <a:gd name="connsiteY26" fmla="*/ 5993181 h 6858000"/>
              <a:gd name="connsiteX27" fmla="*/ 11301145 w 12192000"/>
              <a:gd name="connsiteY27" fmla="*/ 5974818 h 6858000"/>
              <a:gd name="connsiteX28" fmla="*/ 10482538 w 12192000"/>
              <a:gd name="connsiteY28" fmla="*/ 6623291 h 6858000"/>
              <a:gd name="connsiteX29" fmla="*/ 10462665 w 12192000"/>
              <a:gd name="connsiteY29" fmla="*/ 6854132 h 6858000"/>
              <a:gd name="connsiteX30" fmla="*/ 10463066 w 12192000"/>
              <a:gd name="connsiteY30" fmla="*/ 6858000 h 6858000"/>
              <a:gd name="connsiteX31" fmla="*/ 0 w 12192000"/>
              <a:gd name="connsiteY3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2192000" h="6858000">
                <a:moveTo>
                  <a:pt x="11568889" y="372706"/>
                </a:moveTo>
                <a:cubicBezTo>
                  <a:pt x="11429374" y="372706"/>
                  <a:pt x="10510895" y="410711"/>
                  <a:pt x="10371380" y="401205"/>
                </a:cubicBezTo>
                <a:cubicBezTo>
                  <a:pt x="9929583" y="391708"/>
                  <a:pt x="9348271" y="410711"/>
                  <a:pt x="8894854" y="410711"/>
                </a:cubicBezTo>
                <a:cubicBezTo>
                  <a:pt x="7999628" y="410711"/>
                  <a:pt x="7150918" y="353704"/>
                  <a:pt x="6395207" y="439209"/>
                </a:cubicBezTo>
                <a:cubicBezTo>
                  <a:pt x="6371954" y="458211"/>
                  <a:pt x="6348702" y="724243"/>
                  <a:pt x="6348702" y="781250"/>
                </a:cubicBezTo>
                <a:cubicBezTo>
                  <a:pt x="6348702" y="933268"/>
                  <a:pt x="6348702" y="923772"/>
                  <a:pt x="6337082" y="1018784"/>
                </a:cubicBezTo>
                <a:cubicBezTo>
                  <a:pt x="6278944" y="1294312"/>
                  <a:pt x="6371954" y="1493841"/>
                  <a:pt x="6313829" y="1759872"/>
                </a:cubicBezTo>
                <a:lnTo>
                  <a:pt x="6337082" y="2234929"/>
                </a:lnTo>
                <a:cubicBezTo>
                  <a:pt x="6337082" y="2824000"/>
                  <a:pt x="6337082" y="3166041"/>
                  <a:pt x="6360334" y="3660100"/>
                </a:cubicBezTo>
                <a:cubicBezTo>
                  <a:pt x="6371954" y="3878621"/>
                  <a:pt x="6337082" y="4439194"/>
                  <a:pt x="6406839" y="4610214"/>
                </a:cubicBezTo>
                <a:cubicBezTo>
                  <a:pt x="6488217" y="4819239"/>
                  <a:pt x="6616111" y="4781235"/>
                  <a:pt x="6871889" y="4819239"/>
                </a:cubicBezTo>
                <a:cubicBezTo>
                  <a:pt x="7150918" y="4866740"/>
                  <a:pt x="7325306" y="4866740"/>
                  <a:pt x="7453200" y="4866740"/>
                </a:cubicBezTo>
                <a:cubicBezTo>
                  <a:pt x="8825096" y="4876246"/>
                  <a:pt x="9406408" y="4933253"/>
                  <a:pt x="10592284" y="4904744"/>
                </a:cubicBezTo>
                <a:cubicBezTo>
                  <a:pt x="10708547" y="4904744"/>
                  <a:pt x="10906187" y="4876246"/>
                  <a:pt x="11010830" y="4857244"/>
                </a:cubicBezTo>
                <a:cubicBezTo>
                  <a:pt x="11150344" y="4838242"/>
                  <a:pt x="11324732" y="4857244"/>
                  <a:pt x="11417742" y="4847738"/>
                </a:cubicBezTo>
                <a:cubicBezTo>
                  <a:pt x="11580509" y="4828735"/>
                  <a:pt x="11789781" y="4809733"/>
                  <a:pt x="11813034" y="4695719"/>
                </a:cubicBezTo>
                <a:cubicBezTo>
                  <a:pt x="11859538" y="4410685"/>
                  <a:pt x="11836286" y="4087646"/>
                  <a:pt x="11847918" y="3869125"/>
                </a:cubicBezTo>
                <a:cubicBezTo>
                  <a:pt x="11859538" y="3650594"/>
                  <a:pt x="11836286" y="3422567"/>
                  <a:pt x="11847918" y="3204046"/>
                </a:cubicBezTo>
                <a:cubicBezTo>
                  <a:pt x="11859538" y="2890503"/>
                  <a:pt x="11824666" y="2557968"/>
                  <a:pt x="11836286" y="2244426"/>
                </a:cubicBezTo>
                <a:cubicBezTo>
                  <a:pt x="11859538" y="1816879"/>
                  <a:pt x="11813034" y="1398829"/>
                  <a:pt x="11824666" y="971273"/>
                </a:cubicBezTo>
                <a:cubicBezTo>
                  <a:pt x="11824666" y="676743"/>
                  <a:pt x="11871171" y="372706"/>
                  <a:pt x="11568889" y="372706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047573" y="6858000"/>
                </a:lnTo>
                <a:lnTo>
                  <a:pt x="12047848" y="6720949"/>
                </a:lnTo>
                <a:cubicBezTo>
                  <a:pt x="12021364" y="6383932"/>
                  <a:pt x="11807236" y="6075241"/>
                  <a:pt x="11458478" y="5993181"/>
                </a:cubicBezTo>
                <a:cubicBezTo>
                  <a:pt x="11406823" y="5981092"/>
                  <a:pt x="11354070" y="5975139"/>
                  <a:pt x="11301145" y="5974818"/>
                </a:cubicBezTo>
                <a:cubicBezTo>
                  <a:pt x="10930668" y="5972575"/>
                  <a:pt x="10551779" y="6246323"/>
                  <a:pt x="10482538" y="6623291"/>
                </a:cubicBezTo>
                <a:cubicBezTo>
                  <a:pt x="10470083" y="6692896"/>
                  <a:pt x="10460558" y="6771842"/>
                  <a:pt x="10462665" y="6854132"/>
                </a:cubicBezTo>
                <a:lnTo>
                  <a:pt x="10463066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rIns="347472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full slide image is 1280 x 7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54D87F-D170-4CA6-B8DB-A068AAB2EE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8914" y="656717"/>
            <a:ext cx="5065253" cy="9398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BB3B4C9-10AF-4C1C-BD4C-19B5526DA837}"/>
              </a:ext>
            </a:extLst>
          </p:cNvPr>
          <p:cNvGrpSpPr>
            <a:grpSpLocks noChangeAspect="1"/>
          </p:cNvGrpSpPr>
          <p:nvPr/>
        </p:nvGrpSpPr>
        <p:grpSpPr>
          <a:xfrm>
            <a:off x="10676779" y="6205751"/>
            <a:ext cx="1143000" cy="440144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AA55965-C91C-46A8-84D3-9426B2920951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FA7C3306-5AFD-4197-B039-52B9B3D0AC6E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C31767F-4ADA-45F2-B354-AEF2579A6A70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B6DA548-0CD9-4078-B433-D61F10371744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D688978-BCBB-42C3-8877-14A7C1EF64F9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3EAD6C8-DC12-4BCC-8993-9CD4B9FF1B4B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0A3D4A8-5179-4579-86DA-E3BE1D9939BC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DB9A871-4A68-495F-A3EF-392427AED281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001B3D6-C1BC-4979-BF9B-2956B2C7EC99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6367185-B7D6-4C5F-BFDB-408FCE04E3F2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7770C8A-5B84-4503-8D5D-B710B131CCB1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7E3A062-DDC7-49B6-A3D5-B32A3A38D180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B52140B-5C19-4D8B-93F0-72CFECE86CC0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9A100D8-96DD-4438-B034-852ACD48360A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435034-3BFA-4E05-A947-D42274FB4ACD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F94EEDF-4DA9-4C49-8D81-4FEAA7A00790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47FAE4D-6929-4A6E-B735-59F6ED016FDD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61A7D8E-A6BF-40D7-95EB-1191999BD2EC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1409C27-3D54-4E7E-B608-F8D1F36BC68E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D063CBE-F520-471D-99C8-586943DE0D8C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DC003CD-8A26-432E-9060-84F8E0B2AA1B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8EA46793-C37F-42AD-B0A2-1B9D19975188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00046F6B-E5D4-4598-93CE-3280F6A1E048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D9E3FEEA-893B-4BCB-878A-93F25BBD9C29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C294731-92AD-4771-A321-6B09FBA089E6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E06B157-DBF4-4A2A-A41B-A23CBB507D06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06E6070-9EF3-4ED3-9C75-E6CAC8EA9E4A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417FE90C-6359-4A38-A932-B9E34A36EB87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0195EC85-116E-4D1D-AAC5-E1EE778E9F14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1199EB2-8CF7-412C-88D7-2C906A9B506E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A54ECDD-525B-4F0D-A32C-CAD98CC4E1E2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99AA5A5-B810-47BF-9870-E078E580E225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176AE20-94DB-48D9-93A0-3EB3C1F5FB2E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5CAD56A-462D-4366-9EFB-54581CD299AF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277C2FCB-7D05-4824-AE10-F453FE482C72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6019EDE9-B07A-4FD5-87B9-487B5E3194EF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E57DE58C-884C-473D-88BB-56EE3548B302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4E622CD9-12E7-481D-9568-392632F69D07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2CB86C1E-34D9-4E0F-88EC-65476446F32C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D932AD99-53C0-46CD-960C-6F1735F80A7B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6C6EC568-17DB-458F-9492-F1CC33DF1A00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045AFC19-C641-4E38-8827-516270B72E11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0" name="Content Placeholder 59">
            <a:extLst>
              <a:ext uri="{FF2B5EF4-FFF2-40B4-BE49-F238E27FC236}">
                <a16:creationId xmlns:a16="http://schemas.microsoft.com/office/drawing/2014/main" id="{8EFE1F84-4849-448C-8C35-33EC553AD83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538914" y="1860550"/>
            <a:ext cx="5065254" cy="26860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470794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fram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CB31FDED-D159-4F4F-8CA3-B83301DF537B}"/>
              </a:ext>
            </a:extLst>
          </p:cNvPr>
          <p:cNvSpPr/>
          <p:nvPr/>
        </p:nvSpPr>
        <p:spPr bwMode="ltGray">
          <a:xfrm>
            <a:off x="10441275" y="5951300"/>
            <a:ext cx="1627670" cy="906700"/>
          </a:xfrm>
          <a:custGeom>
            <a:avLst/>
            <a:gdLst>
              <a:gd name="connsiteX0" fmla="*/ 838774 w 1585477"/>
              <a:gd name="connsiteY0" fmla="*/ 14 h 883197"/>
              <a:gd name="connsiteX1" fmla="*/ 996107 w 1585477"/>
              <a:gd name="connsiteY1" fmla="*/ 18377 h 883197"/>
              <a:gd name="connsiteX2" fmla="*/ 1585477 w 1585477"/>
              <a:gd name="connsiteY2" fmla="*/ 746145 h 883197"/>
              <a:gd name="connsiteX3" fmla="*/ 1585202 w 1585477"/>
              <a:gd name="connsiteY3" fmla="*/ 883197 h 883197"/>
              <a:gd name="connsiteX4" fmla="*/ 695 w 1585477"/>
              <a:gd name="connsiteY4" fmla="*/ 883197 h 883197"/>
              <a:gd name="connsiteX5" fmla="*/ 294 w 1585477"/>
              <a:gd name="connsiteY5" fmla="*/ 879328 h 883197"/>
              <a:gd name="connsiteX6" fmla="*/ 20167 w 1585477"/>
              <a:gd name="connsiteY6" fmla="*/ 648487 h 883197"/>
              <a:gd name="connsiteX7" fmla="*/ 838774 w 1585477"/>
              <a:gd name="connsiteY7" fmla="*/ 14 h 883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85477" h="883197">
                <a:moveTo>
                  <a:pt x="838774" y="14"/>
                </a:moveTo>
                <a:cubicBezTo>
                  <a:pt x="891699" y="335"/>
                  <a:pt x="944452" y="6288"/>
                  <a:pt x="996107" y="18377"/>
                </a:cubicBezTo>
                <a:cubicBezTo>
                  <a:pt x="1344865" y="100437"/>
                  <a:pt x="1558993" y="409128"/>
                  <a:pt x="1585477" y="746145"/>
                </a:cubicBezTo>
                <a:lnTo>
                  <a:pt x="1585202" y="883197"/>
                </a:lnTo>
                <a:lnTo>
                  <a:pt x="695" y="883197"/>
                </a:lnTo>
                <a:lnTo>
                  <a:pt x="294" y="879328"/>
                </a:lnTo>
                <a:cubicBezTo>
                  <a:pt x="-1813" y="797038"/>
                  <a:pt x="7712" y="718092"/>
                  <a:pt x="20167" y="648487"/>
                </a:cubicBezTo>
                <a:cubicBezTo>
                  <a:pt x="89408" y="271519"/>
                  <a:pt x="468297" y="-2229"/>
                  <a:pt x="838774" y="14"/>
                </a:cubicBezTo>
                <a:close/>
              </a:path>
            </a:pathLst>
          </a:custGeom>
          <a:solidFill>
            <a:srgbClr val="4F2170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9A604104-23C8-45DB-B8E5-CC8FD54A777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047573 w 12192000"/>
              <a:gd name="connsiteY3" fmla="*/ 6858000 h 6858000"/>
              <a:gd name="connsiteX4" fmla="*/ 12047848 w 12192000"/>
              <a:gd name="connsiteY4" fmla="*/ 6720949 h 6858000"/>
              <a:gd name="connsiteX5" fmla="*/ 11458478 w 12192000"/>
              <a:gd name="connsiteY5" fmla="*/ 5993181 h 6858000"/>
              <a:gd name="connsiteX6" fmla="*/ 11301145 w 12192000"/>
              <a:gd name="connsiteY6" fmla="*/ 5974818 h 6858000"/>
              <a:gd name="connsiteX7" fmla="*/ 10482538 w 12192000"/>
              <a:gd name="connsiteY7" fmla="*/ 6623291 h 6858000"/>
              <a:gd name="connsiteX8" fmla="*/ 10462665 w 12192000"/>
              <a:gd name="connsiteY8" fmla="*/ 6854132 h 6858000"/>
              <a:gd name="connsiteX9" fmla="*/ 10463066 w 12192000"/>
              <a:gd name="connsiteY9" fmla="*/ 6858000 h 6858000"/>
              <a:gd name="connsiteX10" fmla="*/ 0 w 12192000"/>
              <a:gd name="connsiteY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047573" y="6858000"/>
                </a:lnTo>
                <a:lnTo>
                  <a:pt x="12047848" y="6720949"/>
                </a:lnTo>
                <a:cubicBezTo>
                  <a:pt x="12021364" y="6383932"/>
                  <a:pt x="11807236" y="6075241"/>
                  <a:pt x="11458478" y="5993181"/>
                </a:cubicBezTo>
                <a:cubicBezTo>
                  <a:pt x="11406823" y="5981092"/>
                  <a:pt x="11354070" y="5975139"/>
                  <a:pt x="11301145" y="5974818"/>
                </a:cubicBezTo>
                <a:cubicBezTo>
                  <a:pt x="10930668" y="5972575"/>
                  <a:pt x="10551779" y="6246323"/>
                  <a:pt x="10482538" y="6623291"/>
                </a:cubicBezTo>
                <a:cubicBezTo>
                  <a:pt x="10470083" y="6692896"/>
                  <a:pt x="10460558" y="6771842"/>
                  <a:pt x="10462665" y="6854132"/>
                </a:cubicBezTo>
                <a:lnTo>
                  <a:pt x="10463066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3657600" tIns="0" rIns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full slide image is 1280 x 720 pixels)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C975EE0-AD02-4365-B012-AEF1EB027E17}"/>
              </a:ext>
            </a:extLst>
          </p:cNvPr>
          <p:cNvGrpSpPr>
            <a:grpSpLocks noChangeAspect="1"/>
          </p:cNvGrpSpPr>
          <p:nvPr/>
        </p:nvGrpSpPr>
        <p:grpSpPr>
          <a:xfrm>
            <a:off x="10676779" y="6205751"/>
            <a:ext cx="1143000" cy="440144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E98E784-FC01-4610-B058-2CCB322671BA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FF2B29D-E74D-4303-BB3A-2284D731A034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FD16FEA-B5DB-4F05-ABCB-F67FBB3F290E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73DE2517-FFDB-44E3-991E-865C415B8826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56F7D03-AC74-4987-8247-B58A990351E5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DBEEF49-1973-43EE-ABD4-7E037813A7B0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DB7EADA-FB78-4FA9-9520-D83E0D8F84CD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48CB4A2-0C87-47C9-8C4B-B9BA3E2C90BC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2D2D5C1-4179-4736-BA45-C19AC8497060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8B32661-72D5-4F04-ACE1-EC30AB0CDE8C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A331478-F85F-4D3E-A6DA-5647BA14CD3D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F8068D5-9178-44A0-AAEB-6F35EED63A67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3593E3-C1E4-4BBB-8B41-202BB57C5F6D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5BB18E18-DA27-4B34-9C93-966E6D88235F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499867C-A199-4323-96E0-4E372C32987F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F5424D8-84CB-4710-93EA-67FB2CF29EAF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DDB42FA-72B7-4EC6-8731-88363F1EC79A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178809C4-0D47-4B10-9CB8-45403FAB078D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8D60CB4-24EE-4286-B104-B1E7780F25F7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AC807290-9044-47A7-90E1-CA3E462987B6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344258D2-EA42-49C8-AB37-BBF96FAEA587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CAE1932C-E9CE-473B-AC83-46E902037AB3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D230A14-0748-4725-BC9F-A79515DCCFDB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C00DD94-854F-4950-9148-B594259CA291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80C20D3-903A-4021-AA27-6ABEDC98B36B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D2B49219-FA68-4BFE-A6FB-19D2B0D4C1FF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3B3E68FC-F99A-473C-A1B9-AA803E7F6CFB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974323F7-3F56-422F-B8F9-319B4269C514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D6AB36C-2BB9-458F-9B65-F616640B5697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7CD6E50-E0F0-4933-B850-6730D4173539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2771C143-A1F3-4138-9AAE-B59B0482EED3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87BD61EB-293E-42B3-9B29-34C68BECB4A0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85E6D875-3902-4C5B-BBC1-7ADBFCB34A9E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28EECE7A-152F-483E-BC66-3DB3F1A6A039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559998B0-FBE4-4736-A71B-DC348C340448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D6B1EBFD-5AF9-4242-8571-9084369DA914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DACE59F3-2EE9-4012-9B0E-5DB4FD2A2FEB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D787845E-4C98-468A-9220-DFECC42D7793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F01B5A5D-AC20-4D4A-B5F5-61EADCE4E37B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EBB7AA59-7E0F-4BB4-B767-0A6C688AD926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208AE6F-C8BE-4B86-B1BE-7988067A1FC0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9BE78E02-CB57-4CB4-BB07-0110782AEE7D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2" name="Title 51">
            <a:extLst>
              <a:ext uri="{FF2B5EF4-FFF2-40B4-BE49-F238E27FC236}">
                <a16:creationId xmlns:a16="http://schemas.microsoft.com/office/drawing/2014/main" id="{A2A18BD8-58F2-477C-8542-F5233F2756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" y="457200"/>
            <a:ext cx="5950857" cy="1904999"/>
          </a:xfrm>
        </p:spPr>
        <p:txBody>
          <a:bodyPr/>
          <a:lstStyle>
            <a:lvl1pPr>
              <a:lnSpc>
                <a:spcPct val="82000"/>
              </a:lnSpc>
              <a:defRPr sz="6000"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111325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e Statement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1AE889-7B80-4DAF-BFF1-2CAC896A36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400" y="914400"/>
            <a:ext cx="7315200" cy="2174793"/>
          </a:xfrm>
        </p:spPr>
        <p:txBody>
          <a:bodyPr/>
          <a:lstStyle>
            <a:lvl1pPr algn="ctr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71F4C7A-D51B-409D-B308-C00E68C12219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4953000" y="5133162"/>
            <a:ext cx="2286000" cy="880288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62DCCC1-7C34-4D1F-92D6-D0FF7F1B2A08}"/>
                </a:ext>
              </a:extLst>
            </p:cNvPr>
            <p:cNvSpPr/>
            <p:nvPr/>
          </p:nvSpPr>
          <p:spPr bwMode="black"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B13D148-83B4-497C-BE6D-DB88AFAE198E}"/>
                </a:ext>
              </a:extLst>
            </p:cNvPr>
            <p:cNvSpPr/>
            <p:nvPr/>
          </p:nvSpPr>
          <p:spPr bwMode="black"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9906698-4C68-4028-AC80-CD35DAA2E8F3}"/>
                </a:ext>
              </a:extLst>
            </p:cNvPr>
            <p:cNvSpPr/>
            <p:nvPr/>
          </p:nvSpPr>
          <p:spPr bwMode="black"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3AA08F4D-A063-49F1-9F3A-664ECBD5F559}"/>
                </a:ext>
              </a:extLst>
            </p:cNvPr>
            <p:cNvSpPr/>
            <p:nvPr/>
          </p:nvSpPr>
          <p:spPr bwMode="black"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0E708B89-C029-4E8F-90DC-F57AF9480A68}"/>
                </a:ext>
              </a:extLst>
            </p:cNvPr>
            <p:cNvSpPr/>
            <p:nvPr/>
          </p:nvSpPr>
          <p:spPr bwMode="black"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DDD9D23-0A6F-4E21-A479-DEAE1945838C}"/>
                </a:ext>
              </a:extLst>
            </p:cNvPr>
            <p:cNvSpPr/>
            <p:nvPr/>
          </p:nvSpPr>
          <p:spPr bwMode="black"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1724715-0A45-4BE3-A597-2830FDE28465}"/>
                </a:ext>
              </a:extLst>
            </p:cNvPr>
            <p:cNvSpPr/>
            <p:nvPr/>
          </p:nvSpPr>
          <p:spPr bwMode="black"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593EB291-8728-49FA-9E36-DE65910405B8}"/>
                </a:ext>
              </a:extLst>
            </p:cNvPr>
            <p:cNvSpPr/>
            <p:nvPr/>
          </p:nvSpPr>
          <p:spPr bwMode="black"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63A2B5F-9AD4-4AAF-AD5C-3745453610BF}"/>
                </a:ext>
              </a:extLst>
            </p:cNvPr>
            <p:cNvSpPr/>
            <p:nvPr/>
          </p:nvSpPr>
          <p:spPr bwMode="black"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29DE044-2228-4555-82E1-80DD994AA315}"/>
                </a:ext>
              </a:extLst>
            </p:cNvPr>
            <p:cNvSpPr/>
            <p:nvPr/>
          </p:nvSpPr>
          <p:spPr bwMode="black"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7F92585-5CB0-465E-966D-B7CD61BB094D}"/>
                </a:ext>
              </a:extLst>
            </p:cNvPr>
            <p:cNvSpPr/>
            <p:nvPr/>
          </p:nvSpPr>
          <p:spPr bwMode="black"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C2EF953C-F1A9-48A1-8B50-74DC119D4014}"/>
                </a:ext>
              </a:extLst>
            </p:cNvPr>
            <p:cNvSpPr/>
            <p:nvPr/>
          </p:nvSpPr>
          <p:spPr bwMode="black"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8FBF042-8DD5-4B32-9D19-E3D2DA0CDCC4}"/>
                </a:ext>
              </a:extLst>
            </p:cNvPr>
            <p:cNvSpPr/>
            <p:nvPr/>
          </p:nvSpPr>
          <p:spPr bwMode="black"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95AAF35-711C-45B3-8B74-63476C9F4CA3}"/>
                </a:ext>
              </a:extLst>
            </p:cNvPr>
            <p:cNvSpPr/>
            <p:nvPr/>
          </p:nvSpPr>
          <p:spPr bwMode="black"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E13AA7EB-514D-4A09-BD66-80053F00347D}"/>
                </a:ext>
              </a:extLst>
            </p:cNvPr>
            <p:cNvSpPr/>
            <p:nvPr/>
          </p:nvSpPr>
          <p:spPr bwMode="black"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B6801FA-EDF1-44B7-B74A-D233D1901FB2}"/>
                </a:ext>
              </a:extLst>
            </p:cNvPr>
            <p:cNvSpPr/>
            <p:nvPr/>
          </p:nvSpPr>
          <p:spPr bwMode="black"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B2E6C61-DDF2-47D9-8A25-89BB69487158}"/>
                </a:ext>
              </a:extLst>
            </p:cNvPr>
            <p:cNvSpPr/>
            <p:nvPr/>
          </p:nvSpPr>
          <p:spPr bwMode="black"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6DF9C6F1-437C-49ED-BDB4-BFA7F469DBE7}"/>
                </a:ext>
              </a:extLst>
            </p:cNvPr>
            <p:cNvSpPr/>
            <p:nvPr/>
          </p:nvSpPr>
          <p:spPr bwMode="black"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1980F842-8843-4ECD-BDE7-3CD6D542F555}"/>
                </a:ext>
              </a:extLst>
            </p:cNvPr>
            <p:cNvSpPr/>
            <p:nvPr/>
          </p:nvSpPr>
          <p:spPr bwMode="black"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5814236-BEAA-4CFC-B101-3AEF7AA8B77B}"/>
                </a:ext>
              </a:extLst>
            </p:cNvPr>
            <p:cNvSpPr/>
            <p:nvPr/>
          </p:nvSpPr>
          <p:spPr bwMode="black"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ED7C96E-27D1-4907-930F-0FBC0B6CF852}"/>
                </a:ext>
              </a:extLst>
            </p:cNvPr>
            <p:cNvSpPr/>
            <p:nvPr/>
          </p:nvSpPr>
          <p:spPr bwMode="black"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7858C7E-AF70-4F67-B2E8-5ADA3F580674}"/>
                </a:ext>
              </a:extLst>
            </p:cNvPr>
            <p:cNvSpPr/>
            <p:nvPr/>
          </p:nvSpPr>
          <p:spPr bwMode="black"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C38C734-4415-4F9B-B96B-AE7393B02692}"/>
                </a:ext>
              </a:extLst>
            </p:cNvPr>
            <p:cNvSpPr/>
            <p:nvPr/>
          </p:nvSpPr>
          <p:spPr bwMode="black"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BCC10D7-F9B5-4884-95E0-76FFA954D306}"/>
                </a:ext>
              </a:extLst>
            </p:cNvPr>
            <p:cNvSpPr/>
            <p:nvPr/>
          </p:nvSpPr>
          <p:spPr bwMode="black"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C3432CC-EC60-49E1-82E4-7E2CBE3EE40A}"/>
                </a:ext>
              </a:extLst>
            </p:cNvPr>
            <p:cNvSpPr/>
            <p:nvPr/>
          </p:nvSpPr>
          <p:spPr bwMode="black"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96C76B7-245D-481E-B35F-7C1ECEB9548A}"/>
                </a:ext>
              </a:extLst>
            </p:cNvPr>
            <p:cNvSpPr/>
            <p:nvPr/>
          </p:nvSpPr>
          <p:spPr bwMode="black"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8338E1C-6445-4350-AB97-162B440CB474}"/>
                </a:ext>
              </a:extLst>
            </p:cNvPr>
            <p:cNvSpPr/>
            <p:nvPr/>
          </p:nvSpPr>
          <p:spPr bwMode="black"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520C9512-69D6-40AE-A46C-46C7A8C18D0E}"/>
                </a:ext>
              </a:extLst>
            </p:cNvPr>
            <p:cNvSpPr/>
            <p:nvPr/>
          </p:nvSpPr>
          <p:spPr bwMode="black"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76824091-EA77-4290-B5D8-D9ABB8E8F443}"/>
                </a:ext>
              </a:extLst>
            </p:cNvPr>
            <p:cNvSpPr/>
            <p:nvPr/>
          </p:nvSpPr>
          <p:spPr bwMode="black"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71747A0A-4A0D-474C-A3A8-8C14A8B72D4D}"/>
                </a:ext>
              </a:extLst>
            </p:cNvPr>
            <p:cNvSpPr/>
            <p:nvPr/>
          </p:nvSpPr>
          <p:spPr bwMode="black"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5536A8A-2076-4C05-9C5C-7E9AD95BA4CB}"/>
                </a:ext>
              </a:extLst>
            </p:cNvPr>
            <p:cNvSpPr/>
            <p:nvPr/>
          </p:nvSpPr>
          <p:spPr bwMode="black"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A9620A82-35FD-44A4-8994-CE526DA47B24}"/>
                </a:ext>
              </a:extLst>
            </p:cNvPr>
            <p:cNvSpPr/>
            <p:nvPr/>
          </p:nvSpPr>
          <p:spPr bwMode="black"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26D7F20F-A650-4743-9FC0-A2573AB641DE}"/>
                </a:ext>
              </a:extLst>
            </p:cNvPr>
            <p:cNvSpPr/>
            <p:nvPr/>
          </p:nvSpPr>
          <p:spPr bwMode="black"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DCBE3A4A-2817-40F0-9829-E5E0844F1DDF}"/>
                </a:ext>
              </a:extLst>
            </p:cNvPr>
            <p:cNvSpPr/>
            <p:nvPr/>
          </p:nvSpPr>
          <p:spPr bwMode="black"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71994F37-B45E-48F6-A426-16BA0C3A0618}"/>
                </a:ext>
              </a:extLst>
            </p:cNvPr>
            <p:cNvSpPr/>
            <p:nvPr/>
          </p:nvSpPr>
          <p:spPr bwMode="black"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127A624-42CC-4E96-BDC2-D7800A80C6A5}"/>
                </a:ext>
              </a:extLst>
            </p:cNvPr>
            <p:cNvSpPr/>
            <p:nvPr/>
          </p:nvSpPr>
          <p:spPr bwMode="black"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5EB8DCA6-2948-47B4-BC21-51F554D02642}"/>
                </a:ext>
              </a:extLst>
            </p:cNvPr>
            <p:cNvSpPr/>
            <p:nvPr/>
          </p:nvSpPr>
          <p:spPr bwMode="black"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987E6C4C-5076-4CC1-8A31-4708BB874E99}"/>
                </a:ext>
              </a:extLst>
            </p:cNvPr>
            <p:cNvSpPr/>
            <p:nvPr/>
          </p:nvSpPr>
          <p:spPr bwMode="black"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55A557F2-2B51-4A94-8BAD-38C184786E6F}"/>
                </a:ext>
              </a:extLst>
            </p:cNvPr>
            <p:cNvSpPr/>
            <p:nvPr/>
          </p:nvSpPr>
          <p:spPr bwMode="black"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91CD0877-E703-46CC-91C2-0B64DCDDC22E}"/>
                </a:ext>
              </a:extLst>
            </p:cNvPr>
            <p:cNvSpPr/>
            <p:nvPr/>
          </p:nvSpPr>
          <p:spPr bwMode="black"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5D27D3A3-0135-48AE-8310-53F0B4338891}"/>
                </a:ext>
              </a:extLst>
            </p:cNvPr>
            <p:cNvSpPr/>
            <p:nvPr/>
          </p:nvSpPr>
          <p:spPr bwMode="black"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D3100DEA-196D-4FF4-B6C0-73F96315C0B0}"/>
                </a:ext>
              </a:extLst>
            </p:cNvPr>
            <p:cNvSpPr/>
            <p:nvPr/>
          </p:nvSpPr>
          <p:spPr bwMode="black"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9" name="Text Placeholder 53">
            <a:extLst>
              <a:ext uri="{FF2B5EF4-FFF2-40B4-BE49-F238E27FC236}">
                <a16:creationId xmlns:a16="http://schemas.microsoft.com/office/drawing/2014/main" id="{5B8EF472-40A4-439A-B62A-2B3D53CEFD5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38400" y="3422650"/>
            <a:ext cx="7315200" cy="64008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49068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8BD37D-F050-4443-A487-60726AD46F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884B931-F05F-4E7D-B4A8-15A4ABE7DE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E0D7A9-D51E-4346-B207-B8159C3E19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FEB38-5A4E-45E5-A640-26D00BC1F3AB}" type="datetimeFigureOut">
              <a:rPr lang="en-US"/>
              <a:t>6/1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A6C9F8-2065-4458-BCFA-8C9ECE20BB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6B46DC-8DF4-4C60-9170-18A1563C49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F95A1E-4E3E-4AAD-A517-7DAD9580D6B2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44499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1DA1F28-9C93-4336-8693-7CB6A06B6BA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0655300" y="457200"/>
            <a:ext cx="1155700" cy="55626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ECB423A-9022-4A15-B482-E98FE360EDA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81000" y="457200"/>
            <a:ext cx="10033000" cy="5562600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132CDD-31EE-4AA1-8BDA-B32EF5407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FEB38-5A4E-45E5-A640-26D00BC1F3AB}" type="datetimeFigureOut">
              <a:rPr lang="en-US"/>
              <a:t>6/1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3E4C41-B1D2-4534-9A0D-8BA94B6B8F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A2C4A0-B694-46FC-BC70-9DD74904A4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F95A1E-4E3E-4AAD-A517-7DAD9580D6B2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45877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Circle Pict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655B1FCA-4D49-4122-B6E9-D550AA0C5E7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2"/>
            <a:ext cx="5266036" cy="6857999"/>
          </a:xfrm>
          <a:custGeom>
            <a:avLst/>
            <a:gdLst>
              <a:gd name="connsiteX0" fmla="*/ 0 w 5266036"/>
              <a:gd name="connsiteY0" fmla="*/ 0 h 6857999"/>
              <a:gd name="connsiteX1" fmla="*/ 3014696 w 5266036"/>
              <a:gd name="connsiteY1" fmla="*/ 0 h 6857999"/>
              <a:gd name="connsiteX2" fmla="*/ 3040982 w 5266036"/>
              <a:gd name="connsiteY2" fmla="*/ 11408 h 6857999"/>
              <a:gd name="connsiteX3" fmla="*/ 5250901 w 5266036"/>
              <a:gd name="connsiteY3" fmla="*/ 4085922 h 6857999"/>
              <a:gd name="connsiteX4" fmla="*/ 3435696 w 5266036"/>
              <a:gd name="connsiteY4" fmla="*/ 6839477 h 6857999"/>
              <a:gd name="connsiteX5" fmla="*/ 3398838 w 5266036"/>
              <a:gd name="connsiteY5" fmla="*/ 6857999 h 6857999"/>
              <a:gd name="connsiteX6" fmla="*/ 0 w 5266036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66036" h="6857999">
                <a:moveTo>
                  <a:pt x="0" y="0"/>
                </a:moveTo>
                <a:lnTo>
                  <a:pt x="3014696" y="0"/>
                </a:lnTo>
                <a:lnTo>
                  <a:pt x="3040982" y="11408"/>
                </a:lnTo>
                <a:cubicBezTo>
                  <a:pt x="4562919" y="717837"/>
                  <a:pt x="5390071" y="2397951"/>
                  <a:pt x="5250901" y="4085922"/>
                </a:cubicBezTo>
                <a:cubicBezTo>
                  <a:pt x="5138669" y="5484335"/>
                  <a:pt x="4361602" y="6343612"/>
                  <a:pt x="3435696" y="6839477"/>
                </a:cubicBezTo>
                <a:lnTo>
                  <a:pt x="3398838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tIns="365760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half slide image is 640 x 720 pixels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6608E2E-E744-4878-A234-60F6B6711C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3306349"/>
            <a:ext cx="5715000" cy="73152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Subtitle or Presenter Nam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534CB02-81D9-4803-9899-8E6A2EABA9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457200"/>
            <a:ext cx="5715000" cy="2565401"/>
          </a:xfrm>
        </p:spPr>
        <p:txBody>
          <a:bodyPr/>
          <a:lstStyle>
            <a:lvl1pPr>
              <a:lnSpc>
                <a:spcPct val="82000"/>
              </a:lnSpc>
              <a:defRPr sz="6600" b="0"/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A6D84BC-9F4C-46D1-BCFD-02C11A706D43}"/>
              </a:ext>
            </a:extLst>
          </p:cNvPr>
          <p:cNvGrpSpPr>
            <a:grpSpLocks noChangeAspect="1"/>
          </p:cNvGrpSpPr>
          <p:nvPr/>
        </p:nvGrpSpPr>
        <p:grpSpPr>
          <a:xfrm>
            <a:off x="9544152" y="5543531"/>
            <a:ext cx="2286000" cy="880288"/>
            <a:chOff x="2078951" y="1888610"/>
            <a:chExt cx="8030200" cy="3092248"/>
          </a:xfrm>
          <a:solidFill>
            <a:srgbClr val="4F2170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272DA5A-B0A1-4433-AF19-58D29499701D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10AB75D-54FA-4127-838D-A2CDC911B648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73C4E44-0B9D-4D7D-A72A-E10AA3E25788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F17AEE1-933D-430A-938B-044F9EEF7E0F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A198EB9-1147-497F-9629-D20241548224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489DA5D-3FDF-41B6-8FEC-3BAA766E6DD2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7AA4C2C-CCD9-4698-B061-F47DE3A46C84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899E50A-6EE7-43FA-8BC5-A3FC97DE7DC4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AB6D96F-3061-42BC-92D0-1BF63F8246F4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6E90DD0-D326-4354-B19D-6B25CA8E122A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C8EBEE1-EF8C-4C52-8690-44C2ACEA5D70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0406D85-B240-4DDD-A872-237D9A7B6040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4692158-F77E-4CC1-B129-4C7D59571AEE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0135833-3309-460C-8E4A-15D74B05AF6B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5215576-30F2-4AAD-8485-216D0761A724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97F4014-0506-40C3-9D6E-9D29B34F6404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2CECD138-51CC-425A-86A7-D780954B759C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672872F-0F50-4B3B-9CEE-35C229AA0CF9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04A581DD-06BD-44EA-9E2D-8FB253851F92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8E29341-2391-4754-93F4-DE7EF2D3370D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95B7127F-7A53-40C2-B41D-3D96503E3CC7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14B5140-BD02-4841-AF70-6D377E4DF2E9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16C21D7B-C520-4401-BFFD-43EA75B9B3F0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DB9B60B4-35FC-49B0-906A-7C704B6B94BA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550272F-F181-4670-9AB4-62C5CF01BC3A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F128CAF-7E33-41B3-941E-1DA081A62D07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C35D844-DD99-4858-9C8F-7E64319ECEC1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B5B50CFE-2A9A-43B6-BAED-D4D319AF496E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A3220ED-525E-42D0-945D-DABC984A9613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F9C0273-E1F4-49D7-992B-B560253BF396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C93ECA97-B97C-4583-903C-CA4913633E3F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27E45CBE-6678-447C-B516-5E394D02935C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891440AF-BE0A-4FCF-8580-12C0D6978EDB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2824A636-A433-4E44-BCE1-4D747AEE8B2B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BC039864-996D-45FB-8953-B06D02EC1B41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E252413E-95D4-436B-9CDD-1C43CDFDF645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788C5136-65D1-40F1-A383-12AEB2FDD611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9724F851-AB55-47D5-B0E8-62214C52C678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100ABB2F-82B3-4313-9667-9D4CAE736D8E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BF1535FC-5A93-427B-B4B5-A62EC2FC69C2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88832EF-632C-43A0-AFE1-06D043A20CAF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872BE12F-3FBC-4635-99C7-4788DC937AE2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8177245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E6AF23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rgbClr val="666666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8BD707-D9CF-40AE-B4C6-C98DA3205C09}" type="datetimeFigureOut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66666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/12/202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66666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sz="800" b="0" i="0" u="none" strike="noStrike" kern="1200" cap="none" spc="0" normalizeH="0" baseline="0" noProof="0">
                <a:ln>
                  <a:noFill/>
                </a:ln>
                <a:solidFill>
                  <a:srgbClr val="666666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rgbClr val="666666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33626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ar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E16ABAE-AE83-552B-EF9D-DA03DE38749E}"/>
              </a:ext>
            </a:extLst>
          </p:cNvPr>
          <p:cNvSpPr/>
          <p:nvPr userDrawn="1"/>
        </p:nvSpPr>
        <p:spPr>
          <a:xfrm>
            <a:off x="0" y="0"/>
            <a:ext cx="12192000" cy="914400"/>
          </a:xfrm>
          <a:prstGeom prst="rect">
            <a:avLst/>
          </a:prstGeom>
          <a:solidFill>
            <a:srgbClr val="4F21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A593348-F93D-4FEF-A9B9-1AEA4A21A6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214533"/>
            <a:ext cx="11430001" cy="4853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4265902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a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E16ABAE-AE83-552B-EF9D-DA03DE38749E}"/>
              </a:ext>
            </a:extLst>
          </p:cNvPr>
          <p:cNvSpPr/>
          <p:nvPr userDrawn="1"/>
        </p:nvSpPr>
        <p:spPr>
          <a:xfrm>
            <a:off x="0" y="0"/>
            <a:ext cx="12192000" cy="914400"/>
          </a:xfrm>
          <a:prstGeom prst="rect">
            <a:avLst/>
          </a:prstGeom>
          <a:solidFill>
            <a:srgbClr val="E187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A593348-F93D-4FEF-A9B9-1AEA4A21A6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214533"/>
            <a:ext cx="11430001" cy="4853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7411366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Circle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655B1FCA-4D49-4122-B6E9-D550AA0C5E7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2"/>
            <a:ext cx="5266036" cy="6857999"/>
          </a:xfrm>
          <a:custGeom>
            <a:avLst/>
            <a:gdLst>
              <a:gd name="connsiteX0" fmla="*/ 0 w 5266036"/>
              <a:gd name="connsiteY0" fmla="*/ 0 h 6857999"/>
              <a:gd name="connsiteX1" fmla="*/ 3014696 w 5266036"/>
              <a:gd name="connsiteY1" fmla="*/ 0 h 6857999"/>
              <a:gd name="connsiteX2" fmla="*/ 3040982 w 5266036"/>
              <a:gd name="connsiteY2" fmla="*/ 11408 h 6857999"/>
              <a:gd name="connsiteX3" fmla="*/ 5250901 w 5266036"/>
              <a:gd name="connsiteY3" fmla="*/ 4085922 h 6857999"/>
              <a:gd name="connsiteX4" fmla="*/ 3435696 w 5266036"/>
              <a:gd name="connsiteY4" fmla="*/ 6839477 h 6857999"/>
              <a:gd name="connsiteX5" fmla="*/ 3398838 w 5266036"/>
              <a:gd name="connsiteY5" fmla="*/ 6857999 h 6857999"/>
              <a:gd name="connsiteX6" fmla="*/ 0 w 5266036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66036" h="6857999">
                <a:moveTo>
                  <a:pt x="0" y="0"/>
                </a:moveTo>
                <a:lnTo>
                  <a:pt x="3014696" y="0"/>
                </a:lnTo>
                <a:lnTo>
                  <a:pt x="3040982" y="11408"/>
                </a:lnTo>
                <a:cubicBezTo>
                  <a:pt x="4562919" y="717837"/>
                  <a:pt x="5390071" y="2397951"/>
                  <a:pt x="5250901" y="4085922"/>
                </a:cubicBezTo>
                <a:cubicBezTo>
                  <a:pt x="5138669" y="5484335"/>
                  <a:pt x="4361602" y="6343612"/>
                  <a:pt x="3435696" y="6839477"/>
                </a:cubicBezTo>
                <a:lnTo>
                  <a:pt x="3398838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tIns="365760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half slide image is 640 x 720 pixels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6608E2E-E744-4878-A234-60F6B6711C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3306349"/>
            <a:ext cx="5638800" cy="72208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Subtitle or Presenter Nam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534CB02-81D9-4803-9899-8E6A2EABA9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457200"/>
            <a:ext cx="5715000" cy="2565401"/>
          </a:xfrm>
        </p:spPr>
        <p:txBody>
          <a:bodyPr/>
          <a:lstStyle>
            <a:lvl1pPr>
              <a:lnSpc>
                <a:spcPct val="82000"/>
              </a:lnSpc>
              <a:defRPr sz="6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A3D9FA7-D2DB-46FB-BE00-B926A730276E}"/>
              </a:ext>
            </a:extLst>
          </p:cNvPr>
          <p:cNvGrpSpPr>
            <a:grpSpLocks noChangeAspect="1"/>
          </p:cNvGrpSpPr>
          <p:nvPr/>
        </p:nvGrpSpPr>
        <p:grpSpPr>
          <a:xfrm>
            <a:off x="9544152" y="5543531"/>
            <a:ext cx="2286000" cy="880288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958E2998-F3DA-4CEC-9A7D-6C088E1B4977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94CA604-4385-462E-97F5-497C4C504015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0115F7ED-889E-4F9E-A1EC-B09712AAF8F4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F6E4E17-2397-4CA3-ABA9-61E3BD559404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F13A5CD1-6182-4595-B8A8-D785063BF716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5D0FE459-FDBA-4224-BF8C-7FB56F088B01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792F31E-ABF9-488A-BA83-294468B5A968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33162D5-7247-412F-A7EA-E2527FDDE86B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2A5EB49-78D9-47C5-8F4C-92D82FF96117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153BD94-FC6C-491C-87CC-FE707C871FD4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BC82946-E68D-4E5D-A508-7F6DEA272480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1FFC926-DCB2-4DFD-8921-31D3740A1576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7D561CC-A307-418B-BB5B-2E9F6029C1FE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3B41DF09-4DE2-4BA3-8850-42F1FE05A316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2F743D14-4DD4-4BBF-9C77-D2CF60D0443C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9390E2C-0C7D-4CE4-9EDE-DDC867E57F7C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4A0F7AE-90E5-429D-94C7-CEF924483DC2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975E2EAA-30F6-4FD9-AD9B-7853CD78081E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527C85E-1B82-4FE6-BBB7-5F2120F9A818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B55D4A9-FB64-4681-89C3-FE7FC1BA5D7D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0CF25C3-5B20-4C65-97E6-2FCBDCF69FA5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5C2C835-ACA7-4713-BA24-2EC3F725F54B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D839F09-6869-4782-997A-C1DB13D3FAFD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3EAC811-8309-4A43-8AAB-7D47E24129FF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B8AA284-744C-4339-8893-D6368FD10AAE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C865B7A3-B595-43E8-9EBD-1FED225C9FCB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BD1848C6-7FFC-4763-9871-A8C7CE2CBD6C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397BA53C-5927-4890-95E0-16501B2A2A63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3C9EF25D-B45E-483F-A696-70FB19DAB924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2AC84430-0710-42C3-979B-215E8CEF9C69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42A3273-E3DC-4FAE-9AFF-EC913E562EE9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90D7267-1414-4CB3-9CEF-BEBE0366111F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0F39874A-9569-4901-8D42-9F6951FAB3F9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B56393A6-A398-46C6-84A8-A69133016DD7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CC240AB8-C073-4DBB-B4F1-A7BAF3CDDD94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256CA01-A592-4EFF-B363-73DF3F9E94E9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0841B5E-00CD-4F84-848E-6459D72CA08D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9BA4167D-13BE-4368-9C93-86A0A7BA3944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4CD57581-16D5-457C-AB8A-C39E91AF7848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9A128766-36EC-4898-BC9F-3A0ED7FC0E84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3894E878-CEB4-4E65-853B-05717F1F47A5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64463117-BF45-4116-9B90-88E469EA87AD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61188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Full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Picture Placeholder 56">
            <a:extLst>
              <a:ext uri="{FF2B5EF4-FFF2-40B4-BE49-F238E27FC236}">
                <a16:creationId xmlns:a16="http://schemas.microsoft.com/office/drawing/2014/main" id="{2410F133-604A-4AC7-8A06-35B16808E8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459602" y="0"/>
            <a:ext cx="8732399" cy="6858000"/>
          </a:xfrm>
          <a:custGeom>
            <a:avLst/>
            <a:gdLst>
              <a:gd name="connsiteX0" fmla="*/ 343919 w 8732399"/>
              <a:gd name="connsiteY0" fmla="*/ 0 h 6858000"/>
              <a:gd name="connsiteX1" fmla="*/ 8732399 w 8732399"/>
              <a:gd name="connsiteY1" fmla="*/ 0 h 6858000"/>
              <a:gd name="connsiteX2" fmla="*/ 8732399 w 8732399"/>
              <a:gd name="connsiteY2" fmla="*/ 6858000 h 6858000"/>
              <a:gd name="connsiteX3" fmla="*/ 0 w 8732399"/>
              <a:gd name="connsiteY3" fmla="*/ 6858000 h 6858000"/>
              <a:gd name="connsiteX4" fmla="*/ 177693 w 8732399"/>
              <a:gd name="connsiteY4" fmla="*/ 6768713 h 6858000"/>
              <a:gd name="connsiteX5" fmla="*/ 2063325 w 8732399"/>
              <a:gd name="connsiteY5" fmla="*/ 3899618 h 6858000"/>
              <a:gd name="connsiteX6" fmla="*/ 2077959 w 8732399"/>
              <a:gd name="connsiteY6" fmla="*/ 3618494 h 6858000"/>
              <a:gd name="connsiteX7" fmla="*/ 2077954 w 8732399"/>
              <a:gd name="connsiteY7" fmla="*/ 3617951 h 6858000"/>
              <a:gd name="connsiteX8" fmla="*/ 2077959 w 8732399"/>
              <a:gd name="connsiteY8" fmla="*/ 3617865 h 6858000"/>
              <a:gd name="connsiteX9" fmla="*/ 2076397 w 8732399"/>
              <a:gd name="connsiteY9" fmla="*/ 3429041 h 6858000"/>
              <a:gd name="connsiteX10" fmla="*/ 2075650 w 8732399"/>
              <a:gd name="connsiteY10" fmla="*/ 3338309 h 6858000"/>
              <a:gd name="connsiteX11" fmla="*/ 404439 w 8732399"/>
              <a:gd name="connsiteY11" fmla="*/ 3993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732399" h="6858000">
                <a:moveTo>
                  <a:pt x="343919" y="0"/>
                </a:moveTo>
                <a:lnTo>
                  <a:pt x="8732399" y="0"/>
                </a:lnTo>
                <a:lnTo>
                  <a:pt x="8732399" y="6858000"/>
                </a:lnTo>
                <a:lnTo>
                  <a:pt x="0" y="6858000"/>
                </a:lnTo>
                <a:lnTo>
                  <a:pt x="177693" y="6768713"/>
                </a:lnTo>
                <a:cubicBezTo>
                  <a:pt x="1141742" y="6254472"/>
                  <a:pt x="1951349" y="5360222"/>
                  <a:pt x="2063325" y="3899618"/>
                </a:cubicBezTo>
                <a:cubicBezTo>
                  <a:pt x="2071055" y="3805858"/>
                  <a:pt x="2075919" y="3712098"/>
                  <a:pt x="2077959" y="3618494"/>
                </a:cubicBezTo>
                <a:lnTo>
                  <a:pt x="2077954" y="3617951"/>
                </a:lnTo>
                <a:lnTo>
                  <a:pt x="2077959" y="3617865"/>
                </a:lnTo>
                <a:lnTo>
                  <a:pt x="2076397" y="3429041"/>
                </a:lnTo>
                <a:lnTo>
                  <a:pt x="2075650" y="3338309"/>
                </a:lnTo>
                <a:cubicBezTo>
                  <a:pt x="2025731" y="2034428"/>
                  <a:pt x="1430533" y="791870"/>
                  <a:pt x="404439" y="39934"/>
                </a:cubicBezTo>
                <a:close/>
              </a:path>
            </a:pathLst>
          </a:custGeom>
          <a:solidFill>
            <a:srgbClr val="D9D9D9"/>
          </a:solidFill>
        </p:spPr>
        <p:txBody>
          <a:bodyPr wrap="square" lIns="4663440" t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full slide image is 1280 x 7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683E8B-89CE-4EF5-BBB9-62368C3820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660503"/>
            <a:ext cx="4389120" cy="2391042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99B91ED-E0FA-43C7-8B4E-31F9017845E6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609630" y="457200"/>
            <a:ext cx="2286000" cy="880288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9AB0108-0379-4A18-900E-6A61DF3018CE}"/>
                </a:ext>
              </a:extLst>
            </p:cNvPr>
            <p:cNvSpPr/>
            <p:nvPr/>
          </p:nvSpPr>
          <p:spPr bwMode="black"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F2F77B2-9024-4ACC-A728-CA3AB71F5A8E}"/>
                </a:ext>
              </a:extLst>
            </p:cNvPr>
            <p:cNvSpPr/>
            <p:nvPr/>
          </p:nvSpPr>
          <p:spPr bwMode="black"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0BB7A39-4E40-4061-A76F-7B79D98B54EE}"/>
                </a:ext>
              </a:extLst>
            </p:cNvPr>
            <p:cNvSpPr/>
            <p:nvPr/>
          </p:nvSpPr>
          <p:spPr bwMode="black"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5441B9D-EA57-4F40-8DCE-CBEF348C3A0F}"/>
                </a:ext>
              </a:extLst>
            </p:cNvPr>
            <p:cNvSpPr/>
            <p:nvPr/>
          </p:nvSpPr>
          <p:spPr bwMode="black"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9AE4E4D0-FF92-495C-9CD5-354ED8923672}"/>
                </a:ext>
              </a:extLst>
            </p:cNvPr>
            <p:cNvSpPr/>
            <p:nvPr/>
          </p:nvSpPr>
          <p:spPr bwMode="black"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D4AF130-6E23-4412-BC70-EE04DCC1545D}"/>
                </a:ext>
              </a:extLst>
            </p:cNvPr>
            <p:cNvSpPr/>
            <p:nvPr/>
          </p:nvSpPr>
          <p:spPr bwMode="black"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2ABE821-58B4-49BB-A652-52A61F3BD10D}"/>
                </a:ext>
              </a:extLst>
            </p:cNvPr>
            <p:cNvSpPr/>
            <p:nvPr/>
          </p:nvSpPr>
          <p:spPr bwMode="black"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0D66007-2868-471F-B969-3FB8E82DCC4E}"/>
                </a:ext>
              </a:extLst>
            </p:cNvPr>
            <p:cNvSpPr/>
            <p:nvPr/>
          </p:nvSpPr>
          <p:spPr bwMode="black"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6270846-6F4C-40AA-99D4-EF9934A7E399}"/>
                </a:ext>
              </a:extLst>
            </p:cNvPr>
            <p:cNvSpPr/>
            <p:nvPr/>
          </p:nvSpPr>
          <p:spPr bwMode="black"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703D0E3-2D30-4032-9E53-A7EB9F4BC9C3}"/>
                </a:ext>
              </a:extLst>
            </p:cNvPr>
            <p:cNvSpPr/>
            <p:nvPr/>
          </p:nvSpPr>
          <p:spPr bwMode="black"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FD40A0A-73C4-4955-9FF6-0EEB215FD392}"/>
                </a:ext>
              </a:extLst>
            </p:cNvPr>
            <p:cNvSpPr/>
            <p:nvPr/>
          </p:nvSpPr>
          <p:spPr bwMode="black"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904D811-319A-4186-8A59-457C07D35712}"/>
                </a:ext>
              </a:extLst>
            </p:cNvPr>
            <p:cNvSpPr/>
            <p:nvPr/>
          </p:nvSpPr>
          <p:spPr bwMode="black"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70FC748-AD59-44E9-9226-9F3F398D3C6A}"/>
                </a:ext>
              </a:extLst>
            </p:cNvPr>
            <p:cNvSpPr/>
            <p:nvPr/>
          </p:nvSpPr>
          <p:spPr bwMode="black"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67A6B2FE-A112-480D-A8E6-6ED513559C90}"/>
                </a:ext>
              </a:extLst>
            </p:cNvPr>
            <p:cNvSpPr/>
            <p:nvPr/>
          </p:nvSpPr>
          <p:spPr bwMode="black"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DBBC33B-5E76-47D0-9997-B175DC5CA88D}"/>
                </a:ext>
              </a:extLst>
            </p:cNvPr>
            <p:cNvSpPr/>
            <p:nvPr/>
          </p:nvSpPr>
          <p:spPr bwMode="black"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F5FE826-C991-4781-9C3E-F5243696119B}"/>
                </a:ext>
              </a:extLst>
            </p:cNvPr>
            <p:cNvSpPr/>
            <p:nvPr/>
          </p:nvSpPr>
          <p:spPr bwMode="black"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EFB7C3C-C9B9-4A7C-9802-BE61D791106C}"/>
                </a:ext>
              </a:extLst>
            </p:cNvPr>
            <p:cNvSpPr/>
            <p:nvPr/>
          </p:nvSpPr>
          <p:spPr bwMode="black"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CE6058B8-6C4B-4DD3-9D56-2A32C09E480C}"/>
                </a:ext>
              </a:extLst>
            </p:cNvPr>
            <p:cNvSpPr/>
            <p:nvPr/>
          </p:nvSpPr>
          <p:spPr bwMode="black"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7BDDCE3B-CBF0-46A0-95E3-BE2D1DB5CC39}"/>
                </a:ext>
              </a:extLst>
            </p:cNvPr>
            <p:cNvSpPr/>
            <p:nvPr/>
          </p:nvSpPr>
          <p:spPr bwMode="black"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CA898F72-C445-4743-97BA-4379F1696CC7}"/>
                </a:ext>
              </a:extLst>
            </p:cNvPr>
            <p:cNvSpPr/>
            <p:nvPr/>
          </p:nvSpPr>
          <p:spPr bwMode="black"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FC0A55B-CEB1-43A3-BD42-9118CCCC4997}"/>
                </a:ext>
              </a:extLst>
            </p:cNvPr>
            <p:cNvSpPr/>
            <p:nvPr/>
          </p:nvSpPr>
          <p:spPr bwMode="black"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B50D7FF-ABF7-48B0-B01A-BDAB3E56A59C}"/>
                </a:ext>
              </a:extLst>
            </p:cNvPr>
            <p:cNvSpPr/>
            <p:nvPr/>
          </p:nvSpPr>
          <p:spPr bwMode="black"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5498461-453E-4B01-AC09-28EB4FE30933}"/>
                </a:ext>
              </a:extLst>
            </p:cNvPr>
            <p:cNvSpPr/>
            <p:nvPr/>
          </p:nvSpPr>
          <p:spPr bwMode="black"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29CBDCEB-800E-4D28-B2C3-1A925BFB4697}"/>
                </a:ext>
              </a:extLst>
            </p:cNvPr>
            <p:cNvSpPr/>
            <p:nvPr/>
          </p:nvSpPr>
          <p:spPr bwMode="black"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81C4C5D3-38A9-48A3-A737-2E1782DEC6C3}"/>
                </a:ext>
              </a:extLst>
            </p:cNvPr>
            <p:cNvSpPr/>
            <p:nvPr/>
          </p:nvSpPr>
          <p:spPr bwMode="black"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CC67A3C2-5E36-485E-BD0C-74020928665D}"/>
                </a:ext>
              </a:extLst>
            </p:cNvPr>
            <p:cNvSpPr/>
            <p:nvPr/>
          </p:nvSpPr>
          <p:spPr bwMode="black"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EED642CE-A789-4786-8A92-D88EC62AC133}"/>
                </a:ext>
              </a:extLst>
            </p:cNvPr>
            <p:cNvSpPr/>
            <p:nvPr/>
          </p:nvSpPr>
          <p:spPr bwMode="black"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4386D89-2FDC-4706-8B37-36CF6ABF07FB}"/>
                </a:ext>
              </a:extLst>
            </p:cNvPr>
            <p:cNvSpPr/>
            <p:nvPr/>
          </p:nvSpPr>
          <p:spPr bwMode="black"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FE86223-C5DA-4CB7-B13B-0B51B75F54C4}"/>
                </a:ext>
              </a:extLst>
            </p:cNvPr>
            <p:cNvSpPr/>
            <p:nvPr/>
          </p:nvSpPr>
          <p:spPr bwMode="black"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423558B8-06E0-4621-852F-9D8F09A23F14}"/>
                </a:ext>
              </a:extLst>
            </p:cNvPr>
            <p:cNvSpPr/>
            <p:nvPr/>
          </p:nvSpPr>
          <p:spPr bwMode="black"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96A1217-0C47-4B68-B46A-6D7E7E1D3BBD}"/>
                </a:ext>
              </a:extLst>
            </p:cNvPr>
            <p:cNvSpPr/>
            <p:nvPr/>
          </p:nvSpPr>
          <p:spPr bwMode="black"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CAD3D5E-D368-4C1C-96EE-A63B27AC18E9}"/>
                </a:ext>
              </a:extLst>
            </p:cNvPr>
            <p:cNvSpPr/>
            <p:nvPr/>
          </p:nvSpPr>
          <p:spPr bwMode="black"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48589BCD-A0C1-497B-8D9B-7071336DC859}"/>
                </a:ext>
              </a:extLst>
            </p:cNvPr>
            <p:cNvSpPr/>
            <p:nvPr/>
          </p:nvSpPr>
          <p:spPr bwMode="black"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8DFF6291-0096-416B-8932-CFAEE8C24CC3}"/>
                </a:ext>
              </a:extLst>
            </p:cNvPr>
            <p:cNvSpPr/>
            <p:nvPr/>
          </p:nvSpPr>
          <p:spPr bwMode="black"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9F0A9BCD-4E63-42B7-9992-63F009834CC8}"/>
                </a:ext>
              </a:extLst>
            </p:cNvPr>
            <p:cNvSpPr/>
            <p:nvPr/>
          </p:nvSpPr>
          <p:spPr bwMode="black"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D45F9331-6EB0-4EF1-AF1B-D8101C2D5B8D}"/>
                </a:ext>
              </a:extLst>
            </p:cNvPr>
            <p:cNvSpPr/>
            <p:nvPr/>
          </p:nvSpPr>
          <p:spPr bwMode="black"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DE7CE7BB-5D54-49B3-B53E-541559A726B8}"/>
                </a:ext>
              </a:extLst>
            </p:cNvPr>
            <p:cNvSpPr/>
            <p:nvPr/>
          </p:nvSpPr>
          <p:spPr bwMode="black"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E0134D3C-A529-412E-B918-F35B50DB4607}"/>
                </a:ext>
              </a:extLst>
            </p:cNvPr>
            <p:cNvSpPr/>
            <p:nvPr/>
          </p:nvSpPr>
          <p:spPr bwMode="black"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06216BF-A380-4FA9-9B4A-C9DC258CCF12}"/>
                </a:ext>
              </a:extLst>
            </p:cNvPr>
            <p:cNvSpPr/>
            <p:nvPr/>
          </p:nvSpPr>
          <p:spPr bwMode="black"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D3FA18A3-B765-448E-A96D-70ECA09B74C4}"/>
                </a:ext>
              </a:extLst>
            </p:cNvPr>
            <p:cNvSpPr/>
            <p:nvPr/>
          </p:nvSpPr>
          <p:spPr bwMode="black"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C909F6E8-DEAA-40C5-A466-3C2C305FF26A}"/>
                </a:ext>
              </a:extLst>
            </p:cNvPr>
            <p:cNvSpPr/>
            <p:nvPr/>
          </p:nvSpPr>
          <p:spPr bwMode="black"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EC730DF2-B7B8-470D-B166-19B7C7F51A75}"/>
                </a:ext>
              </a:extLst>
            </p:cNvPr>
            <p:cNvSpPr/>
            <p:nvPr/>
          </p:nvSpPr>
          <p:spPr bwMode="black"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 Placeholder 53">
            <a:extLst>
              <a:ext uri="{FF2B5EF4-FFF2-40B4-BE49-F238E27FC236}">
                <a16:creationId xmlns:a16="http://schemas.microsoft.com/office/drawing/2014/main" id="{6C6F15D6-83AC-4099-9946-CE8B5A1B72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1333" y="4370504"/>
            <a:ext cx="4389120" cy="73152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Subtitle or Presenter Name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987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Circle Pict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655B1FCA-4D49-4122-B6E9-D550AA0C5E7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2"/>
            <a:ext cx="5266036" cy="6857999"/>
          </a:xfrm>
          <a:custGeom>
            <a:avLst/>
            <a:gdLst>
              <a:gd name="connsiteX0" fmla="*/ 0 w 5266036"/>
              <a:gd name="connsiteY0" fmla="*/ 0 h 6857999"/>
              <a:gd name="connsiteX1" fmla="*/ 3014696 w 5266036"/>
              <a:gd name="connsiteY1" fmla="*/ 0 h 6857999"/>
              <a:gd name="connsiteX2" fmla="*/ 3040982 w 5266036"/>
              <a:gd name="connsiteY2" fmla="*/ 11408 h 6857999"/>
              <a:gd name="connsiteX3" fmla="*/ 5250901 w 5266036"/>
              <a:gd name="connsiteY3" fmla="*/ 4085922 h 6857999"/>
              <a:gd name="connsiteX4" fmla="*/ 3435696 w 5266036"/>
              <a:gd name="connsiteY4" fmla="*/ 6839477 h 6857999"/>
              <a:gd name="connsiteX5" fmla="*/ 3398838 w 5266036"/>
              <a:gd name="connsiteY5" fmla="*/ 6857999 h 6857999"/>
              <a:gd name="connsiteX6" fmla="*/ 0 w 5266036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66036" h="6857999">
                <a:moveTo>
                  <a:pt x="0" y="0"/>
                </a:moveTo>
                <a:lnTo>
                  <a:pt x="3014696" y="0"/>
                </a:lnTo>
                <a:lnTo>
                  <a:pt x="3040982" y="11408"/>
                </a:lnTo>
                <a:cubicBezTo>
                  <a:pt x="4562919" y="717837"/>
                  <a:pt x="5390071" y="2397951"/>
                  <a:pt x="5250901" y="4085922"/>
                </a:cubicBezTo>
                <a:cubicBezTo>
                  <a:pt x="5138669" y="5484335"/>
                  <a:pt x="4361602" y="6343612"/>
                  <a:pt x="3435696" y="6839477"/>
                </a:cubicBezTo>
                <a:lnTo>
                  <a:pt x="3398838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tIns="365760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half slide image is 640 x 720 pixels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6608E2E-E744-4878-A234-60F6B6711C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3306349"/>
            <a:ext cx="5715000" cy="73152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Subtitle or Presenter Nam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534CB02-81D9-4803-9899-8E6A2EABA9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457200"/>
            <a:ext cx="5715000" cy="2565401"/>
          </a:xfrm>
        </p:spPr>
        <p:txBody>
          <a:bodyPr/>
          <a:lstStyle>
            <a:lvl1pPr>
              <a:lnSpc>
                <a:spcPct val="82000"/>
              </a:lnSpc>
              <a:defRPr sz="6600" b="0"/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A6D84BC-9F4C-46D1-BCFD-02C11A706D43}"/>
              </a:ext>
            </a:extLst>
          </p:cNvPr>
          <p:cNvGrpSpPr>
            <a:grpSpLocks noChangeAspect="1"/>
          </p:cNvGrpSpPr>
          <p:nvPr/>
        </p:nvGrpSpPr>
        <p:grpSpPr>
          <a:xfrm>
            <a:off x="9544152" y="5543531"/>
            <a:ext cx="2286000" cy="880288"/>
            <a:chOff x="2078951" y="1888610"/>
            <a:chExt cx="8030200" cy="3092248"/>
          </a:xfrm>
          <a:solidFill>
            <a:srgbClr val="4F2170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272DA5A-B0A1-4433-AF19-58D29499701D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10AB75D-54FA-4127-838D-A2CDC911B648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73C4E44-0B9D-4D7D-A72A-E10AA3E25788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F17AEE1-933D-430A-938B-044F9EEF7E0F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A198EB9-1147-497F-9629-D20241548224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489DA5D-3FDF-41B6-8FEC-3BAA766E6DD2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7AA4C2C-CCD9-4698-B061-F47DE3A46C84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899E50A-6EE7-43FA-8BC5-A3FC97DE7DC4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AB6D96F-3061-42BC-92D0-1BF63F8246F4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6E90DD0-D326-4354-B19D-6B25CA8E122A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C8EBEE1-EF8C-4C52-8690-44C2ACEA5D70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0406D85-B240-4DDD-A872-237D9A7B6040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4692158-F77E-4CC1-B129-4C7D59571AEE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0135833-3309-460C-8E4A-15D74B05AF6B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5215576-30F2-4AAD-8485-216D0761A724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97F4014-0506-40C3-9D6E-9D29B34F6404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2CECD138-51CC-425A-86A7-D780954B759C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672872F-0F50-4B3B-9CEE-35C229AA0CF9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04A581DD-06BD-44EA-9E2D-8FB253851F92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8E29341-2391-4754-93F4-DE7EF2D3370D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95B7127F-7A53-40C2-B41D-3D96503E3CC7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14B5140-BD02-4841-AF70-6D377E4DF2E9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16C21D7B-C520-4401-BFFD-43EA75B9B3F0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DB9B60B4-35FC-49B0-906A-7C704B6B94BA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550272F-F181-4670-9AB4-62C5CF01BC3A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F128CAF-7E33-41B3-941E-1DA081A62D07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C35D844-DD99-4858-9C8F-7E64319ECEC1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B5B50CFE-2A9A-43B6-BAED-D4D319AF496E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A3220ED-525E-42D0-945D-DABC984A9613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F9C0273-E1F4-49D7-992B-B560253BF396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C93ECA97-B97C-4583-903C-CA4913633E3F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27E45CBE-6678-447C-B516-5E394D02935C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891440AF-BE0A-4FCF-8580-12C0D6978EDB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2824A636-A433-4E44-BCE1-4D747AEE8B2B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BC039864-996D-45FB-8953-B06D02EC1B41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E252413E-95D4-436B-9CDD-1C43CDFDF645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788C5136-65D1-40F1-A383-12AEB2FDD611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9724F851-AB55-47D5-B0E8-62214C52C678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100ABB2F-82B3-4313-9667-9D4CAE736D8E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BF1535FC-5A93-427B-B4B5-A62EC2FC69C2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88832EF-632C-43A0-AFE1-06D043A20CAF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872BE12F-3FBC-4635-99C7-4788DC937AE2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177964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Fun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655B1FCA-4D49-4122-B6E9-D550AA0C5E7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2"/>
            <a:ext cx="5266036" cy="6857999"/>
          </a:xfrm>
          <a:custGeom>
            <a:avLst/>
            <a:gdLst>
              <a:gd name="connsiteX0" fmla="*/ 0 w 5266036"/>
              <a:gd name="connsiteY0" fmla="*/ 0 h 6857999"/>
              <a:gd name="connsiteX1" fmla="*/ 3014696 w 5266036"/>
              <a:gd name="connsiteY1" fmla="*/ 0 h 6857999"/>
              <a:gd name="connsiteX2" fmla="*/ 3040982 w 5266036"/>
              <a:gd name="connsiteY2" fmla="*/ 11408 h 6857999"/>
              <a:gd name="connsiteX3" fmla="*/ 5250901 w 5266036"/>
              <a:gd name="connsiteY3" fmla="*/ 4085922 h 6857999"/>
              <a:gd name="connsiteX4" fmla="*/ 3435696 w 5266036"/>
              <a:gd name="connsiteY4" fmla="*/ 6839477 h 6857999"/>
              <a:gd name="connsiteX5" fmla="*/ 3398838 w 5266036"/>
              <a:gd name="connsiteY5" fmla="*/ 6857999 h 6857999"/>
              <a:gd name="connsiteX6" fmla="*/ 0 w 5266036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66036" h="6857999">
                <a:moveTo>
                  <a:pt x="0" y="0"/>
                </a:moveTo>
                <a:lnTo>
                  <a:pt x="3014696" y="0"/>
                </a:lnTo>
                <a:lnTo>
                  <a:pt x="3040982" y="11408"/>
                </a:lnTo>
                <a:cubicBezTo>
                  <a:pt x="4562919" y="717837"/>
                  <a:pt x="5390071" y="2397951"/>
                  <a:pt x="5250901" y="4085922"/>
                </a:cubicBezTo>
                <a:cubicBezTo>
                  <a:pt x="5138669" y="5484335"/>
                  <a:pt x="4361602" y="6343612"/>
                  <a:pt x="3435696" y="6839477"/>
                </a:cubicBezTo>
                <a:lnTo>
                  <a:pt x="3398838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tIns="365760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half slide image is 640 x 720 pixels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6608E2E-E744-4878-A234-60F6B6711C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41159" y="3729358"/>
            <a:ext cx="5715000" cy="73152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Subtitle or Presenter Nam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534CB02-81D9-4803-9899-8E6A2EABA9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1159" y="880209"/>
            <a:ext cx="5715000" cy="2565401"/>
          </a:xfrm>
        </p:spPr>
        <p:txBody>
          <a:bodyPr/>
          <a:lstStyle>
            <a:lvl1pPr>
              <a:lnSpc>
                <a:spcPct val="82000"/>
              </a:lnSpc>
              <a:defRPr sz="4600" b="0"/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A6D84BC-9F4C-46D1-BCFD-02C11A706D43}"/>
              </a:ext>
            </a:extLst>
          </p:cNvPr>
          <p:cNvGrpSpPr>
            <a:grpSpLocks noChangeAspect="1"/>
          </p:cNvGrpSpPr>
          <p:nvPr/>
        </p:nvGrpSpPr>
        <p:grpSpPr>
          <a:xfrm>
            <a:off x="5726385" y="5582539"/>
            <a:ext cx="2052839" cy="790503"/>
            <a:chOff x="2078951" y="1888610"/>
            <a:chExt cx="8030200" cy="3092248"/>
          </a:xfrm>
          <a:solidFill>
            <a:srgbClr val="4F2170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272DA5A-B0A1-4433-AF19-58D29499701D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10AB75D-54FA-4127-838D-A2CDC911B648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73C4E44-0B9D-4D7D-A72A-E10AA3E25788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F17AEE1-933D-430A-938B-044F9EEF7E0F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A198EB9-1147-497F-9629-D20241548224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489DA5D-3FDF-41B6-8FEC-3BAA766E6DD2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7AA4C2C-CCD9-4698-B061-F47DE3A46C84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899E50A-6EE7-43FA-8BC5-A3FC97DE7DC4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AB6D96F-3061-42BC-92D0-1BF63F8246F4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6E90DD0-D326-4354-B19D-6B25CA8E122A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C8EBEE1-EF8C-4C52-8690-44C2ACEA5D70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0406D85-B240-4DDD-A872-237D9A7B6040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4692158-F77E-4CC1-B129-4C7D59571AEE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0135833-3309-460C-8E4A-15D74B05AF6B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5215576-30F2-4AAD-8485-216D0761A724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97F4014-0506-40C3-9D6E-9D29B34F6404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2CECD138-51CC-425A-86A7-D780954B759C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672872F-0F50-4B3B-9CEE-35C229AA0CF9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04A581DD-06BD-44EA-9E2D-8FB253851F92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8E29341-2391-4754-93F4-DE7EF2D3370D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95B7127F-7A53-40C2-B41D-3D96503E3CC7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14B5140-BD02-4841-AF70-6D377E4DF2E9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16C21D7B-C520-4401-BFFD-43EA75B9B3F0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DB9B60B4-35FC-49B0-906A-7C704B6B94BA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550272F-F181-4670-9AB4-62C5CF01BC3A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F128CAF-7E33-41B3-941E-1DA081A62D07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C35D844-DD99-4858-9C8F-7E64319ECEC1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B5B50CFE-2A9A-43B6-BAED-D4D319AF496E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A3220ED-525E-42D0-945D-DABC984A9613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F9C0273-E1F4-49D7-992B-B560253BF396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C93ECA97-B97C-4583-903C-CA4913633E3F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27E45CBE-6678-447C-B516-5E394D02935C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891440AF-BE0A-4FCF-8580-12C0D6978EDB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2824A636-A433-4E44-BCE1-4D747AEE8B2B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BC039864-996D-45FB-8953-B06D02EC1B41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E252413E-95D4-436B-9CDD-1C43CDFDF645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788C5136-65D1-40F1-A383-12AEB2FDD611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9724F851-AB55-47D5-B0E8-62214C52C678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100ABB2F-82B3-4313-9667-9D4CAE736D8E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BF1535FC-5A93-427B-B4B5-A62EC2FC69C2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88832EF-632C-43A0-AFE1-06D043A20CAF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872BE12F-3FBC-4635-99C7-4788DC937AE2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54" name="Graphic 53">
            <a:extLst>
              <a:ext uri="{FF2B5EF4-FFF2-40B4-BE49-F238E27FC236}">
                <a16:creationId xmlns:a16="http://schemas.microsoft.com/office/drawing/2014/main" id="{7044E344-4143-45A0-BB19-DE4ABD7362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84557" y="5240354"/>
            <a:ext cx="45719" cy="1348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49662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or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CA58538C-6DCE-48AB-8A34-6553092FE476}"/>
              </a:ext>
            </a:extLst>
          </p:cNvPr>
          <p:cNvGrpSpPr/>
          <p:nvPr/>
        </p:nvGrpSpPr>
        <p:grpSpPr bwMode="ltGray">
          <a:xfrm>
            <a:off x="0" y="1"/>
            <a:ext cx="5266036" cy="6858000"/>
            <a:chOff x="0" y="1"/>
            <a:chExt cx="5266036" cy="6858000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84F7992-9D3F-4C17-B64D-6183DCA4456E}"/>
                </a:ext>
              </a:extLst>
            </p:cNvPr>
            <p:cNvSpPr/>
            <p:nvPr/>
          </p:nvSpPr>
          <p:spPr bwMode="ltGray">
            <a:xfrm>
              <a:off x="0" y="1"/>
              <a:ext cx="5266036" cy="6858000"/>
            </a:xfrm>
            <a:custGeom>
              <a:avLst/>
              <a:gdLst>
                <a:gd name="connsiteX0" fmla="*/ 0 w 5266036"/>
                <a:gd name="connsiteY0" fmla="*/ 0 h 6858000"/>
                <a:gd name="connsiteX1" fmla="*/ 3014696 w 5266036"/>
                <a:gd name="connsiteY1" fmla="*/ 0 h 6858000"/>
                <a:gd name="connsiteX2" fmla="*/ 3040982 w 5266036"/>
                <a:gd name="connsiteY2" fmla="*/ 11408 h 6858000"/>
                <a:gd name="connsiteX3" fmla="*/ 5250901 w 5266036"/>
                <a:gd name="connsiteY3" fmla="*/ 4085922 h 6858000"/>
                <a:gd name="connsiteX4" fmla="*/ 3435696 w 5266036"/>
                <a:gd name="connsiteY4" fmla="*/ 6839477 h 6858000"/>
                <a:gd name="connsiteX5" fmla="*/ 3398836 w 5266036"/>
                <a:gd name="connsiteY5" fmla="*/ 6858000 h 6858000"/>
                <a:gd name="connsiteX6" fmla="*/ 0 w 5266036"/>
                <a:gd name="connsiteY6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66036" h="6858000">
                  <a:moveTo>
                    <a:pt x="0" y="0"/>
                  </a:moveTo>
                  <a:lnTo>
                    <a:pt x="3014696" y="0"/>
                  </a:lnTo>
                  <a:lnTo>
                    <a:pt x="3040982" y="11408"/>
                  </a:lnTo>
                  <a:cubicBezTo>
                    <a:pt x="4562919" y="717837"/>
                    <a:pt x="5390071" y="2397951"/>
                    <a:pt x="5250901" y="4085922"/>
                  </a:cubicBezTo>
                  <a:cubicBezTo>
                    <a:pt x="5138669" y="5484335"/>
                    <a:pt x="4361602" y="6343612"/>
                    <a:pt x="3435696" y="6839477"/>
                  </a:cubicBezTo>
                  <a:lnTo>
                    <a:pt x="3398836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4F2170"/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768B0534-2EEE-4824-8F44-ACC22A3132AF}"/>
                </a:ext>
              </a:extLst>
            </p:cNvPr>
            <p:cNvSpPr/>
            <p:nvPr/>
          </p:nvSpPr>
          <p:spPr bwMode="ltGray">
            <a:xfrm>
              <a:off x="1" y="99439"/>
              <a:ext cx="287275" cy="1443098"/>
            </a:xfrm>
            <a:custGeom>
              <a:avLst/>
              <a:gdLst>
                <a:gd name="connsiteX0" fmla="*/ 94635 w 287275"/>
                <a:gd name="connsiteY0" fmla="*/ 646457 h 1443098"/>
                <a:gd name="connsiteX1" fmla="*/ 110030 w 287275"/>
                <a:gd name="connsiteY1" fmla="*/ 646457 h 1443098"/>
                <a:gd name="connsiteX2" fmla="*/ 176725 w 287275"/>
                <a:gd name="connsiteY2" fmla="*/ 1205691 h 1443098"/>
                <a:gd name="connsiteX3" fmla="*/ 17148 w 287275"/>
                <a:gd name="connsiteY3" fmla="*/ 1435626 h 1443098"/>
                <a:gd name="connsiteX4" fmla="*/ 0 w 287275"/>
                <a:gd name="connsiteY4" fmla="*/ 1443098 h 1443098"/>
                <a:gd name="connsiteX5" fmla="*/ 0 w 287275"/>
                <a:gd name="connsiteY5" fmla="*/ 675806 h 1443098"/>
                <a:gd name="connsiteX6" fmla="*/ 79246 w 287275"/>
                <a:gd name="connsiteY6" fmla="*/ 0 h 1443098"/>
                <a:gd name="connsiteX7" fmla="*/ 161336 w 287275"/>
                <a:gd name="connsiteY7" fmla="*/ 10261 h 1443098"/>
                <a:gd name="connsiteX8" fmla="*/ 145941 w 287275"/>
                <a:gd name="connsiteY8" fmla="*/ 287314 h 1443098"/>
                <a:gd name="connsiteX9" fmla="*/ 62169 w 287275"/>
                <a:gd name="connsiteY9" fmla="*/ 305030 h 1443098"/>
                <a:gd name="connsiteX10" fmla="*/ 0 w 287275"/>
                <a:gd name="connsiteY10" fmla="*/ 311825 h 1443098"/>
                <a:gd name="connsiteX11" fmla="*/ 0 w 287275"/>
                <a:gd name="connsiteY11" fmla="*/ 20391 h 1443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7275" h="1443098">
                  <a:moveTo>
                    <a:pt x="94635" y="646457"/>
                  </a:moveTo>
                  <a:cubicBezTo>
                    <a:pt x="99769" y="646457"/>
                    <a:pt x="104897" y="646457"/>
                    <a:pt x="110030" y="646457"/>
                  </a:cubicBezTo>
                  <a:cubicBezTo>
                    <a:pt x="438389" y="692630"/>
                    <a:pt x="217770" y="1000466"/>
                    <a:pt x="176725" y="1205691"/>
                  </a:cubicBezTo>
                  <a:cubicBezTo>
                    <a:pt x="145302" y="1376283"/>
                    <a:pt x="141374" y="1381895"/>
                    <a:pt x="17148" y="1435626"/>
                  </a:cubicBezTo>
                  <a:lnTo>
                    <a:pt x="0" y="1443098"/>
                  </a:lnTo>
                  <a:lnTo>
                    <a:pt x="0" y="675806"/>
                  </a:lnTo>
                  <a:close/>
                  <a:moveTo>
                    <a:pt x="79246" y="0"/>
                  </a:moveTo>
                  <a:cubicBezTo>
                    <a:pt x="99769" y="0"/>
                    <a:pt x="120291" y="5128"/>
                    <a:pt x="161336" y="10261"/>
                  </a:cubicBezTo>
                  <a:cubicBezTo>
                    <a:pt x="325515" y="92351"/>
                    <a:pt x="274209" y="246269"/>
                    <a:pt x="145941" y="287314"/>
                  </a:cubicBezTo>
                  <a:cubicBezTo>
                    <a:pt x="116441" y="296292"/>
                    <a:pt x="88864" y="301422"/>
                    <a:pt x="62169" y="305030"/>
                  </a:cubicBezTo>
                  <a:lnTo>
                    <a:pt x="0" y="311825"/>
                  </a:lnTo>
                  <a:lnTo>
                    <a:pt x="0" y="20391"/>
                  </a:lnTo>
                  <a:close/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89E5AB32-14B9-4441-BD18-CA3B7FA72F4A}"/>
                </a:ext>
              </a:extLst>
            </p:cNvPr>
            <p:cNvSpPr/>
            <p:nvPr/>
          </p:nvSpPr>
          <p:spPr bwMode="ltGray">
            <a:xfrm>
              <a:off x="0" y="3622695"/>
              <a:ext cx="911379" cy="2599608"/>
            </a:xfrm>
            <a:custGeom>
              <a:avLst/>
              <a:gdLst>
                <a:gd name="connsiteX0" fmla="*/ 0 w 911379"/>
                <a:gd name="connsiteY0" fmla="*/ 3000131 h 3315846"/>
                <a:gd name="connsiteX1" fmla="*/ 9176 w 911379"/>
                <a:gd name="connsiteY1" fmla="*/ 3027252 h 3315846"/>
                <a:gd name="connsiteX2" fmla="*/ 27935 w 911379"/>
                <a:gd name="connsiteY2" fmla="*/ 3315846 h 3315846"/>
                <a:gd name="connsiteX3" fmla="*/ 17673 w 911379"/>
                <a:gd name="connsiteY3" fmla="*/ 3315846 h 3315846"/>
                <a:gd name="connsiteX4" fmla="*/ 0 w 911379"/>
                <a:gd name="connsiteY4" fmla="*/ 3309186 h 3315846"/>
                <a:gd name="connsiteX5" fmla="*/ 0 w 911379"/>
                <a:gd name="connsiteY5" fmla="*/ 0 h 3315846"/>
                <a:gd name="connsiteX6" fmla="*/ 63852 w 911379"/>
                <a:gd name="connsiteY6" fmla="*/ 32258 h 3315846"/>
                <a:gd name="connsiteX7" fmla="*/ 253681 w 911379"/>
                <a:gd name="connsiteY7" fmla="*/ 140003 h 3315846"/>
                <a:gd name="connsiteX8" fmla="*/ 376816 w 911379"/>
                <a:gd name="connsiteY8" fmla="*/ 432445 h 3315846"/>
                <a:gd name="connsiteX9" fmla="*/ 587173 w 911379"/>
                <a:gd name="connsiteY9" fmla="*/ 545318 h 3315846"/>
                <a:gd name="connsiteX10" fmla="*/ 900137 w 911379"/>
                <a:gd name="connsiteY10" fmla="*/ 919855 h 3315846"/>
                <a:gd name="connsiteX11" fmla="*/ 664129 w 911379"/>
                <a:gd name="connsiteY11" fmla="*/ 1284126 h 3315846"/>
                <a:gd name="connsiteX12" fmla="*/ 566651 w 911379"/>
                <a:gd name="connsiteY12" fmla="*/ 1684313 h 3315846"/>
                <a:gd name="connsiteX13" fmla="*/ 304987 w 911379"/>
                <a:gd name="connsiteY13" fmla="*/ 2002411 h 3315846"/>
                <a:gd name="connsiteX14" fmla="*/ 63852 w 911379"/>
                <a:gd name="connsiteY14" fmla="*/ 2489821 h 3315846"/>
                <a:gd name="connsiteX15" fmla="*/ 0 w 911379"/>
                <a:gd name="connsiteY15" fmla="*/ 2599608 h 3315846"/>
                <a:gd name="connsiteX0" fmla="*/ 0 w 911379"/>
                <a:gd name="connsiteY0" fmla="*/ 3000131 h 3315846"/>
                <a:gd name="connsiteX1" fmla="*/ 9176 w 911379"/>
                <a:gd name="connsiteY1" fmla="*/ 3027252 h 3315846"/>
                <a:gd name="connsiteX2" fmla="*/ 27935 w 911379"/>
                <a:gd name="connsiteY2" fmla="*/ 3315846 h 3315846"/>
                <a:gd name="connsiteX3" fmla="*/ 17673 w 911379"/>
                <a:gd name="connsiteY3" fmla="*/ 3315846 h 3315846"/>
                <a:gd name="connsiteX4" fmla="*/ 0 w 911379"/>
                <a:gd name="connsiteY4" fmla="*/ 3000131 h 3315846"/>
                <a:gd name="connsiteX5" fmla="*/ 0 w 911379"/>
                <a:gd name="connsiteY5" fmla="*/ 0 h 3315846"/>
                <a:gd name="connsiteX6" fmla="*/ 63852 w 911379"/>
                <a:gd name="connsiteY6" fmla="*/ 32258 h 3315846"/>
                <a:gd name="connsiteX7" fmla="*/ 253681 w 911379"/>
                <a:gd name="connsiteY7" fmla="*/ 140003 h 3315846"/>
                <a:gd name="connsiteX8" fmla="*/ 376816 w 911379"/>
                <a:gd name="connsiteY8" fmla="*/ 432445 h 3315846"/>
                <a:gd name="connsiteX9" fmla="*/ 587173 w 911379"/>
                <a:gd name="connsiteY9" fmla="*/ 545318 h 3315846"/>
                <a:gd name="connsiteX10" fmla="*/ 900137 w 911379"/>
                <a:gd name="connsiteY10" fmla="*/ 919855 h 3315846"/>
                <a:gd name="connsiteX11" fmla="*/ 664129 w 911379"/>
                <a:gd name="connsiteY11" fmla="*/ 1284126 h 3315846"/>
                <a:gd name="connsiteX12" fmla="*/ 566651 w 911379"/>
                <a:gd name="connsiteY12" fmla="*/ 1684313 h 3315846"/>
                <a:gd name="connsiteX13" fmla="*/ 304987 w 911379"/>
                <a:gd name="connsiteY13" fmla="*/ 2002411 h 3315846"/>
                <a:gd name="connsiteX14" fmla="*/ 63852 w 911379"/>
                <a:gd name="connsiteY14" fmla="*/ 2489821 h 3315846"/>
                <a:gd name="connsiteX15" fmla="*/ 0 w 911379"/>
                <a:gd name="connsiteY15" fmla="*/ 2599608 h 3315846"/>
                <a:gd name="connsiteX16" fmla="*/ 0 w 911379"/>
                <a:gd name="connsiteY16" fmla="*/ 0 h 3315846"/>
                <a:gd name="connsiteX0" fmla="*/ 0 w 911379"/>
                <a:gd name="connsiteY0" fmla="*/ 3000131 h 3315846"/>
                <a:gd name="connsiteX1" fmla="*/ 9176 w 911379"/>
                <a:gd name="connsiteY1" fmla="*/ 3027252 h 3315846"/>
                <a:gd name="connsiteX2" fmla="*/ 27935 w 911379"/>
                <a:gd name="connsiteY2" fmla="*/ 3315846 h 3315846"/>
                <a:gd name="connsiteX3" fmla="*/ 0 w 911379"/>
                <a:gd name="connsiteY3" fmla="*/ 3000131 h 3315846"/>
                <a:gd name="connsiteX4" fmla="*/ 0 w 911379"/>
                <a:gd name="connsiteY4" fmla="*/ 0 h 3315846"/>
                <a:gd name="connsiteX5" fmla="*/ 63852 w 911379"/>
                <a:gd name="connsiteY5" fmla="*/ 32258 h 3315846"/>
                <a:gd name="connsiteX6" fmla="*/ 253681 w 911379"/>
                <a:gd name="connsiteY6" fmla="*/ 140003 h 3315846"/>
                <a:gd name="connsiteX7" fmla="*/ 376816 w 911379"/>
                <a:gd name="connsiteY7" fmla="*/ 432445 h 3315846"/>
                <a:gd name="connsiteX8" fmla="*/ 587173 w 911379"/>
                <a:gd name="connsiteY8" fmla="*/ 545318 h 3315846"/>
                <a:gd name="connsiteX9" fmla="*/ 900137 w 911379"/>
                <a:gd name="connsiteY9" fmla="*/ 919855 h 3315846"/>
                <a:gd name="connsiteX10" fmla="*/ 664129 w 911379"/>
                <a:gd name="connsiteY10" fmla="*/ 1284126 h 3315846"/>
                <a:gd name="connsiteX11" fmla="*/ 566651 w 911379"/>
                <a:gd name="connsiteY11" fmla="*/ 1684313 h 3315846"/>
                <a:gd name="connsiteX12" fmla="*/ 304987 w 911379"/>
                <a:gd name="connsiteY12" fmla="*/ 2002411 h 3315846"/>
                <a:gd name="connsiteX13" fmla="*/ 63852 w 911379"/>
                <a:gd name="connsiteY13" fmla="*/ 2489821 h 3315846"/>
                <a:gd name="connsiteX14" fmla="*/ 0 w 911379"/>
                <a:gd name="connsiteY14" fmla="*/ 2599608 h 3315846"/>
                <a:gd name="connsiteX15" fmla="*/ 0 w 911379"/>
                <a:gd name="connsiteY15" fmla="*/ 0 h 3315846"/>
                <a:gd name="connsiteX0" fmla="*/ 0 w 911379"/>
                <a:gd name="connsiteY0" fmla="*/ 3000131 h 3027252"/>
                <a:gd name="connsiteX1" fmla="*/ 9176 w 911379"/>
                <a:gd name="connsiteY1" fmla="*/ 3027252 h 3027252"/>
                <a:gd name="connsiteX2" fmla="*/ 0 w 911379"/>
                <a:gd name="connsiteY2" fmla="*/ 3000131 h 3027252"/>
                <a:gd name="connsiteX3" fmla="*/ 0 w 911379"/>
                <a:gd name="connsiteY3" fmla="*/ 0 h 3027252"/>
                <a:gd name="connsiteX4" fmla="*/ 63852 w 911379"/>
                <a:gd name="connsiteY4" fmla="*/ 32258 h 3027252"/>
                <a:gd name="connsiteX5" fmla="*/ 253681 w 911379"/>
                <a:gd name="connsiteY5" fmla="*/ 140003 h 3027252"/>
                <a:gd name="connsiteX6" fmla="*/ 376816 w 911379"/>
                <a:gd name="connsiteY6" fmla="*/ 432445 h 3027252"/>
                <a:gd name="connsiteX7" fmla="*/ 587173 w 911379"/>
                <a:gd name="connsiteY7" fmla="*/ 545318 h 3027252"/>
                <a:gd name="connsiteX8" fmla="*/ 900137 w 911379"/>
                <a:gd name="connsiteY8" fmla="*/ 919855 h 3027252"/>
                <a:gd name="connsiteX9" fmla="*/ 664129 w 911379"/>
                <a:gd name="connsiteY9" fmla="*/ 1284126 h 3027252"/>
                <a:gd name="connsiteX10" fmla="*/ 566651 w 911379"/>
                <a:gd name="connsiteY10" fmla="*/ 1684313 h 3027252"/>
                <a:gd name="connsiteX11" fmla="*/ 304987 w 911379"/>
                <a:gd name="connsiteY11" fmla="*/ 2002411 h 3027252"/>
                <a:gd name="connsiteX12" fmla="*/ 63852 w 911379"/>
                <a:gd name="connsiteY12" fmla="*/ 2489821 h 3027252"/>
                <a:gd name="connsiteX13" fmla="*/ 0 w 911379"/>
                <a:gd name="connsiteY13" fmla="*/ 2599608 h 3027252"/>
                <a:gd name="connsiteX14" fmla="*/ 0 w 911379"/>
                <a:gd name="connsiteY14" fmla="*/ 0 h 3027252"/>
                <a:gd name="connsiteX0" fmla="*/ 0 w 911379"/>
                <a:gd name="connsiteY0" fmla="*/ 0 h 2599608"/>
                <a:gd name="connsiteX1" fmla="*/ 63852 w 911379"/>
                <a:gd name="connsiteY1" fmla="*/ 32258 h 2599608"/>
                <a:gd name="connsiteX2" fmla="*/ 253681 w 911379"/>
                <a:gd name="connsiteY2" fmla="*/ 140003 h 2599608"/>
                <a:gd name="connsiteX3" fmla="*/ 376816 w 911379"/>
                <a:gd name="connsiteY3" fmla="*/ 432445 h 2599608"/>
                <a:gd name="connsiteX4" fmla="*/ 587173 w 911379"/>
                <a:gd name="connsiteY4" fmla="*/ 545318 h 2599608"/>
                <a:gd name="connsiteX5" fmla="*/ 900137 w 911379"/>
                <a:gd name="connsiteY5" fmla="*/ 919855 h 2599608"/>
                <a:gd name="connsiteX6" fmla="*/ 664129 w 911379"/>
                <a:gd name="connsiteY6" fmla="*/ 1284126 h 2599608"/>
                <a:gd name="connsiteX7" fmla="*/ 566651 w 911379"/>
                <a:gd name="connsiteY7" fmla="*/ 1684313 h 2599608"/>
                <a:gd name="connsiteX8" fmla="*/ 304987 w 911379"/>
                <a:gd name="connsiteY8" fmla="*/ 2002411 h 2599608"/>
                <a:gd name="connsiteX9" fmla="*/ 63852 w 911379"/>
                <a:gd name="connsiteY9" fmla="*/ 2489821 h 2599608"/>
                <a:gd name="connsiteX10" fmla="*/ 0 w 911379"/>
                <a:gd name="connsiteY10" fmla="*/ 2599608 h 2599608"/>
                <a:gd name="connsiteX11" fmla="*/ 0 w 911379"/>
                <a:gd name="connsiteY11" fmla="*/ 0 h 2599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11379" h="2599608">
                  <a:moveTo>
                    <a:pt x="0" y="0"/>
                  </a:moveTo>
                  <a:lnTo>
                    <a:pt x="63852" y="32258"/>
                  </a:lnTo>
                  <a:cubicBezTo>
                    <a:pt x="140808" y="68175"/>
                    <a:pt x="192114" y="57913"/>
                    <a:pt x="253681" y="140003"/>
                  </a:cubicBezTo>
                  <a:cubicBezTo>
                    <a:pt x="320382" y="232354"/>
                    <a:pt x="289598" y="340094"/>
                    <a:pt x="376816" y="432445"/>
                  </a:cubicBezTo>
                  <a:cubicBezTo>
                    <a:pt x="433255" y="494012"/>
                    <a:pt x="520473" y="504273"/>
                    <a:pt x="587173" y="545318"/>
                  </a:cubicBezTo>
                  <a:cubicBezTo>
                    <a:pt x="720569" y="627408"/>
                    <a:pt x="966838" y="724892"/>
                    <a:pt x="900137" y="919855"/>
                  </a:cubicBezTo>
                  <a:cubicBezTo>
                    <a:pt x="843703" y="1089163"/>
                    <a:pt x="623085" y="1058379"/>
                    <a:pt x="664129" y="1284126"/>
                  </a:cubicBezTo>
                  <a:cubicBezTo>
                    <a:pt x="700046" y="1509872"/>
                    <a:pt x="828309" y="1550917"/>
                    <a:pt x="566651" y="1684313"/>
                  </a:cubicBezTo>
                  <a:cubicBezTo>
                    <a:pt x="366555" y="1786925"/>
                    <a:pt x="366555" y="1812581"/>
                    <a:pt x="304987" y="2002411"/>
                  </a:cubicBezTo>
                  <a:cubicBezTo>
                    <a:pt x="253681" y="2166590"/>
                    <a:pt x="156202" y="2341031"/>
                    <a:pt x="63852" y="2489821"/>
                  </a:cubicBezTo>
                  <a:lnTo>
                    <a:pt x="0" y="25996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DD488622-94FE-4C3B-93ED-066BAA75BF59}"/>
                </a:ext>
              </a:extLst>
            </p:cNvPr>
            <p:cNvSpPr/>
            <p:nvPr/>
          </p:nvSpPr>
          <p:spPr bwMode="ltGray">
            <a:xfrm>
              <a:off x="266515" y="81480"/>
              <a:ext cx="1128733" cy="1128733"/>
            </a:xfrm>
            <a:custGeom>
              <a:avLst/>
              <a:gdLst>
                <a:gd name="connsiteX0" fmla="*/ 92869 w 209550"/>
                <a:gd name="connsiteY0" fmla="*/ 7144 h 209550"/>
                <a:gd name="connsiteX1" fmla="*/ 92869 w 209550"/>
                <a:gd name="connsiteY1" fmla="*/ 7144 h 209550"/>
                <a:gd name="connsiteX2" fmla="*/ 7144 w 209550"/>
                <a:gd name="connsiteY2" fmla="*/ 29051 h 209550"/>
                <a:gd name="connsiteX3" fmla="*/ 7144 w 209550"/>
                <a:gd name="connsiteY3" fmla="*/ 30004 h 209550"/>
                <a:gd name="connsiteX4" fmla="*/ 16669 w 209550"/>
                <a:gd name="connsiteY4" fmla="*/ 42386 h 209550"/>
                <a:gd name="connsiteX5" fmla="*/ 25241 w 209550"/>
                <a:gd name="connsiteY5" fmla="*/ 41434 h 209550"/>
                <a:gd name="connsiteX6" fmla="*/ 63341 w 209550"/>
                <a:gd name="connsiteY6" fmla="*/ 165259 h 209550"/>
                <a:gd name="connsiteX7" fmla="*/ 88106 w 209550"/>
                <a:gd name="connsiteY7" fmla="*/ 202406 h 209550"/>
                <a:gd name="connsiteX8" fmla="*/ 105251 w 209550"/>
                <a:gd name="connsiteY8" fmla="*/ 193834 h 209550"/>
                <a:gd name="connsiteX9" fmla="*/ 128111 w 209550"/>
                <a:gd name="connsiteY9" fmla="*/ 149066 h 209550"/>
                <a:gd name="connsiteX10" fmla="*/ 165259 w 209550"/>
                <a:gd name="connsiteY10" fmla="*/ 120491 h 209550"/>
                <a:gd name="connsiteX11" fmla="*/ 92869 w 209550"/>
                <a:gd name="connsiteY11" fmla="*/ 7144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9550" h="209550">
                  <a:moveTo>
                    <a:pt x="92869" y="7144"/>
                  </a:moveTo>
                  <a:cubicBezTo>
                    <a:pt x="91916" y="7144"/>
                    <a:pt x="91916" y="7144"/>
                    <a:pt x="92869" y="7144"/>
                  </a:cubicBezTo>
                  <a:cubicBezTo>
                    <a:pt x="63341" y="12859"/>
                    <a:pt x="34766" y="20479"/>
                    <a:pt x="7144" y="29051"/>
                  </a:cubicBezTo>
                  <a:cubicBezTo>
                    <a:pt x="7144" y="29051"/>
                    <a:pt x="7144" y="30004"/>
                    <a:pt x="7144" y="30004"/>
                  </a:cubicBezTo>
                  <a:lnTo>
                    <a:pt x="16669" y="42386"/>
                  </a:lnTo>
                  <a:cubicBezTo>
                    <a:pt x="19526" y="41434"/>
                    <a:pt x="22384" y="41434"/>
                    <a:pt x="25241" y="41434"/>
                  </a:cubicBezTo>
                  <a:cubicBezTo>
                    <a:pt x="74771" y="41434"/>
                    <a:pt x="57626" y="134779"/>
                    <a:pt x="63341" y="165259"/>
                  </a:cubicBezTo>
                  <a:cubicBezTo>
                    <a:pt x="67151" y="183356"/>
                    <a:pt x="74771" y="202406"/>
                    <a:pt x="88106" y="202406"/>
                  </a:cubicBezTo>
                  <a:cubicBezTo>
                    <a:pt x="92869" y="202406"/>
                    <a:pt x="98584" y="199549"/>
                    <a:pt x="105251" y="193834"/>
                  </a:cubicBezTo>
                  <a:cubicBezTo>
                    <a:pt x="115729" y="183356"/>
                    <a:pt x="116681" y="162401"/>
                    <a:pt x="128111" y="149066"/>
                  </a:cubicBezTo>
                  <a:cubicBezTo>
                    <a:pt x="138589" y="136684"/>
                    <a:pt x="152876" y="130969"/>
                    <a:pt x="165259" y="120491"/>
                  </a:cubicBezTo>
                  <a:cubicBezTo>
                    <a:pt x="265271" y="38576"/>
                    <a:pt x="172879" y="7144"/>
                    <a:pt x="92869" y="7144"/>
                  </a:cubicBezTo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C0FA815-C9EC-4D30-BDA4-05095D08506E}"/>
                </a:ext>
              </a:extLst>
            </p:cNvPr>
            <p:cNvSpPr/>
            <p:nvPr/>
          </p:nvSpPr>
          <p:spPr bwMode="ltGray">
            <a:xfrm>
              <a:off x="1807406" y="19914"/>
              <a:ext cx="3232281" cy="5848895"/>
            </a:xfrm>
            <a:custGeom>
              <a:avLst/>
              <a:gdLst>
                <a:gd name="connsiteX0" fmla="*/ 227806 w 600075"/>
                <a:gd name="connsiteY0" fmla="*/ 7144 h 1085850"/>
                <a:gd name="connsiteX1" fmla="*/ 219234 w 600075"/>
                <a:gd name="connsiteY1" fmla="*/ 18574 h 1085850"/>
                <a:gd name="connsiteX2" fmla="*/ 183039 w 600075"/>
                <a:gd name="connsiteY2" fmla="*/ 66199 h 1085850"/>
                <a:gd name="connsiteX3" fmla="*/ 161131 w 600075"/>
                <a:gd name="connsiteY3" fmla="*/ 73819 h 1085850"/>
                <a:gd name="connsiteX4" fmla="*/ 130651 w 600075"/>
                <a:gd name="connsiteY4" fmla="*/ 63341 h 1085850"/>
                <a:gd name="connsiteX5" fmla="*/ 105886 w 600075"/>
                <a:gd name="connsiteY5" fmla="*/ 57626 h 1085850"/>
                <a:gd name="connsiteX6" fmla="*/ 83979 w 600075"/>
                <a:gd name="connsiteY6" fmla="*/ 113824 h 1085850"/>
                <a:gd name="connsiteX7" fmla="*/ 104934 w 600075"/>
                <a:gd name="connsiteY7" fmla="*/ 173831 h 1085850"/>
                <a:gd name="connsiteX8" fmla="*/ 124936 w 600075"/>
                <a:gd name="connsiteY8" fmla="*/ 167164 h 1085850"/>
                <a:gd name="connsiteX9" fmla="*/ 156369 w 600075"/>
                <a:gd name="connsiteY9" fmla="*/ 135731 h 1085850"/>
                <a:gd name="connsiteX10" fmla="*/ 172561 w 600075"/>
                <a:gd name="connsiteY10" fmla="*/ 151924 h 1085850"/>
                <a:gd name="connsiteX11" fmla="*/ 157321 w 600075"/>
                <a:gd name="connsiteY11" fmla="*/ 202406 h 1085850"/>
                <a:gd name="connsiteX12" fmla="*/ 71596 w 600075"/>
                <a:gd name="connsiteY12" fmla="*/ 252889 h 1085850"/>
                <a:gd name="connsiteX13" fmla="*/ 68739 w 600075"/>
                <a:gd name="connsiteY13" fmla="*/ 294799 h 1085850"/>
                <a:gd name="connsiteX14" fmla="*/ 43021 w 600075"/>
                <a:gd name="connsiteY14" fmla="*/ 356711 h 1085850"/>
                <a:gd name="connsiteX15" fmla="*/ 62071 w 600075"/>
                <a:gd name="connsiteY15" fmla="*/ 370999 h 1085850"/>
                <a:gd name="connsiteX16" fmla="*/ 131604 w 600075"/>
                <a:gd name="connsiteY16" fmla="*/ 313849 h 1085850"/>
                <a:gd name="connsiteX17" fmla="*/ 167799 w 600075"/>
                <a:gd name="connsiteY17" fmla="*/ 295751 h 1085850"/>
                <a:gd name="connsiteX18" fmla="*/ 199231 w 600075"/>
                <a:gd name="connsiteY18" fmla="*/ 308134 h 1085850"/>
                <a:gd name="connsiteX19" fmla="*/ 237331 w 600075"/>
                <a:gd name="connsiteY19" fmla="*/ 320516 h 1085850"/>
                <a:gd name="connsiteX20" fmla="*/ 242094 w 600075"/>
                <a:gd name="connsiteY20" fmla="*/ 320516 h 1085850"/>
                <a:gd name="connsiteX21" fmla="*/ 270669 w 600075"/>
                <a:gd name="connsiteY21" fmla="*/ 291941 h 1085850"/>
                <a:gd name="connsiteX22" fmla="*/ 287814 w 600075"/>
                <a:gd name="connsiteY22" fmla="*/ 270034 h 1085850"/>
                <a:gd name="connsiteX23" fmla="*/ 290671 w 600075"/>
                <a:gd name="connsiteY23" fmla="*/ 270034 h 1085850"/>
                <a:gd name="connsiteX24" fmla="*/ 321151 w 600075"/>
                <a:gd name="connsiteY24" fmla="*/ 304324 h 1085850"/>
                <a:gd name="connsiteX25" fmla="*/ 292576 w 600075"/>
                <a:gd name="connsiteY25" fmla="*/ 355759 h 1085850"/>
                <a:gd name="connsiteX26" fmla="*/ 326866 w 600075"/>
                <a:gd name="connsiteY26" fmla="*/ 416719 h 1085850"/>
                <a:gd name="connsiteX27" fmla="*/ 291624 w 600075"/>
                <a:gd name="connsiteY27" fmla="*/ 428149 h 1085850"/>
                <a:gd name="connsiteX28" fmla="*/ 232569 w 600075"/>
                <a:gd name="connsiteY28" fmla="*/ 418624 h 1085850"/>
                <a:gd name="connsiteX29" fmla="*/ 225901 w 600075"/>
                <a:gd name="connsiteY29" fmla="*/ 418624 h 1085850"/>
                <a:gd name="connsiteX30" fmla="*/ 217329 w 600075"/>
                <a:gd name="connsiteY30" fmla="*/ 418624 h 1085850"/>
                <a:gd name="connsiteX31" fmla="*/ 208756 w 600075"/>
                <a:gd name="connsiteY31" fmla="*/ 418624 h 1085850"/>
                <a:gd name="connsiteX32" fmla="*/ 191611 w 600075"/>
                <a:gd name="connsiteY32" fmla="*/ 415766 h 1085850"/>
                <a:gd name="connsiteX33" fmla="*/ 156369 w 600075"/>
                <a:gd name="connsiteY33" fmla="*/ 390049 h 1085850"/>
                <a:gd name="connsiteX34" fmla="*/ 151606 w 600075"/>
                <a:gd name="connsiteY34" fmla="*/ 390049 h 1085850"/>
                <a:gd name="connsiteX35" fmla="*/ 68739 w 600075"/>
                <a:gd name="connsiteY35" fmla="*/ 433864 h 1085850"/>
                <a:gd name="connsiteX36" fmla="*/ 18256 w 600075"/>
                <a:gd name="connsiteY36" fmla="*/ 501491 h 1085850"/>
                <a:gd name="connsiteX37" fmla="*/ 35401 w 600075"/>
                <a:gd name="connsiteY37" fmla="*/ 668179 h 1085850"/>
                <a:gd name="connsiteX38" fmla="*/ 82074 w 600075"/>
                <a:gd name="connsiteY38" fmla="*/ 683419 h 1085850"/>
                <a:gd name="connsiteX39" fmla="*/ 130651 w 600075"/>
                <a:gd name="connsiteY39" fmla="*/ 678656 h 1085850"/>
                <a:gd name="connsiteX40" fmla="*/ 162084 w 600075"/>
                <a:gd name="connsiteY40" fmla="*/ 676751 h 1085850"/>
                <a:gd name="connsiteX41" fmla="*/ 207804 w 600075"/>
                <a:gd name="connsiteY41" fmla="*/ 731044 h 1085850"/>
                <a:gd name="connsiteX42" fmla="*/ 214471 w 600075"/>
                <a:gd name="connsiteY42" fmla="*/ 812006 h 1085850"/>
                <a:gd name="connsiteX43" fmla="*/ 233521 w 600075"/>
                <a:gd name="connsiteY43" fmla="*/ 892016 h 1085850"/>
                <a:gd name="connsiteX44" fmla="*/ 202089 w 600075"/>
                <a:gd name="connsiteY44" fmla="*/ 1046321 h 1085850"/>
                <a:gd name="connsiteX45" fmla="*/ 223044 w 600075"/>
                <a:gd name="connsiteY45" fmla="*/ 1084421 h 1085850"/>
                <a:gd name="connsiteX46" fmla="*/ 256381 w 600075"/>
                <a:gd name="connsiteY46" fmla="*/ 1060609 h 1085850"/>
                <a:gd name="connsiteX47" fmla="*/ 335439 w 600075"/>
                <a:gd name="connsiteY47" fmla="*/ 977741 h 1085850"/>
                <a:gd name="connsiteX48" fmla="*/ 402114 w 600075"/>
                <a:gd name="connsiteY48" fmla="*/ 823436 h 1085850"/>
                <a:gd name="connsiteX49" fmla="*/ 404971 w 600075"/>
                <a:gd name="connsiteY49" fmla="*/ 746284 h 1085850"/>
                <a:gd name="connsiteX50" fmla="*/ 446881 w 600075"/>
                <a:gd name="connsiteY50" fmla="*/ 645319 h 1085850"/>
                <a:gd name="connsiteX51" fmla="*/ 434499 w 600075"/>
                <a:gd name="connsiteY51" fmla="*/ 600551 h 1085850"/>
                <a:gd name="connsiteX52" fmla="*/ 444024 w 600075"/>
                <a:gd name="connsiteY52" fmla="*/ 549116 h 1085850"/>
                <a:gd name="connsiteX53" fmla="*/ 466884 w 600075"/>
                <a:gd name="connsiteY53" fmla="*/ 499586 h 1085850"/>
                <a:gd name="connsiteX54" fmla="*/ 431641 w 600075"/>
                <a:gd name="connsiteY54" fmla="*/ 443389 h 1085850"/>
                <a:gd name="connsiteX55" fmla="*/ 446881 w 600075"/>
                <a:gd name="connsiteY55" fmla="*/ 440531 h 1085850"/>
                <a:gd name="connsiteX56" fmla="*/ 528796 w 600075"/>
                <a:gd name="connsiteY56" fmla="*/ 591979 h 1085850"/>
                <a:gd name="connsiteX57" fmla="*/ 551656 w 600075"/>
                <a:gd name="connsiteY57" fmla="*/ 634841 h 1085850"/>
                <a:gd name="connsiteX58" fmla="*/ 570706 w 600075"/>
                <a:gd name="connsiteY58" fmla="*/ 602456 h 1085850"/>
                <a:gd name="connsiteX59" fmla="*/ 592614 w 600075"/>
                <a:gd name="connsiteY59" fmla="*/ 519589 h 1085850"/>
                <a:gd name="connsiteX60" fmla="*/ 563086 w 600075"/>
                <a:gd name="connsiteY60" fmla="*/ 356711 h 1085850"/>
                <a:gd name="connsiteX61" fmla="*/ 450691 w 600075"/>
                <a:gd name="connsiteY61" fmla="*/ 161449 h 1085850"/>
                <a:gd name="connsiteX62" fmla="*/ 227806 w 600075"/>
                <a:gd name="connsiteY62" fmla="*/ 7144 h 108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600075" h="1085850">
                  <a:moveTo>
                    <a:pt x="227806" y="7144"/>
                  </a:moveTo>
                  <a:lnTo>
                    <a:pt x="219234" y="18574"/>
                  </a:lnTo>
                  <a:cubicBezTo>
                    <a:pt x="223044" y="42386"/>
                    <a:pt x="201136" y="56674"/>
                    <a:pt x="183039" y="66199"/>
                  </a:cubicBezTo>
                  <a:cubicBezTo>
                    <a:pt x="172561" y="70961"/>
                    <a:pt x="165894" y="73819"/>
                    <a:pt x="161131" y="73819"/>
                  </a:cubicBezTo>
                  <a:cubicBezTo>
                    <a:pt x="153511" y="73819"/>
                    <a:pt x="147796" y="69056"/>
                    <a:pt x="130651" y="63341"/>
                  </a:cubicBezTo>
                  <a:cubicBezTo>
                    <a:pt x="120174" y="59531"/>
                    <a:pt x="111601" y="57626"/>
                    <a:pt x="105886" y="57626"/>
                  </a:cubicBezTo>
                  <a:cubicBezTo>
                    <a:pt x="83026" y="57626"/>
                    <a:pt x="83979" y="81439"/>
                    <a:pt x="83979" y="113824"/>
                  </a:cubicBezTo>
                  <a:cubicBezTo>
                    <a:pt x="83979" y="136684"/>
                    <a:pt x="82074" y="173831"/>
                    <a:pt x="104934" y="173831"/>
                  </a:cubicBezTo>
                  <a:cubicBezTo>
                    <a:pt x="109696" y="173831"/>
                    <a:pt x="116364" y="171926"/>
                    <a:pt x="124936" y="167164"/>
                  </a:cubicBezTo>
                  <a:cubicBezTo>
                    <a:pt x="136366" y="160496"/>
                    <a:pt x="144939" y="135731"/>
                    <a:pt x="156369" y="135731"/>
                  </a:cubicBezTo>
                  <a:cubicBezTo>
                    <a:pt x="161131" y="135731"/>
                    <a:pt x="166846" y="140494"/>
                    <a:pt x="172561" y="151924"/>
                  </a:cubicBezTo>
                  <a:cubicBezTo>
                    <a:pt x="182086" y="169069"/>
                    <a:pt x="167799" y="191929"/>
                    <a:pt x="157321" y="202406"/>
                  </a:cubicBezTo>
                  <a:cubicBezTo>
                    <a:pt x="128746" y="229076"/>
                    <a:pt x="83979" y="207169"/>
                    <a:pt x="71596" y="252889"/>
                  </a:cubicBezTo>
                  <a:cubicBezTo>
                    <a:pt x="67786" y="266224"/>
                    <a:pt x="73501" y="281464"/>
                    <a:pt x="68739" y="294799"/>
                  </a:cubicBezTo>
                  <a:cubicBezTo>
                    <a:pt x="63024" y="310991"/>
                    <a:pt x="31591" y="335756"/>
                    <a:pt x="43021" y="356711"/>
                  </a:cubicBezTo>
                  <a:cubicBezTo>
                    <a:pt x="48736" y="367189"/>
                    <a:pt x="55404" y="370999"/>
                    <a:pt x="62071" y="370999"/>
                  </a:cubicBezTo>
                  <a:cubicBezTo>
                    <a:pt x="86836" y="370999"/>
                    <a:pt x="118269" y="325279"/>
                    <a:pt x="131604" y="313849"/>
                  </a:cubicBezTo>
                  <a:cubicBezTo>
                    <a:pt x="146844" y="300514"/>
                    <a:pt x="158274" y="295751"/>
                    <a:pt x="167799" y="295751"/>
                  </a:cubicBezTo>
                  <a:cubicBezTo>
                    <a:pt x="179229" y="295751"/>
                    <a:pt x="187801" y="301466"/>
                    <a:pt x="199231" y="308134"/>
                  </a:cubicBezTo>
                  <a:cubicBezTo>
                    <a:pt x="209709" y="313849"/>
                    <a:pt x="221139" y="320516"/>
                    <a:pt x="237331" y="320516"/>
                  </a:cubicBezTo>
                  <a:cubicBezTo>
                    <a:pt x="239236" y="320516"/>
                    <a:pt x="240189" y="320516"/>
                    <a:pt x="242094" y="320516"/>
                  </a:cubicBezTo>
                  <a:cubicBezTo>
                    <a:pt x="268764" y="318611"/>
                    <a:pt x="259239" y="310039"/>
                    <a:pt x="270669" y="291941"/>
                  </a:cubicBezTo>
                  <a:cubicBezTo>
                    <a:pt x="277336" y="280511"/>
                    <a:pt x="270669" y="270034"/>
                    <a:pt x="287814" y="270034"/>
                  </a:cubicBezTo>
                  <a:cubicBezTo>
                    <a:pt x="288766" y="270034"/>
                    <a:pt x="289719" y="270034"/>
                    <a:pt x="290671" y="270034"/>
                  </a:cubicBezTo>
                  <a:cubicBezTo>
                    <a:pt x="301149" y="270986"/>
                    <a:pt x="318294" y="294799"/>
                    <a:pt x="321151" y="304324"/>
                  </a:cubicBezTo>
                  <a:cubicBezTo>
                    <a:pt x="327819" y="333851"/>
                    <a:pt x="303054" y="334804"/>
                    <a:pt x="292576" y="355759"/>
                  </a:cubicBezTo>
                  <a:cubicBezTo>
                    <a:pt x="276384" y="391954"/>
                    <a:pt x="313531" y="391001"/>
                    <a:pt x="326866" y="416719"/>
                  </a:cubicBezTo>
                  <a:cubicBezTo>
                    <a:pt x="315436" y="425291"/>
                    <a:pt x="304006" y="428149"/>
                    <a:pt x="291624" y="428149"/>
                  </a:cubicBezTo>
                  <a:cubicBezTo>
                    <a:pt x="272574" y="428149"/>
                    <a:pt x="252571" y="420529"/>
                    <a:pt x="232569" y="418624"/>
                  </a:cubicBezTo>
                  <a:cubicBezTo>
                    <a:pt x="230664" y="418624"/>
                    <a:pt x="227806" y="418624"/>
                    <a:pt x="225901" y="418624"/>
                  </a:cubicBezTo>
                  <a:cubicBezTo>
                    <a:pt x="223044" y="418624"/>
                    <a:pt x="220186" y="418624"/>
                    <a:pt x="217329" y="418624"/>
                  </a:cubicBezTo>
                  <a:cubicBezTo>
                    <a:pt x="214471" y="418624"/>
                    <a:pt x="211614" y="418624"/>
                    <a:pt x="208756" y="418624"/>
                  </a:cubicBezTo>
                  <a:cubicBezTo>
                    <a:pt x="203041" y="418624"/>
                    <a:pt x="197326" y="417671"/>
                    <a:pt x="191611" y="415766"/>
                  </a:cubicBezTo>
                  <a:cubicBezTo>
                    <a:pt x="174466" y="408146"/>
                    <a:pt x="183039" y="392906"/>
                    <a:pt x="156369" y="390049"/>
                  </a:cubicBezTo>
                  <a:cubicBezTo>
                    <a:pt x="154464" y="390049"/>
                    <a:pt x="152559" y="390049"/>
                    <a:pt x="151606" y="390049"/>
                  </a:cubicBezTo>
                  <a:cubicBezTo>
                    <a:pt x="120174" y="390049"/>
                    <a:pt x="96361" y="420529"/>
                    <a:pt x="68739" y="433864"/>
                  </a:cubicBezTo>
                  <a:cubicBezTo>
                    <a:pt x="31591" y="451961"/>
                    <a:pt x="23019" y="463391"/>
                    <a:pt x="18256" y="501491"/>
                  </a:cubicBezTo>
                  <a:cubicBezTo>
                    <a:pt x="11589" y="551974"/>
                    <a:pt x="-10319" y="627221"/>
                    <a:pt x="35401" y="668179"/>
                  </a:cubicBezTo>
                  <a:cubicBezTo>
                    <a:pt x="48736" y="680561"/>
                    <a:pt x="64929" y="683419"/>
                    <a:pt x="82074" y="683419"/>
                  </a:cubicBezTo>
                  <a:cubicBezTo>
                    <a:pt x="98266" y="683419"/>
                    <a:pt x="114459" y="680561"/>
                    <a:pt x="130651" y="678656"/>
                  </a:cubicBezTo>
                  <a:cubicBezTo>
                    <a:pt x="142081" y="677704"/>
                    <a:pt x="152559" y="676751"/>
                    <a:pt x="162084" y="676751"/>
                  </a:cubicBezTo>
                  <a:cubicBezTo>
                    <a:pt x="193516" y="676751"/>
                    <a:pt x="208756" y="687229"/>
                    <a:pt x="207804" y="731044"/>
                  </a:cubicBezTo>
                  <a:cubicBezTo>
                    <a:pt x="207804" y="758666"/>
                    <a:pt x="204946" y="786289"/>
                    <a:pt x="214471" y="812006"/>
                  </a:cubicBezTo>
                  <a:cubicBezTo>
                    <a:pt x="223996" y="840581"/>
                    <a:pt x="236379" y="860584"/>
                    <a:pt x="233521" y="892016"/>
                  </a:cubicBezTo>
                  <a:cubicBezTo>
                    <a:pt x="228759" y="947261"/>
                    <a:pt x="196374" y="987266"/>
                    <a:pt x="202089" y="1046321"/>
                  </a:cubicBezTo>
                  <a:cubicBezTo>
                    <a:pt x="204946" y="1072039"/>
                    <a:pt x="211614" y="1084421"/>
                    <a:pt x="223044" y="1084421"/>
                  </a:cubicBezTo>
                  <a:cubicBezTo>
                    <a:pt x="231616" y="1084421"/>
                    <a:pt x="243046" y="1075849"/>
                    <a:pt x="256381" y="1060609"/>
                  </a:cubicBezTo>
                  <a:cubicBezTo>
                    <a:pt x="281146" y="1031081"/>
                    <a:pt x="309721" y="1006316"/>
                    <a:pt x="335439" y="977741"/>
                  </a:cubicBezTo>
                  <a:cubicBezTo>
                    <a:pt x="367824" y="942499"/>
                    <a:pt x="395446" y="870109"/>
                    <a:pt x="402114" y="823436"/>
                  </a:cubicBezTo>
                  <a:cubicBezTo>
                    <a:pt x="404971" y="797719"/>
                    <a:pt x="399256" y="771049"/>
                    <a:pt x="404971" y="746284"/>
                  </a:cubicBezTo>
                  <a:cubicBezTo>
                    <a:pt x="411639" y="709136"/>
                    <a:pt x="441166" y="680561"/>
                    <a:pt x="446881" y="645319"/>
                  </a:cubicBezTo>
                  <a:cubicBezTo>
                    <a:pt x="451644" y="617696"/>
                    <a:pt x="440214" y="623411"/>
                    <a:pt x="434499" y="600551"/>
                  </a:cubicBezTo>
                  <a:cubicBezTo>
                    <a:pt x="429736" y="583406"/>
                    <a:pt x="437356" y="563404"/>
                    <a:pt x="444024" y="549116"/>
                  </a:cubicBezTo>
                  <a:cubicBezTo>
                    <a:pt x="451644" y="532924"/>
                    <a:pt x="469741" y="519589"/>
                    <a:pt x="466884" y="499586"/>
                  </a:cubicBezTo>
                  <a:cubicBezTo>
                    <a:pt x="464026" y="477679"/>
                    <a:pt x="435451" y="464344"/>
                    <a:pt x="431641" y="443389"/>
                  </a:cubicBezTo>
                  <a:cubicBezTo>
                    <a:pt x="436404" y="441484"/>
                    <a:pt x="442119" y="440531"/>
                    <a:pt x="446881" y="440531"/>
                  </a:cubicBezTo>
                  <a:cubicBezTo>
                    <a:pt x="497364" y="440531"/>
                    <a:pt x="524034" y="557689"/>
                    <a:pt x="528796" y="591979"/>
                  </a:cubicBezTo>
                  <a:cubicBezTo>
                    <a:pt x="532606" y="618649"/>
                    <a:pt x="542131" y="634841"/>
                    <a:pt x="551656" y="634841"/>
                  </a:cubicBezTo>
                  <a:cubicBezTo>
                    <a:pt x="559276" y="634841"/>
                    <a:pt x="565944" y="625316"/>
                    <a:pt x="570706" y="602456"/>
                  </a:cubicBezTo>
                  <a:cubicBezTo>
                    <a:pt x="576421" y="572929"/>
                    <a:pt x="584994" y="546259"/>
                    <a:pt x="592614" y="519589"/>
                  </a:cubicBezTo>
                  <a:cubicBezTo>
                    <a:pt x="611664" y="448151"/>
                    <a:pt x="594519" y="416719"/>
                    <a:pt x="563086" y="356711"/>
                  </a:cubicBezTo>
                  <a:cubicBezTo>
                    <a:pt x="529749" y="293846"/>
                    <a:pt x="494506" y="219551"/>
                    <a:pt x="450691" y="161449"/>
                  </a:cubicBezTo>
                  <a:cubicBezTo>
                    <a:pt x="393541" y="91916"/>
                    <a:pt x="300196" y="51911"/>
                    <a:pt x="227806" y="7144"/>
                  </a:cubicBezTo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F4D19D0-5A2E-4607-8554-BC7B192680F6}"/>
                </a:ext>
              </a:extLst>
            </p:cNvPr>
            <p:cNvSpPr/>
            <p:nvPr/>
          </p:nvSpPr>
          <p:spPr bwMode="ltGray">
            <a:xfrm>
              <a:off x="3991507" y="4180841"/>
              <a:ext cx="1128733" cy="2206164"/>
            </a:xfrm>
            <a:custGeom>
              <a:avLst/>
              <a:gdLst>
                <a:gd name="connsiteX0" fmla="*/ 192849 w 209550"/>
                <a:gd name="connsiteY0" fmla="*/ 7144 h 409575"/>
                <a:gd name="connsiteX1" fmla="*/ 161417 w 209550"/>
                <a:gd name="connsiteY1" fmla="*/ 45244 h 409575"/>
                <a:gd name="connsiteX2" fmla="*/ 154749 w 209550"/>
                <a:gd name="connsiteY2" fmla="*/ 99536 h 409575"/>
                <a:gd name="connsiteX3" fmla="*/ 120459 w 209550"/>
                <a:gd name="connsiteY3" fmla="*/ 171926 h 409575"/>
                <a:gd name="connsiteX4" fmla="*/ 74739 w 209550"/>
                <a:gd name="connsiteY4" fmla="*/ 258604 h 409575"/>
                <a:gd name="connsiteX5" fmla="*/ 10921 w 209550"/>
                <a:gd name="connsiteY5" fmla="*/ 329089 h 409575"/>
                <a:gd name="connsiteX6" fmla="*/ 9969 w 209550"/>
                <a:gd name="connsiteY6" fmla="*/ 395764 h 409575"/>
                <a:gd name="connsiteX7" fmla="*/ 22351 w 209550"/>
                <a:gd name="connsiteY7" fmla="*/ 407194 h 409575"/>
                <a:gd name="connsiteX8" fmla="*/ 28066 w 209550"/>
                <a:gd name="connsiteY8" fmla="*/ 405289 h 409575"/>
                <a:gd name="connsiteX9" fmla="*/ 42354 w 209550"/>
                <a:gd name="connsiteY9" fmla="*/ 391954 h 409575"/>
                <a:gd name="connsiteX10" fmla="*/ 69976 w 209550"/>
                <a:gd name="connsiteY10" fmla="*/ 351949 h 409575"/>
                <a:gd name="connsiteX11" fmla="*/ 163321 w 209550"/>
                <a:gd name="connsiteY11" fmla="*/ 190024 h 409575"/>
                <a:gd name="connsiteX12" fmla="*/ 199517 w 209550"/>
                <a:gd name="connsiteY12" fmla="*/ 19526 h 409575"/>
                <a:gd name="connsiteX13" fmla="*/ 192849 w 209550"/>
                <a:gd name="connsiteY13" fmla="*/ 7144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9550" h="409575">
                  <a:moveTo>
                    <a:pt x="192849" y="7144"/>
                  </a:moveTo>
                  <a:cubicBezTo>
                    <a:pt x="187134" y="24289"/>
                    <a:pt x="168084" y="30004"/>
                    <a:pt x="161417" y="45244"/>
                  </a:cubicBezTo>
                  <a:cubicBezTo>
                    <a:pt x="156654" y="58579"/>
                    <a:pt x="157606" y="84296"/>
                    <a:pt x="154749" y="99536"/>
                  </a:cubicBezTo>
                  <a:cubicBezTo>
                    <a:pt x="149034" y="131921"/>
                    <a:pt x="137604" y="144304"/>
                    <a:pt x="120459" y="171926"/>
                  </a:cubicBezTo>
                  <a:cubicBezTo>
                    <a:pt x="102361" y="199549"/>
                    <a:pt x="96646" y="233839"/>
                    <a:pt x="74739" y="258604"/>
                  </a:cubicBezTo>
                  <a:cubicBezTo>
                    <a:pt x="53784" y="282416"/>
                    <a:pt x="19494" y="295751"/>
                    <a:pt x="10921" y="329089"/>
                  </a:cubicBezTo>
                  <a:cubicBezTo>
                    <a:pt x="7111" y="341471"/>
                    <a:pt x="5206" y="383381"/>
                    <a:pt x="9969" y="395764"/>
                  </a:cubicBezTo>
                  <a:cubicBezTo>
                    <a:pt x="13779" y="403384"/>
                    <a:pt x="17589" y="407194"/>
                    <a:pt x="22351" y="407194"/>
                  </a:cubicBezTo>
                  <a:cubicBezTo>
                    <a:pt x="24256" y="407194"/>
                    <a:pt x="26161" y="406241"/>
                    <a:pt x="28066" y="405289"/>
                  </a:cubicBezTo>
                  <a:cubicBezTo>
                    <a:pt x="32829" y="401479"/>
                    <a:pt x="37591" y="396716"/>
                    <a:pt x="42354" y="391954"/>
                  </a:cubicBezTo>
                  <a:cubicBezTo>
                    <a:pt x="52831" y="379571"/>
                    <a:pt x="62356" y="362426"/>
                    <a:pt x="69976" y="351949"/>
                  </a:cubicBezTo>
                  <a:cubicBezTo>
                    <a:pt x="106171" y="300514"/>
                    <a:pt x="131889" y="243364"/>
                    <a:pt x="163321" y="190024"/>
                  </a:cubicBezTo>
                  <a:cubicBezTo>
                    <a:pt x="195706" y="135731"/>
                    <a:pt x="218567" y="82391"/>
                    <a:pt x="199517" y="19526"/>
                  </a:cubicBezTo>
                  <a:lnTo>
                    <a:pt x="192849" y="7144"/>
                  </a:lnTo>
                  <a:close/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7B06B57-87F2-4999-9051-9130D4219140}"/>
                </a:ext>
              </a:extLst>
            </p:cNvPr>
            <p:cNvSpPr/>
            <p:nvPr/>
          </p:nvSpPr>
          <p:spPr bwMode="ltGray">
            <a:xfrm>
              <a:off x="3811259" y="4868343"/>
              <a:ext cx="359144" cy="718287"/>
            </a:xfrm>
            <a:custGeom>
              <a:avLst/>
              <a:gdLst>
                <a:gd name="connsiteX0" fmla="*/ 68197 w 66675"/>
                <a:gd name="connsiteY0" fmla="*/ 7144 h 133350"/>
                <a:gd name="connsiteX1" fmla="*/ 55814 w 66675"/>
                <a:gd name="connsiteY1" fmla="*/ 26194 h 133350"/>
                <a:gd name="connsiteX2" fmla="*/ 8189 w 66675"/>
                <a:gd name="connsiteY2" fmla="*/ 133826 h 133350"/>
                <a:gd name="connsiteX3" fmla="*/ 68197 w 66675"/>
                <a:gd name="connsiteY3" fmla="*/ 7144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133350">
                  <a:moveTo>
                    <a:pt x="68197" y="7144"/>
                  </a:moveTo>
                  <a:lnTo>
                    <a:pt x="55814" y="26194"/>
                  </a:lnTo>
                  <a:cubicBezTo>
                    <a:pt x="46289" y="54769"/>
                    <a:pt x="-383" y="106204"/>
                    <a:pt x="8189" y="133826"/>
                  </a:cubicBezTo>
                  <a:cubicBezTo>
                    <a:pt x="66292" y="124301"/>
                    <a:pt x="68197" y="53816"/>
                    <a:pt x="68197" y="7144"/>
                  </a:cubicBezTo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6E1C2E2-BB89-4D6F-9E26-4819552D2F46}"/>
              </a:ext>
            </a:extLst>
          </p:cNvPr>
          <p:cNvGrpSpPr>
            <a:grpSpLocks noChangeAspect="1"/>
          </p:cNvGrpSpPr>
          <p:nvPr/>
        </p:nvGrpSpPr>
        <p:grpSpPr>
          <a:xfrm>
            <a:off x="1075883" y="5227486"/>
            <a:ext cx="2286000" cy="880288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51AEA87-C235-450A-AFCD-D7D7402D584D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5CE8A05-C7FA-4C3B-8336-544EA5285D5A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BA579D5-98DD-4625-9DD5-1FCE1B6ABB39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AE511275-1C6B-4F4E-8A9B-E40DF8FAEF2B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38331E1-8771-498E-825A-8979204BF675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E0F7623-F722-46A3-8DCD-E4C303E014A0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92D88A5-EFC5-4878-92A8-90872B618E80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2C98FC1-954B-4A65-A246-E2EB71113B59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E73EAB4-BAF9-4B68-B129-BC041994C622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9538EBC-4DC7-4383-9295-D6A8D0233665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DA212C6-92C7-4E68-89C9-A94713A119D9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552029A9-C9A8-49B6-B3B4-DDB77AA1AAB4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9F85ABB-A50C-40B7-AC49-BB3E72D927CF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2DD841B-152A-4831-B1D2-6E495BE1B1B6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F594510-C333-4EE6-9A81-F5B5D6794F1E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A809C24-BB35-4731-AFC5-357428D0ACB1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A77C51A-62BE-45E9-AE30-EEEE66586901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BDEFB69-A427-4EE9-9048-F231BA101167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6719ABB-E490-4463-9FFA-AE200A2AD7A1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879D5D20-EE89-4A8B-9699-D9683301D220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3FD26498-FDBF-440C-8464-BDE4887B9840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38BDF441-371D-4336-BFE3-6AB3A6129E34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8BAD5CD-434F-4D77-8BD2-26C750766026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02F9BDB-7819-4E53-AED0-AEFFFB5D36A6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FE22129-481A-4C11-B764-0A44426B8CBA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56673DCB-4EF6-4931-8C51-40ABA4BC6E47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9AE53901-D870-4D3D-ABDA-84C6C826D55A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7B70687E-1688-4C6E-AD4E-6AF6091422E5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C91D8D8-0C05-411F-B7B8-8CA246B7B429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C9E9740-267B-494C-8D33-85F618C926FA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34A535C0-EFC9-4E88-9ED6-FA4561E43589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BCA09B03-C6FB-46E6-AB89-1A6C42A51B45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036A51AB-A18D-4440-9151-7933E6130ED3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4BC48AB-7E8A-4959-9518-594EE8ED2EBA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2F7B36F4-4E99-4CE6-BA86-BFDECD3FB1EA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6BF9BE4F-4C44-4FF7-A214-ED9C63856F18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7F22B60-EF17-465C-8727-A1F0ACE58BA8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E1B18E76-E2CA-4B40-93A3-5CA062AC31EB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34815080-B3AE-49B7-AE41-2545F7485078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8F114B3A-7B5E-4A7A-BD2A-B116B303AE1B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536130B-73EE-4E3D-9780-9C55A1656313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0FD41130-7459-4A04-89E6-B467E7827050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0129EEC-9B42-496F-A2D1-85996ED46E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457200"/>
            <a:ext cx="5715000" cy="2565401"/>
          </a:xfrm>
        </p:spPr>
        <p:txBody>
          <a:bodyPr anchor="b"/>
          <a:lstStyle>
            <a:lvl1pPr algn="l">
              <a:lnSpc>
                <a:spcPct val="82000"/>
              </a:lnSpc>
              <a:defRPr sz="6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FC3C0E5-30C1-434C-9ECA-434F7A55C4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0" y="3306349"/>
            <a:ext cx="5715000" cy="73152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or Presenter Name</a:t>
            </a:r>
          </a:p>
        </p:txBody>
      </p:sp>
    </p:spTree>
    <p:extLst>
      <p:ext uri="{BB962C8B-B14F-4D97-AF65-F5344CB8AC3E}">
        <p14:creationId xmlns:p14="http://schemas.microsoft.com/office/powerpoint/2010/main" val="2424832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Circ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71D965E-4C58-47A3-8D87-9119AC8962E8}"/>
              </a:ext>
            </a:extLst>
          </p:cNvPr>
          <p:cNvSpPr/>
          <p:nvPr/>
        </p:nvSpPr>
        <p:spPr bwMode="white">
          <a:xfrm>
            <a:off x="1" y="0"/>
            <a:ext cx="5538665" cy="6858000"/>
          </a:xfrm>
          <a:custGeom>
            <a:avLst/>
            <a:gdLst>
              <a:gd name="connsiteX0" fmla="*/ 0 w 5538665"/>
              <a:gd name="connsiteY0" fmla="*/ 0 h 6853445"/>
              <a:gd name="connsiteX1" fmla="*/ 3789661 w 5538665"/>
              <a:gd name="connsiteY1" fmla="*/ 0 h 6853445"/>
              <a:gd name="connsiteX2" fmla="*/ 3864039 w 5538665"/>
              <a:gd name="connsiteY2" fmla="*/ 48915 h 6853445"/>
              <a:gd name="connsiteX3" fmla="*/ 5522925 w 5538665"/>
              <a:gd name="connsiteY3" fmla="*/ 3895777 h 6853445"/>
              <a:gd name="connsiteX4" fmla="*/ 3442584 w 5538665"/>
              <a:gd name="connsiteY4" fmla="*/ 6852853 h 6853445"/>
              <a:gd name="connsiteX5" fmla="*/ 3441243 w 5538665"/>
              <a:gd name="connsiteY5" fmla="*/ 6853445 h 6853445"/>
              <a:gd name="connsiteX6" fmla="*/ 0 w 5538665"/>
              <a:gd name="connsiteY6" fmla="*/ 6853445 h 6853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38665" h="6853445">
                <a:moveTo>
                  <a:pt x="0" y="0"/>
                </a:moveTo>
                <a:lnTo>
                  <a:pt x="3789661" y="0"/>
                </a:lnTo>
                <a:lnTo>
                  <a:pt x="3864039" y="48915"/>
                </a:lnTo>
                <a:cubicBezTo>
                  <a:pt x="5036717" y="905415"/>
                  <a:pt x="5646593" y="2400600"/>
                  <a:pt x="5522925" y="3895777"/>
                </a:cubicBezTo>
                <a:cubicBezTo>
                  <a:pt x="5403483" y="5448579"/>
                  <a:pt x="4490294" y="6359136"/>
                  <a:pt x="3442584" y="6852853"/>
                </a:cubicBezTo>
                <a:lnTo>
                  <a:pt x="3441243" y="6853445"/>
                </a:lnTo>
                <a:lnTo>
                  <a:pt x="0" y="6853445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0008707-373C-4868-B058-05072F020C5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459602" y="0"/>
            <a:ext cx="8732399" cy="6858000"/>
          </a:xfrm>
          <a:custGeom>
            <a:avLst/>
            <a:gdLst>
              <a:gd name="connsiteX0" fmla="*/ 343919 w 8732399"/>
              <a:gd name="connsiteY0" fmla="*/ 0 h 6858000"/>
              <a:gd name="connsiteX1" fmla="*/ 8732399 w 8732399"/>
              <a:gd name="connsiteY1" fmla="*/ 0 h 6858000"/>
              <a:gd name="connsiteX2" fmla="*/ 8732399 w 8732399"/>
              <a:gd name="connsiteY2" fmla="*/ 6858000 h 6858000"/>
              <a:gd name="connsiteX3" fmla="*/ 0 w 8732399"/>
              <a:gd name="connsiteY3" fmla="*/ 6858000 h 6858000"/>
              <a:gd name="connsiteX4" fmla="*/ 177693 w 8732399"/>
              <a:gd name="connsiteY4" fmla="*/ 6768713 h 6858000"/>
              <a:gd name="connsiteX5" fmla="*/ 2063325 w 8732399"/>
              <a:gd name="connsiteY5" fmla="*/ 3899618 h 6858000"/>
              <a:gd name="connsiteX6" fmla="*/ 2077959 w 8732399"/>
              <a:gd name="connsiteY6" fmla="*/ 3618494 h 6858000"/>
              <a:gd name="connsiteX7" fmla="*/ 2077954 w 8732399"/>
              <a:gd name="connsiteY7" fmla="*/ 3617951 h 6858000"/>
              <a:gd name="connsiteX8" fmla="*/ 2077959 w 8732399"/>
              <a:gd name="connsiteY8" fmla="*/ 3617865 h 6858000"/>
              <a:gd name="connsiteX9" fmla="*/ 2076397 w 8732399"/>
              <a:gd name="connsiteY9" fmla="*/ 3429041 h 6858000"/>
              <a:gd name="connsiteX10" fmla="*/ 2075650 w 8732399"/>
              <a:gd name="connsiteY10" fmla="*/ 3338309 h 6858000"/>
              <a:gd name="connsiteX11" fmla="*/ 404439 w 8732399"/>
              <a:gd name="connsiteY11" fmla="*/ 3993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732399" h="6858000">
                <a:moveTo>
                  <a:pt x="343919" y="0"/>
                </a:moveTo>
                <a:lnTo>
                  <a:pt x="8732399" y="0"/>
                </a:lnTo>
                <a:lnTo>
                  <a:pt x="8732399" y="6858000"/>
                </a:lnTo>
                <a:lnTo>
                  <a:pt x="0" y="6858000"/>
                </a:lnTo>
                <a:lnTo>
                  <a:pt x="177693" y="6768713"/>
                </a:lnTo>
                <a:cubicBezTo>
                  <a:pt x="1141742" y="6254472"/>
                  <a:pt x="1951349" y="5360222"/>
                  <a:pt x="2063325" y="3899618"/>
                </a:cubicBezTo>
                <a:cubicBezTo>
                  <a:pt x="2071055" y="3805858"/>
                  <a:pt x="2075919" y="3712098"/>
                  <a:pt x="2077959" y="3618494"/>
                </a:cubicBezTo>
                <a:lnTo>
                  <a:pt x="2077954" y="3617951"/>
                </a:lnTo>
                <a:lnTo>
                  <a:pt x="2077959" y="3617865"/>
                </a:lnTo>
                <a:lnTo>
                  <a:pt x="2076397" y="3429041"/>
                </a:lnTo>
                <a:lnTo>
                  <a:pt x="2075650" y="3338309"/>
                </a:lnTo>
                <a:cubicBezTo>
                  <a:pt x="2025731" y="2034428"/>
                  <a:pt x="1430533" y="791870"/>
                  <a:pt x="404439" y="39934"/>
                </a:cubicBezTo>
                <a:close/>
              </a:path>
            </a:pathLst>
          </a:custGeom>
          <a:solidFill>
            <a:srgbClr val="D9D9D9"/>
          </a:solidFill>
        </p:spPr>
        <p:txBody>
          <a:bodyPr wrap="square" lIns="4663440" tIns="0" r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full slide image is 1280 x 7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6AAFD9-7181-4BA5-A2B7-821424B513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914400"/>
            <a:ext cx="4389120" cy="2476500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53">
            <a:extLst>
              <a:ext uri="{FF2B5EF4-FFF2-40B4-BE49-F238E27FC236}">
                <a16:creationId xmlns:a16="http://schemas.microsoft.com/office/drawing/2014/main" id="{D275F703-BAB3-4AC2-B21C-F4D222E298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1333" y="3714750"/>
            <a:ext cx="4389120" cy="7810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Subtitle text (optional)</a:t>
            </a:r>
          </a:p>
        </p:txBody>
      </p:sp>
    </p:spTree>
    <p:extLst>
      <p:ext uri="{BB962C8B-B14F-4D97-AF65-F5344CB8AC3E}">
        <p14:creationId xmlns:p14="http://schemas.microsoft.com/office/powerpoint/2010/main" val="27203783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Arrow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930312BD-1466-44B1-91B9-A5BC6B67C99E}"/>
              </a:ext>
            </a:extLst>
          </p:cNvPr>
          <p:cNvSpPr/>
          <p:nvPr/>
        </p:nvSpPr>
        <p:spPr bwMode="white">
          <a:xfrm>
            <a:off x="0" y="271458"/>
            <a:ext cx="5590219" cy="6586542"/>
          </a:xfrm>
          <a:custGeom>
            <a:avLst/>
            <a:gdLst>
              <a:gd name="connsiteX0" fmla="*/ 2744145 w 5590219"/>
              <a:gd name="connsiteY0" fmla="*/ 2926 h 6586542"/>
              <a:gd name="connsiteX1" fmla="*/ 3035619 w 5590219"/>
              <a:gd name="connsiteY1" fmla="*/ 174376 h 6586542"/>
              <a:gd name="connsiteX2" fmla="*/ 4835835 w 5590219"/>
              <a:gd name="connsiteY2" fmla="*/ 1820293 h 6586542"/>
              <a:gd name="connsiteX3" fmla="*/ 5487345 w 5590219"/>
              <a:gd name="connsiteY3" fmla="*/ 2591825 h 6586542"/>
              <a:gd name="connsiteX4" fmla="*/ 5555925 w 5590219"/>
              <a:gd name="connsiteY4" fmla="*/ 2900435 h 6586542"/>
              <a:gd name="connsiteX5" fmla="*/ 5573079 w 5590219"/>
              <a:gd name="connsiteY5" fmla="*/ 3929133 h 6586542"/>
              <a:gd name="connsiteX6" fmla="*/ 5573079 w 5590219"/>
              <a:gd name="connsiteY6" fmla="*/ 4649221 h 6586542"/>
              <a:gd name="connsiteX7" fmla="*/ 5573079 w 5590219"/>
              <a:gd name="connsiteY7" fmla="*/ 6295138 h 6586542"/>
              <a:gd name="connsiteX8" fmla="*/ 5558606 w 5590219"/>
              <a:gd name="connsiteY8" fmla="*/ 6557937 h 6586542"/>
              <a:gd name="connsiteX9" fmla="*/ 5548028 w 5590219"/>
              <a:gd name="connsiteY9" fmla="*/ 6586542 h 6586542"/>
              <a:gd name="connsiteX10" fmla="*/ 0 w 5590219"/>
              <a:gd name="connsiteY10" fmla="*/ 6586542 h 6586542"/>
              <a:gd name="connsiteX11" fmla="*/ 0 w 5590219"/>
              <a:gd name="connsiteY11" fmla="*/ 2276131 h 6586542"/>
              <a:gd name="connsiteX12" fmla="*/ 37381 w 5590219"/>
              <a:gd name="connsiteY12" fmla="*/ 2238202 h 6586542"/>
              <a:gd name="connsiteX13" fmla="*/ 343844 w 5590219"/>
              <a:gd name="connsiteY13" fmla="*/ 1991742 h 6586542"/>
              <a:gd name="connsiteX14" fmla="*/ 1972629 w 5590219"/>
              <a:gd name="connsiteY14" fmla="*/ 448695 h 6586542"/>
              <a:gd name="connsiteX15" fmla="*/ 2744145 w 5590219"/>
              <a:gd name="connsiteY15" fmla="*/ 2926 h 6586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90219" h="6586542">
                <a:moveTo>
                  <a:pt x="2744145" y="2926"/>
                </a:moveTo>
                <a:cubicBezTo>
                  <a:pt x="2847015" y="20080"/>
                  <a:pt x="2967039" y="105796"/>
                  <a:pt x="3035619" y="174376"/>
                </a:cubicBezTo>
                <a:cubicBezTo>
                  <a:pt x="3841425" y="808749"/>
                  <a:pt x="4287195" y="1254518"/>
                  <a:pt x="4835835" y="1820293"/>
                </a:cubicBezTo>
                <a:cubicBezTo>
                  <a:pt x="5024439" y="2008896"/>
                  <a:pt x="5384475" y="2351796"/>
                  <a:pt x="5487345" y="2591825"/>
                </a:cubicBezTo>
                <a:cubicBezTo>
                  <a:pt x="5521635" y="2694695"/>
                  <a:pt x="5538789" y="2797565"/>
                  <a:pt x="5555925" y="2900435"/>
                </a:cubicBezTo>
                <a:cubicBezTo>
                  <a:pt x="5607369" y="3260470"/>
                  <a:pt x="5590215" y="3551944"/>
                  <a:pt x="5573079" y="3929133"/>
                </a:cubicBezTo>
                <a:cubicBezTo>
                  <a:pt x="5573079" y="4134872"/>
                  <a:pt x="5573079" y="4443482"/>
                  <a:pt x="5573079" y="4649221"/>
                </a:cubicBezTo>
                <a:cubicBezTo>
                  <a:pt x="5555925" y="5283576"/>
                  <a:pt x="5573079" y="5626476"/>
                  <a:pt x="5573079" y="6295138"/>
                </a:cubicBezTo>
                <a:cubicBezTo>
                  <a:pt x="5573079" y="6385143"/>
                  <a:pt x="5582718" y="6475157"/>
                  <a:pt x="5558606" y="6557937"/>
                </a:cubicBezTo>
                <a:lnTo>
                  <a:pt x="5548028" y="6586542"/>
                </a:lnTo>
                <a:lnTo>
                  <a:pt x="0" y="6586542"/>
                </a:lnTo>
                <a:lnTo>
                  <a:pt x="0" y="2276131"/>
                </a:lnTo>
                <a:lnTo>
                  <a:pt x="37381" y="2238202"/>
                </a:lnTo>
                <a:cubicBezTo>
                  <a:pt x="138109" y="2146047"/>
                  <a:pt x="249551" y="2077467"/>
                  <a:pt x="343844" y="1991742"/>
                </a:cubicBezTo>
                <a:cubicBezTo>
                  <a:pt x="858194" y="1443103"/>
                  <a:pt x="1406835" y="945908"/>
                  <a:pt x="1972629" y="448695"/>
                </a:cubicBezTo>
                <a:cubicBezTo>
                  <a:pt x="2195505" y="242956"/>
                  <a:pt x="2452689" y="-31364"/>
                  <a:pt x="2744145" y="2926"/>
                </a:cubicBez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DC7C04E-5ED8-4EA9-8321-1C3F398CE0C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1" cy="6858000"/>
          </a:xfrm>
          <a:custGeom>
            <a:avLst/>
            <a:gdLst>
              <a:gd name="connsiteX0" fmla="*/ 0 w 12192001"/>
              <a:gd name="connsiteY0" fmla="*/ 0 h 6858000"/>
              <a:gd name="connsiteX1" fmla="*/ 12192001 w 12192001"/>
              <a:gd name="connsiteY1" fmla="*/ 0 h 6858000"/>
              <a:gd name="connsiteX2" fmla="*/ 12192001 w 12192001"/>
              <a:gd name="connsiteY2" fmla="*/ 6858000 h 6858000"/>
              <a:gd name="connsiteX3" fmla="*/ 5548029 w 12192001"/>
              <a:gd name="connsiteY3" fmla="*/ 6858000 h 6858000"/>
              <a:gd name="connsiteX4" fmla="*/ 5558606 w 12192001"/>
              <a:gd name="connsiteY4" fmla="*/ 6829395 h 6858000"/>
              <a:gd name="connsiteX5" fmla="*/ 5573080 w 12192001"/>
              <a:gd name="connsiteY5" fmla="*/ 6566596 h 6858000"/>
              <a:gd name="connsiteX6" fmla="*/ 5573080 w 12192001"/>
              <a:gd name="connsiteY6" fmla="*/ 4920679 h 6858000"/>
              <a:gd name="connsiteX7" fmla="*/ 5573080 w 12192001"/>
              <a:gd name="connsiteY7" fmla="*/ 4200591 h 6858000"/>
              <a:gd name="connsiteX8" fmla="*/ 5555925 w 12192001"/>
              <a:gd name="connsiteY8" fmla="*/ 3171893 h 6858000"/>
              <a:gd name="connsiteX9" fmla="*/ 5487345 w 12192001"/>
              <a:gd name="connsiteY9" fmla="*/ 2863283 h 6858000"/>
              <a:gd name="connsiteX10" fmla="*/ 4835835 w 12192001"/>
              <a:gd name="connsiteY10" fmla="*/ 2091751 h 6858000"/>
              <a:gd name="connsiteX11" fmla="*/ 3035619 w 12192001"/>
              <a:gd name="connsiteY11" fmla="*/ 445834 h 6858000"/>
              <a:gd name="connsiteX12" fmla="*/ 2744145 w 12192001"/>
              <a:gd name="connsiteY12" fmla="*/ 274384 h 6858000"/>
              <a:gd name="connsiteX13" fmla="*/ 1972629 w 12192001"/>
              <a:gd name="connsiteY13" fmla="*/ 720153 h 6858000"/>
              <a:gd name="connsiteX14" fmla="*/ 343844 w 12192001"/>
              <a:gd name="connsiteY14" fmla="*/ 2263200 h 6858000"/>
              <a:gd name="connsiteX15" fmla="*/ 37381 w 12192001"/>
              <a:gd name="connsiteY15" fmla="*/ 2509660 h 6858000"/>
              <a:gd name="connsiteX16" fmla="*/ 0 w 12192001"/>
              <a:gd name="connsiteY16" fmla="*/ 254758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2001" h="6858000">
                <a:moveTo>
                  <a:pt x="0" y="0"/>
                </a:moveTo>
                <a:lnTo>
                  <a:pt x="12192001" y="0"/>
                </a:lnTo>
                <a:lnTo>
                  <a:pt x="12192001" y="6858000"/>
                </a:lnTo>
                <a:lnTo>
                  <a:pt x="5548029" y="6858000"/>
                </a:lnTo>
                <a:lnTo>
                  <a:pt x="5558606" y="6829395"/>
                </a:lnTo>
                <a:cubicBezTo>
                  <a:pt x="5582718" y="6746615"/>
                  <a:pt x="5573080" y="6656601"/>
                  <a:pt x="5573080" y="6566596"/>
                </a:cubicBezTo>
                <a:cubicBezTo>
                  <a:pt x="5573080" y="5897934"/>
                  <a:pt x="5555925" y="5555034"/>
                  <a:pt x="5573080" y="4920679"/>
                </a:cubicBezTo>
                <a:cubicBezTo>
                  <a:pt x="5573080" y="4714940"/>
                  <a:pt x="5573080" y="4406330"/>
                  <a:pt x="5573080" y="4200591"/>
                </a:cubicBezTo>
                <a:cubicBezTo>
                  <a:pt x="5590215" y="3823402"/>
                  <a:pt x="5607369" y="3531928"/>
                  <a:pt x="5555925" y="3171893"/>
                </a:cubicBezTo>
                <a:cubicBezTo>
                  <a:pt x="5538789" y="3069023"/>
                  <a:pt x="5521636" y="2966153"/>
                  <a:pt x="5487345" y="2863283"/>
                </a:cubicBezTo>
                <a:cubicBezTo>
                  <a:pt x="5384475" y="2623254"/>
                  <a:pt x="5024439" y="2280354"/>
                  <a:pt x="4835835" y="2091751"/>
                </a:cubicBezTo>
                <a:cubicBezTo>
                  <a:pt x="4287195" y="1525976"/>
                  <a:pt x="3841425" y="1080207"/>
                  <a:pt x="3035619" y="445834"/>
                </a:cubicBezTo>
                <a:cubicBezTo>
                  <a:pt x="2967039" y="377254"/>
                  <a:pt x="2847015" y="291538"/>
                  <a:pt x="2744145" y="274384"/>
                </a:cubicBezTo>
                <a:cubicBezTo>
                  <a:pt x="2452689" y="240094"/>
                  <a:pt x="2195505" y="514414"/>
                  <a:pt x="1972629" y="720153"/>
                </a:cubicBezTo>
                <a:cubicBezTo>
                  <a:pt x="1406835" y="1217366"/>
                  <a:pt x="858194" y="1714561"/>
                  <a:pt x="343844" y="2263200"/>
                </a:cubicBezTo>
                <a:cubicBezTo>
                  <a:pt x="249551" y="2348925"/>
                  <a:pt x="138109" y="2417505"/>
                  <a:pt x="37381" y="2509660"/>
                </a:cubicBezTo>
                <a:lnTo>
                  <a:pt x="0" y="254758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6400800" t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full slide image is 1280 x 7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6AAFD9-7181-4BA5-A2B7-821424B513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2476500"/>
            <a:ext cx="4695825" cy="2463800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53">
            <a:extLst>
              <a:ext uri="{FF2B5EF4-FFF2-40B4-BE49-F238E27FC236}">
                <a16:creationId xmlns:a16="http://schemas.microsoft.com/office/drawing/2014/main" id="{D275F703-BAB3-4AC2-B21C-F4D222E298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1332" y="5297713"/>
            <a:ext cx="4684090" cy="73152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Subtitle text (optional)</a:t>
            </a:r>
          </a:p>
        </p:txBody>
      </p:sp>
    </p:spTree>
    <p:extLst>
      <p:ext uri="{BB962C8B-B14F-4D97-AF65-F5344CB8AC3E}">
        <p14:creationId xmlns:p14="http://schemas.microsoft.com/office/powerpoint/2010/main" val="36867933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Fun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655B1FCA-4D49-4122-B6E9-D550AA0C5E7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2"/>
            <a:ext cx="5266036" cy="6857999"/>
          </a:xfrm>
          <a:custGeom>
            <a:avLst/>
            <a:gdLst>
              <a:gd name="connsiteX0" fmla="*/ 0 w 5266036"/>
              <a:gd name="connsiteY0" fmla="*/ 0 h 6857999"/>
              <a:gd name="connsiteX1" fmla="*/ 3014696 w 5266036"/>
              <a:gd name="connsiteY1" fmla="*/ 0 h 6857999"/>
              <a:gd name="connsiteX2" fmla="*/ 3040982 w 5266036"/>
              <a:gd name="connsiteY2" fmla="*/ 11408 h 6857999"/>
              <a:gd name="connsiteX3" fmla="*/ 5250901 w 5266036"/>
              <a:gd name="connsiteY3" fmla="*/ 4085922 h 6857999"/>
              <a:gd name="connsiteX4" fmla="*/ 3435696 w 5266036"/>
              <a:gd name="connsiteY4" fmla="*/ 6839477 h 6857999"/>
              <a:gd name="connsiteX5" fmla="*/ 3398838 w 5266036"/>
              <a:gd name="connsiteY5" fmla="*/ 6857999 h 6857999"/>
              <a:gd name="connsiteX6" fmla="*/ 0 w 5266036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66036" h="6857999">
                <a:moveTo>
                  <a:pt x="0" y="0"/>
                </a:moveTo>
                <a:lnTo>
                  <a:pt x="3014696" y="0"/>
                </a:lnTo>
                <a:lnTo>
                  <a:pt x="3040982" y="11408"/>
                </a:lnTo>
                <a:cubicBezTo>
                  <a:pt x="4562919" y="717837"/>
                  <a:pt x="5390071" y="2397951"/>
                  <a:pt x="5250901" y="4085922"/>
                </a:cubicBezTo>
                <a:cubicBezTo>
                  <a:pt x="5138669" y="5484335"/>
                  <a:pt x="4361602" y="6343612"/>
                  <a:pt x="3435696" y="6839477"/>
                </a:cubicBezTo>
                <a:lnTo>
                  <a:pt x="3398838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tIns="365760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half slide image is 640 x 720 pixels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6608E2E-E744-4878-A234-60F6B6711C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3306349"/>
            <a:ext cx="5715000" cy="73152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Subtitle or Presenter Nam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534CB02-81D9-4803-9899-8E6A2EABA9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457200"/>
            <a:ext cx="5715000" cy="2565401"/>
          </a:xfrm>
        </p:spPr>
        <p:txBody>
          <a:bodyPr/>
          <a:lstStyle>
            <a:lvl1pPr>
              <a:lnSpc>
                <a:spcPct val="82000"/>
              </a:lnSpc>
              <a:defRPr sz="6600" b="0"/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A6D84BC-9F4C-46D1-BCFD-02C11A706D43}"/>
              </a:ext>
            </a:extLst>
          </p:cNvPr>
          <p:cNvGrpSpPr>
            <a:grpSpLocks noChangeAspect="1"/>
          </p:cNvGrpSpPr>
          <p:nvPr/>
        </p:nvGrpSpPr>
        <p:grpSpPr>
          <a:xfrm>
            <a:off x="7025923" y="5543531"/>
            <a:ext cx="2286000" cy="880288"/>
            <a:chOff x="2078951" y="1888610"/>
            <a:chExt cx="8030200" cy="3092248"/>
          </a:xfrm>
          <a:solidFill>
            <a:srgbClr val="4F2170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272DA5A-B0A1-4433-AF19-58D29499701D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10AB75D-54FA-4127-838D-A2CDC911B648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73C4E44-0B9D-4D7D-A72A-E10AA3E25788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F17AEE1-933D-430A-938B-044F9EEF7E0F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A198EB9-1147-497F-9629-D20241548224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489DA5D-3FDF-41B6-8FEC-3BAA766E6DD2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7AA4C2C-CCD9-4698-B061-F47DE3A46C84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899E50A-6EE7-43FA-8BC5-A3FC97DE7DC4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AB6D96F-3061-42BC-92D0-1BF63F8246F4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6E90DD0-D326-4354-B19D-6B25CA8E122A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C8EBEE1-EF8C-4C52-8690-44C2ACEA5D70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0406D85-B240-4DDD-A872-237D9A7B6040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4692158-F77E-4CC1-B129-4C7D59571AEE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0135833-3309-460C-8E4A-15D74B05AF6B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5215576-30F2-4AAD-8485-216D0761A724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97F4014-0506-40C3-9D6E-9D29B34F6404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2CECD138-51CC-425A-86A7-D780954B759C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672872F-0F50-4B3B-9CEE-35C229AA0CF9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04A581DD-06BD-44EA-9E2D-8FB253851F92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8E29341-2391-4754-93F4-DE7EF2D3370D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95B7127F-7A53-40C2-B41D-3D96503E3CC7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14B5140-BD02-4841-AF70-6D377E4DF2E9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16C21D7B-C520-4401-BFFD-43EA75B9B3F0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DB9B60B4-35FC-49B0-906A-7C704B6B94BA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550272F-F181-4670-9AB4-62C5CF01BC3A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F128CAF-7E33-41B3-941E-1DA081A62D07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C35D844-DD99-4858-9C8F-7E64319ECEC1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B5B50CFE-2A9A-43B6-BAED-D4D319AF496E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A3220ED-525E-42D0-945D-DABC984A9613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F9C0273-E1F4-49D7-992B-B560253BF396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C93ECA97-B97C-4583-903C-CA4913633E3F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27E45CBE-6678-447C-B516-5E394D02935C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891440AF-BE0A-4FCF-8580-12C0D6978EDB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2824A636-A433-4E44-BCE1-4D747AEE8B2B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BC039864-996D-45FB-8953-B06D02EC1B41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E252413E-95D4-436B-9CDD-1C43CDFDF645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788C5136-65D1-40F1-A383-12AEB2FDD611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9724F851-AB55-47D5-B0E8-62214C52C678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100ABB2F-82B3-4313-9667-9D4CAE736D8E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BF1535FC-5A93-427B-B4B5-A62EC2FC69C2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88832EF-632C-43A0-AFE1-06D043A20CAF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872BE12F-3FBC-4635-99C7-4788DC937AE2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54" name="Graphic 53">
            <a:extLst>
              <a:ext uri="{FF2B5EF4-FFF2-40B4-BE49-F238E27FC236}">
                <a16:creationId xmlns:a16="http://schemas.microsoft.com/office/drawing/2014/main" id="{7044E344-4143-45A0-BB19-DE4ABD7362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16080" y="5240354"/>
            <a:ext cx="45719" cy="1348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9316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Hexago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4730513-B885-49F0-9C17-F45E71DFE844}"/>
              </a:ext>
            </a:extLst>
          </p:cNvPr>
          <p:cNvSpPr/>
          <p:nvPr/>
        </p:nvSpPr>
        <p:spPr bwMode="white">
          <a:xfrm>
            <a:off x="0" y="0"/>
            <a:ext cx="6003366" cy="6105046"/>
          </a:xfrm>
          <a:custGeom>
            <a:avLst/>
            <a:gdLst>
              <a:gd name="connsiteX0" fmla="*/ 0 w 6003366"/>
              <a:gd name="connsiteY0" fmla="*/ 0 h 6105046"/>
              <a:gd name="connsiteX1" fmla="*/ 4639238 w 6003366"/>
              <a:gd name="connsiteY1" fmla="*/ 0 h 6105046"/>
              <a:gd name="connsiteX2" fmla="*/ 4663657 w 6003366"/>
              <a:gd name="connsiteY2" fmla="*/ 38495 h 6105046"/>
              <a:gd name="connsiteX3" fmla="*/ 5718321 w 6003366"/>
              <a:gd name="connsiteY3" fmla="*/ 1734501 h 6105046"/>
              <a:gd name="connsiteX4" fmla="*/ 6003366 w 6003366"/>
              <a:gd name="connsiteY4" fmla="*/ 2432867 h 6105046"/>
              <a:gd name="connsiteX5" fmla="*/ 5775330 w 6003366"/>
              <a:gd name="connsiteY5" fmla="*/ 3131218 h 6105046"/>
              <a:gd name="connsiteX6" fmla="*/ 4449866 w 6003366"/>
              <a:gd name="connsiteY6" fmla="*/ 5696617 h 6105046"/>
              <a:gd name="connsiteX7" fmla="*/ 4250335 w 6003366"/>
              <a:gd name="connsiteY7" fmla="*/ 5981661 h 6105046"/>
              <a:gd name="connsiteX8" fmla="*/ 3780019 w 6003366"/>
              <a:gd name="connsiteY8" fmla="*/ 6095679 h 6105046"/>
              <a:gd name="connsiteX9" fmla="*/ 1171855 w 6003366"/>
              <a:gd name="connsiteY9" fmla="*/ 6081434 h 6105046"/>
              <a:gd name="connsiteX10" fmla="*/ 459244 w 6003366"/>
              <a:gd name="connsiteY10" fmla="*/ 5967416 h 6105046"/>
              <a:gd name="connsiteX11" fmla="*/ 58904 w 6003366"/>
              <a:gd name="connsiteY11" fmla="*/ 5687075 h 6105046"/>
              <a:gd name="connsiteX12" fmla="*/ 0 w 6003366"/>
              <a:gd name="connsiteY12" fmla="*/ 5620135 h 6105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03366" h="6105046">
                <a:moveTo>
                  <a:pt x="0" y="0"/>
                </a:moveTo>
                <a:lnTo>
                  <a:pt x="4639238" y="0"/>
                </a:lnTo>
                <a:lnTo>
                  <a:pt x="4663657" y="38495"/>
                </a:lnTo>
                <a:cubicBezTo>
                  <a:pt x="5019955" y="608583"/>
                  <a:pt x="5362008" y="1164412"/>
                  <a:pt x="5718321" y="1734501"/>
                </a:cubicBezTo>
                <a:cubicBezTo>
                  <a:pt x="5860843" y="1948291"/>
                  <a:pt x="5989106" y="2176327"/>
                  <a:pt x="6003366" y="2432867"/>
                </a:cubicBezTo>
                <a:cubicBezTo>
                  <a:pt x="6003366" y="2675147"/>
                  <a:pt x="5889348" y="2917442"/>
                  <a:pt x="5775330" y="3131218"/>
                </a:cubicBezTo>
                <a:cubicBezTo>
                  <a:pt x="5333504" y="3986351"/>
                  <a:pt x="4891692" y="4841484"/>
                  <a:pt x="4449866" y="5696617"/>
                </a:cubicBezTo>
                <a:cubicBezTo>
                  <a:pt x="4392857" y="5810634"/>
                  <a:pt x="4335848" y="5910407"/>
                  <a:pt x="4250335" y="5981661"/>
                </a:cubicBezTo>
                <a:cubicBezTo>
                  <a:pt x="4122072" y="6081434"/>
                  <a:pt x="3951046" y="6095679"/>
                  <a:pt x="3780019" y="6095679"/>
                </a:cubicBezTo>
                <a:cubicBezTo>
                  <a:pt x="2910626" y="6109938"/>
                  <a:pt x="2041248" y="6109938"/>
                  <a:pt x="1171855" y="6081434"/>
                </a:cubicBezTo>
                <a:cubicBezTo>
                  <a:pt x="929574" y="6067174"/>
                  <a:pt x="687279" y="6067174"/>
                  <a:pt x="459244" y="5967416"/>
                </a:cubicBezTo>
                <a:cubicBezTo>
                  <a:pt x="304254" y="5903281"/>
                  <a:pt x="173312" y="5805074"/>
                  <a:pt x="58904" y="5687075"/>
                </a:cubicBezTo>
                <a:lnTo>
                  <a:pt x="0" y="5620135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C95E134-4758-4A15-97D4-E85BCD1919D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1" cy="6858000"/>
          </a:xfrm>
          <a:custGeom>
            <a:avLst/>
            <a:gdLst>
              <a:gd name="connsiteX0" fmla="*/ 4639238 w 12192001"/>
              <a:gd name="connsiteY0" fmla="*/ 0 h 6858000"/>
              <a:gd name="connsiteX1" fmla="*/ 12192001 w 12192001"/>
              <a:gd name="connsiteY1" fmla="*/ 0 h 6858000"/>
              <a:gd name="connsiteX2" fmla="*/ 12192001 w 12192001"/>
              <a:gd name="connsiteY2" fmla="*/ 6858000 h 6858000"/>
              <a:gd name="connsiteX3" fmla="*/ 0 w 12192001"/>
              <a:gd name="connsiteY3" fmla="*/ 6858000 h 6858000"/>
              <a:gd name="connsiteX4" fmla="*/ 0 w 12192001"/>
              <a:gd name="connsiteY4" fmla="*/ 5620135 h 6858000"/>
              <a:gd name="connsiteX5" fmla="*/ 58904 w 12192001"/>
              <a:gd name="connsiteY5" fmla="*/ 5687075 h 6858000"/>
              <a:gd name="connsiteX6" fmla="*/ 459244 w 12192001"/>
              <a:gd name="connsiteY6" fmla="*/ 5967416 h 6858000"/>
              <a:gd name="connsiteX7" fmla="*/ 1171855 w 12192001"/>
              <a:gd name="connsiteY7" fmla="*/ 6081434 h 6858000"/>
              <a:gd name="connsiteX8" fmla="*/ 3780019 w 12192001"/>
              <a:gd name="connsiteY8" fmla="*/ 6095679 h 6858000"/>
              <a:gd name="connsiteX9" fmla="*/ 4250335 w 12192001"/>
              <a:gd name="connsiteY9" fmla="*/ 5981661 h 6858000"/>
              <a:gd name="connsiteX10" fmla="*/ 4449866 w 12192001"/>
              <a:gd name="connsiteY10" fmla="*/ 5696617 h 6858000"/>
              <a:gd name="connsiteX11" fmla="*/ 5775330 w 12192001"/>
              <a:gd name="connsiteY11" fmla="*/ 3131218 h 6858000"/>
              <a:gd name="connsiteX12" fmla="*/ 6003366 w 12192001"/>
              <a:gd name="connsiteY12" fmla="*/ 2432867 h 6858000"/>
              <a:gd name="connsiteX13" fmla="*/ 5718321 w 12192001"/>
              <a:gd name="connsiteY13" fmla="*/ 1734501 h 6858000"/>
              <a:gd name="connsiteX14" fmla="*/ 4663657 w 12192001"/>
              <a:gd name="connsiteY14" fmla="*/ 3849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1" h="6858000">
                <a:moveTo>
                  <a:pt x="4639238" y="0"/>
                </a:moveTo>
                <a:lnTo>
                  <a:pt x="12192001" y="0"/>
                </a:lnTo>
                <a:lnTo>
                  <a:pt x="12192001" y="6858000"/>
                </a:lnTo>
                <a:lnTo>
                  <a:pt x="0" y="6858000"/>
                </a:lnTo>
                <a:lnTo>
                  <a:pt x="0" y="5620135"/>
                </a:lnTo>
                <a:lnTo>
                  <a:pt x="58904" y="5687075"/>
                </a:lnTo>
                <a:cubicBezTo>
                  <a:pt x="173312" y="5805074"/>
                  <a:pt x="304254" y="5903281"/>
                  <a:pt x="459244" y="5967416"/>
                </a:cubicBezTo>
                <a:cubicBezTo>
                  <a:pt x="687279" y="6067174"/>
                  <a:pt x="929574" y="6067174"/>
                  <a:pt x="1171855" y="6081434"/>
                </a:cubicBezTo>
                <a:cubicBezTo>
                  <a:pt x="2041248" y="6109938"/>
                  <a:pt x="2910626" y="6109938"/>
                  <a:pt x="3780019" y="6095679"/>
                </a:cubicBezTo>
                <a:cubicBezTo>
                  <a:pt x="3951046" y="6095679"/>
                  <a:pt x="4122072" y="6081434"/>
                  <a:pt x="4250335" y="5981661"/>
                </a:cubicBezTo>
                <a:cubicBezTo>
                  <a:pt x="4335848" y="5910407"/>
                  <a:pt x="4392857" y="5810634"/>
                  <a:pt x="4449866" y="5696617"/>
                </a:cubicBezTo>
                <a:cubicBezTo>
                  <a:pt x="4891692" y="4841484"/>
                  <a:pt x="5333504" y="3986351"/>
                  <a:pt x="5775330" y="3131218"/>
                </a:cubicBezTo>
                <a:cubicBezTo>
                  <a:pt x="5889348" y="2917442"/>
                  <a:pt x="6003366" y="2675147"/>
                  <a:pt x="6003366" y="2432867"/>
                </a:cubicBezTo>
                <a:cubicBezTo>
                  <a:pt x="5989106" y="2176327"/>
                  <a:pt x="5860843" y="1948291"/>
                  <a:pt x="5718321" y="1734501"/>
                </a:cubicBezTo>
                <a:cubicBezTo>
                  <a:pt x="5362008" y="1164412"/>
                  <a:pt x="5019956" y="608583"/>
                  <a:pt x="4663657" y="38495"/>
                </a:cubicBezTo>
                <a:close/>
              </a:path>
            </a:pathLst>
          </a:custGeom>
          <a:solidFill>
            <a:srgbClr val="D9D9D9"/>
          </a:solidFill>
        </p:spPr>
        <p:txBody>
          <a:bodyPr wrap="square" lIns="6400800" t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full slide image is 1280 x 7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6AAFD9-7181-4BA5-A2B7-821424B513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914400"/>
            <a:ext cx="4670401" cy="2400300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53">
            <a:extLst>
              <a:ext uri="{FF2B5EF4-FFF2-40B4-BE49-F238E27FC236}">
                <a16:creationId xmlns:a16="http://schemas.microsoft.com/office/drawing/2014/main" id="{D275F703-BAB3-4AC2-B21C-F4D222E298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672" y="3659413"/>
            <a:ext cx="4365357" cy="73152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Subtitle text (optional)</a:t>
            </a:r>
          </a:p>
        </p:txBody>
      </p:sp>
    </p:spTree>
    <p:extLst>
      <p:ext uri="{BB962C8B-B14F-4D97-AF65-F5344CB8AC3E}">
        <p14:creationId xmlns:p14="http://schemas.microsoft.com/office/powerpoint/2010/main" val="32878948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AA6159-B06A-4786-B440-2BBF2AD8C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914400"/>
            <a:ext cx="7353300" cy="3467100"/>
          </a:xfrm>
        </p:spPr>
        <p:txBody>
          <a:bodyPr anchor="b"/>
          <a:lstStyle>
            <a:lvl1pPr>
              <a:lnSpc>
                <a:spcPct val="82000"/>
              </a:lnSpc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1094D5-7DA6-4745-8DC9-C1C7B6A3584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601" y="4726213"/>
            <a:ext cx="7353300" cy="73152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 text (optional)</a:t>
            </a:r>
          </a:p>
        </p:txBody>
      </p:sp>
    </p:spTree>
    <p:extLst>
      <p:ext uri="{BB962C8B-B14F-4D97-AF65-F5344CB8AC3E}">
        <p14:creationId xmlns:p14="http://schemas.microsoft.com/office/powerpoint/2010/main" val="29443884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ircle Number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5429212D-B00C-4BBB-BB9D-1666236C692B}"/>
              </a:ext>
            </a:extLst>
          </p:cNvPr>
          <p:cNvSpPr/>
          <p:nvPr/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990842 h 6858000"/>
              <a:gd name="connsiteX5" fmla="*/ 150975 w 12192000"/>
              <a:gd name="connsiteY5" fmla="*/ 5998474 h 6858000"/>
              <a:gd name="connsiteX6" fmla="*/ 5193108 w 12192000"/>
              <a:gd name="connsiteY6" fmla="*/ 6001978 h 6858000"/>
              <a:gd name="connsiteX7" fmla="*/ 8558788 w 12192000"/>
              <a:gd name="connsiteY7" fmla="*/ 6014203 h 6858000"/>
              <a:gd name="connsiteX8" fmla="*/ 11288459 w 12192000"/>
              <a:gd name="connsiteY8" fmla="*/ 6050854 h 6858000"/>
              <a:gd name="connsiteX9" fmla="*/ 11871493 w 12192000"/>
              <a:gd name="connsiteY9" fmla="*/ 5281048 h 6858000"/>
              <a:gd name="connsiteX10" fmla="*/ 11897981 w 12192000"/>
              <a:gd name="connsiteY10" fmla="*/ 3643667 h 6858000"/>
              <a:gd name="connsiteX11" fmla="*/ 11924496 w 12192000"/>
              <a:gd name="connsiteY11" fmla="*/ 2409516 h 6858000"/>
              <a:gd name="connsiteX12" fmla="*/ 11924496 w 12192000"/>
              <a:gd name="connsiteY12" fmla="*/ 1554168 h 6858000"/>
              <a:gd name="connsiteX13" fmla="*/ 11844978 w 12192000"/>
              <a:gd name="connsiteY13" fmla="*/ 491099 h 6858000"/>
              <a:gd name="connsiteX14" fmla="*/ 10943926 w 12192000"/>
              <a:gd name="connsiteY14" fmla="*/ 295591 h 6858000"/>
              <a:gd name="connsiteX15" fmla="*/ 10016386 w 12192000"/>
              <a:gd name="connsiteY15" fmla="*/ 283365 h 6858000"/>
              <a:gd name="connsiteX16" fmla="*/ 9062331 w 12192000"/>
              <a:gd name="connsiteY16" fmla="*/ 222275 h 6858000"/>
              <a:gd name="connsiteX17" fmla="*/ 1906918 w 12192000"/>
              <a:gd name="connsiteY17" fmla="*/ 271152 h 6858000"/>
              <a:gd name="connsiteX18" fmla="*/ 581842 w 12192000"/>
              <a:gd name="connsiteY18" fmla="*/ 332242 h 6858000"/>
              <a:gd name="connsiteX19" fmla="*/ 39127 w 12192000"/>
              <a:gd name="connsiteY19" fmla="*/ 367898 h 6858000"/>
              <a:gd name="connsiteX20" fmla="*/ 0 w 12192000"/>
              <a:gd name="connsiteY20" fmla="*/ 37256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990842"/>
                </a:lnTo>
                <a:lnTo>
                  <a:pt x="150975" y="5998474"/>
                </a:lnTo>
                <a:cubicBezTo>
                  <a:pt x="1703185" y="6058110"/>
                  <a:pt x="3407556" y="6001978"/>
                  <a:pt x="5193108" y="6001978"/>
                </a:cubicBezTo>
                <a:cubicBezTo>
                  <a:pt x="6226654" y="6001978"/>
                  <a:pt x="7551730" y="6026417"/>
                  <a:pt x="8558788" y="6014203"/>
                </a:cubicBezTo>
                <a:cubicBezTo>
                  <a:pt x="8876806" y="6001978"/>
                  <a:pt x="10970441" y="6050854"/>
                  <a:pt x="11288459" y="6050854"/>
                </a:cubicBezTo>
                <a:cubicBezTo>
                  <a:pt x="11977499" y="6050854"/>
                  <a:pt x="11871493" y="5659839"/>
                  <a:pt x="11871493" y="5281048"/>
                </a:cubicBezTo>
                <a:cubicBezTo>
                  <a:pt x="11844978" y="4731174"/>
                  <a:pt x="11950984" y="4193527"/>
                  <a:pt x="11897981" y="3643667"/>
                </a:cubicBezTo>
                <a:cubicBezTo>
                  <a:pt x="11871493" y="3240426"/>
                  <a:pt x="11950984" y="2812758"/>
                  <a:pt x="11924496" y="2409516"/>
                </a:cubicBezTo>
                <a:cubicBezTo>
                  <a:pt x="11897981" y="2128479"/>
                  <a:pt x="11950984" y="1835217"/>
                  <a:pt x="11924496" y="1554168"/>
                </a:cubicBezTo>
                <a:cubicBezTo>
                  <a:pt x="11897981" y="1273131"/>
                  <a:pt x="11950984" y="857677"/>
                  <a:pt x="11844978" y="491099"/>
                </a:cubicBezTo>
                <a:cubicBezTo>
                  <a:pt x="11791974" y="344467"/>
                  <a:pt x="11314947" y="320030"/>
                  <a:pt x="10943926" y="295591"/>
                </a:cubicBezTo>
                <a:cubicBezTo>
                  <a:pt x="10731913" y="283365"/>
                  <a:pt x="10334404" y="307804"/>
                  <a:pt x="10016386" y="283365"/>
                </a:cubicBezTo>
                <a:cubicBezTo>
                  <a:pt x="9777858" y="258927"/>
                  <a:pt x="9327346" y="222275"/>
                  <a:pt x="9062331" y="222275"/>
                </a:cubicBezTo>
                <a:cubicBezTo>
                  <a:pt x="6359175" y="185611"/>
                  <a:pt x="5034099" y="258927"/>
                  <a:pt x="1906918" y="271152"/>
                </a:cubicBezTo>
                <a:cubicBezTo>
                  <a:pt x="1615388" y="271152"/>
                  <a:pt x="1217879" y="271152"/>
                  <a:pt x="581842" y="332242"/>
                </a:cubicBezTo>
                <a:cubicBezTo>
                  <a:pt x="363204" y="350571"/>
                  <a:pt x="185559" y="355153"/>
                  <a:pt x="39127" y="367898"/>
                </a:cubicBezTo>
                <a:lnTo>
                  <a:pt x="0" y="372567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4F0FFF-5D36-4549-8268-45CFD8189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2" y="429065"/>
            <a:ext cx="11294180" cy="4853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2CAF28-BA8C-48BC-AC7B-67ED87054B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EB1475D-EF5B-48A6-8CCB-3BD08F726926}" type="datetimeFigureOut">
              <a:rPr lang="en-US"/>
              <a:pPr/>
              <a:t>6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DD4960-69A7-4E3C-9AD4-21496392E0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74DF74-F5E9-4644-AFC4-45DD819ED1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565A54F4-DB31-4FC5-B748-3F06867349C3}" type="slidenum">
              <a:rPr lang="en-US"/>
              <a:pPr/>
              <a:t>‹#›</a:t>
            </a:fld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FD305FA-3E8C-4125-9A77-5EC36A2132EA}"/>
              </a:ext>
            </a:extLst>
          </p:cNvPr>
          <p:cNvGrpSpPr>
            <a:grpSpLocks noChangeAspect="1"/>
          </p:cNvGrpSpPr>
          <p:nvPr/>
        </p:nvGrpSpPr>
        <p:grpSpPr>
          <a:xfrm>
            <a:off x="10676779" y="6205751"/>
            <a:ext cx="1143000" cy="440144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155931C-326F-4267-9BC5-89EB4D2E96F6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72C407B-D3EF-4996-A77D-4376FAEF30F9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75D4722-DDE2-4E36-ADA4-6B4FF78954BA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BE1D7AF-956D-4A32-B45C-0B84DA0E4E1A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E905069-5A9F-4256-9865-26C748322AAC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21AE7A8-58AC-45E5-8868-AE57A64019A6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4DFD2FB-510C-4156-98D8-02939396C287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AA471C0-6209-4B7B-901C-48CCE2BC7D52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431BB416-75D8-47BF-9E4E-9027F57E85DD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AEB78440-7F62-4D79-9483-861B628F32D2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C9D7D0A-4F73-4194-9757-8A00A890A672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C5246292-11FA-4726-9072-DDDA78218BFC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9ACEC316-BA5C-440C-89BF-6FE143520B34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435751A7-0636-4A94-82A5-061081DF9E1F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8B40D30E-3FD1-4BB4-B9AC-09DA2F2D5CE1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9B44342E-62F3-4A6E-9AEC-F34D3436B671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9857CCB-8FF9-4139-8A9B-3C59A36A0348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FC1A0A4-BD0A-43E3-AA8C-35E9A0DA95ED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4DC71C56-C4F6-45F5-9717-6FFB05DFB38A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669EF73-3FE0-4CA9-8956-AE8D9E8EF522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9566FE17-6DFB-4B41-9F21-2F7F40BFEFCB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52296D45-E00F-46CB-8C2E-441F3F4EEBB8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D99CC68-D3E2-4B92-ADB7-0C09AF4A4A84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8D9F3B7D-3D0E-46E7-8821-91592A37E87D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56789F94-77D1-419E-9CB0-17B670111926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9E33C35F-2A47-43BD-A69C-C7EEB1924394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F2F4E1C-4B0E-4041-AFAD-37EBA7110ECE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3BD4128C-C42F-4336-BDBD-E914A28EFC6F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C6CA1296-E56E-4964-A66F-3EB3E89A1239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92FBFDE-3137-468A-8F8D-05A481D5D8C8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5C916629-4CAD-4AF4-9647-09F37B1F9C13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634B62B-26FD-4099-9C72-DED3E7F20DC3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25DE5C31-EDDF-4BF1-8681-14E1D78A16D0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AA123048-4C12-46AC-9243-BF2263C43BE6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D2174A2-CA7D-446C-AD8A-8C4DE990DD26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6A074F1E-F61E-4BB1-A6F8-4B878375C02B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A7E978CE-B7FC-4134-A0E0-BB1C5A9FD982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8D2DE57F-1699-43AB-8646-668F794713B2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8E0DB68-7257-4198-9DF3-32DE34D75DCC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57C41A0D-C2E3-4D53-84BE-98D0A1FDB835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F0CBCB5D-8273-445A-953A-CC3C6A32C121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B3252F-B372-453C-853F-96C6D6241684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53" name="Text Placeholder 53">
            <a:extLst>
              <a:ext uri="{FF2B5EF4-FFF2-40B4-BE49-F238E27FC236}">
                <a16:creationId xmlns:a16="http://schemas.microsoft.com/office/drawing/2014/main" id="{A06BB12E-B6C0-430E-92B2-14BF001693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1551" y="1444711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Type first item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669D2195-8E5A-403C-9846-2544DFFAF2B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1418375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9" name="Text Placeholder 53">
            <a:extLst>
              <a:ext uri="{FF2B5EF4-FFF2-40B4-BE49-F238E27FC236}">
                <a16:creationId xmlns:a16="http://schemas.microsoft.com/office/drawing/2014/main" id="{A7B5E7A9-B9DF-45F8-A739-FC8A9096C7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1551" y="2107168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Type next item</a:t>
            </a:r>
          </a:p>
        </p:txBody>
      </p:sp>
      <p:sp>
        <p:nvSpPr>
          <p:cNvPr id="60" name="Text Placeholder 59">
            <a:extLst>
              <a:ext uri="{FF2B5EF4-FFF2-40B4-BE49-F238E27FC236}">
                <a16:creationId xmlns:a16="http://schemas.microsoft.com/office/drawing/2014/main" id="{A21D3DEF-A031-45FE-89E2-41EF0AF9C9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1" y="2080832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1" name="Text Placeholder 53">
            <a:extLst>
              <a:ext uri="{FF2B5EF4-FFF2-40B4-BE49-F238E27FC236}">
                <a16:creationId xmlns:a16="http://schemas.microsoft.com/office/drawing/2014/main" id="{843991E2-821D-4ADE-B4B2-D73D36D98AD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1551" y="2774943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Type next item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CCF9AAF0-8A4F-48C4-AC54-27C04E20141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1001" y="2748607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3" name="Text Placeholder 53">
            <a:extLst>
              <a:ext uri="{FF2B5EF4-FFF2-40B4-BE49-F238E27FC236}">
                <a16:creationId xmlns:a16="http://schemas.microsoft.com/office/drawing/2014/main" id="{5235ED59-3C41-47EE-B906-51D1E578E39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1551" y="3469143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Type next item</a:t>
            </a:r>
          </a:p>
        </p:txBody>
      </p:sp>
      <p:sp>
        <p:nvSpPr>
          <p:cNvPr id="64" name="Text Placeholder 63">
            <a:extLst>
              <a:ext uri="{FF2B5EF4-FFF2-40B4-BE49-F238E27FC236}">
                <a16:creationId xmlns:a16="http://schemas.microsoft.com/office/drawing/2014/main" id="{4280E422-A0A9-40DF-9122-00AD1444FB5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001" y="3442807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5" name="Text Placeholder 53">
            <a:extLst>
              <a:ext uri="{FF2B5EF4-FFF2-40B4-BE49-F238E27FC236}">
                <a16:creationId xmlns:a16="http://schemas.microsoft.com/office/drawing/2014/main" id="{AECA80CA-9F74-4096-9C45-C057913B58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71551" y="4126468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Type next item</a:t>
            </a:r>
          </a:p>
        </p:txBody>
      </p:sp>
      <p:sp>
        <p:nvSpPr>
          <p:cNvPr id="66" name="Text Placeholder 65">
            <a:extLst>
              <a:ext uri="{FF2B5EF4-FFF2-40B4-BE49-F238E27FC236}">
                <a16:creationId xmlns:a16="http://schemas.microsoft.com/office/drawing/2014/main" id="{B6CAD1F9-5950-4D84-A97B-25108B12772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1001" y="4100132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7" name="Text Placeholder 53">
            <a:extLst>
              <a:ext uri="{FF2B5EF4-FFF2-40B4-BE49-F238E27FC236}">
                <a16:creationId xmlns:a16="http://schemas.microsoft.com/office/drawing/2014/main" id="{A4C226B7-27E7-48B6-9ACD-14E208CD447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1551" y="4792261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Type next item</a:t>
            </a:r>
          </a:p>
        </p:txBody>
      </p:sp>
      <p:sp>
        <p:nvSpPr>
          <p:cNvPr id="68" name="Text Placeholder 67">
            <a:extLst>
              <a:ext uri="{FF2B5EF4-FFF2-40B4-BE49-F238E27FC236}">
                <a16:creationId xmlns:a16="http://schemas.microsoft.com/office/drawing/2014/main" id="{D0EA1119-3409-4D86-8187-1CFFEF0DF14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1001" y="4765925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9" name="Text Placeholder 53">
            <a:extLst>
              <a:ext uri="{FF2B5EF4-FFF2-40B4-BE49-F238E27FC236}">
                <a16:creationId xmlns:a16="http://schemas.microsoft.com/office/drawing/2014/main" id="{DF220140-A17A-47FD-96A9-63441622845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845301" y="1444711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ircle fill color can be changed</a:t>
            </a: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D5C5A157-E82E-413B-BB5A-5BB8F6F13C7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54751" y="1418375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71" name="Text Placeholder 53">
            <a:extLst>
              <a:ext uri="{FF2B5EF4-FFF2-40B4-BE49-F238E27FC236}">
                <a16:creationId xmlns:a16="http://schemas.microsoft.com/office/drawing/2014/main" id="{BD21E496-D37E-4761-8172-822F85DCF01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45301" y="2107168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ircle fill color can be changed</a:t>
            </a:r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E0EF41A7-D380-4CC9-9EC8-D362F1F0B13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54751" y="2080832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73" name="Text Placeholder 53">
            <a:extLst>
              <a:ext uri="{FF2B5EF4-FFF2-40B4-BE49-F238E27FC236}">
                <a16:creationId xmlns:a16="http://schemas.microsoft.com/office/drawing/2014/main" id="{4F469721-F9C8-4264-985A-69119F52CAC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845301" y="2774943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ircle fill color can be changed</a:t>
            </a:r>
          </a:p>
        </p:txBody>
      </p:sp>
      <p:sp>
        <p:nvSpPr>
          <p:cNvPr id="74" name="Text Placeholder 73">
            <a:extLst>
              <a:ext uri="{FF2B5EF4-FFF2-40B4-BE49-F238E27FC236}">
                <a16:creationId xmlns:a16="http://schemas.microsoft.com/office/drawing/2014/main" id="{FECC6C45-1A8B-4F2F-B1E3-9FE603D3F2B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54751" y="2748607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75" name="Text Placeholder 53">
            <a:extLst>
              <a:ext uri="{FF2B5EF4-FFF2-40B4-BE49-F238E27FC236}">
                <a16:creationId xmlns:a16="http://schemas.microsoft.com/office/drawing/2014/main" id="{9C294EA6-0710-4E2B-9FE5-E2AA43EB745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845301" y="3469143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Delete all unused placeholders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C167E3BD-01BA-46B0-8C56-C2139417F9B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4751" y="3442807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77" name="Text Placeholder 53">
            <a:extLst>
              <a:ext uri="{FF2B5EF4-FFF2-40B4-BE49-F238E27FC236}">
                <a16:creationId xmlns:a16="http://schemas.microsoft.com/office/drawing/2014/main" id="{CC08D11D-1C9F-4E62-B3A8-39C8892D767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845301" y="4126468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Delete all unused placeholders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E99AB11B-9D32-4DF8-80A4-930B735446C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54751" y="4100132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79" name="Text Placeholder 53">
            <a:extLst>
              <a:ext uri="{FF2B5EF4-FFF2-40B4-BE49-F238E27FC236}">
                <a16:creationId xmlns:a16="http://schemas.microsoft.com/office/drawing/2014/main" id="{F8CCC2D7-D1BC-4EB8-BB66-1CCA97A45B6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845301" y="4792261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Delete all unused placeholders</a:t>
            </a:r>
          </a:p>
        </p:txBody>
      </p:sp>
      <p:sp>
        <p:nvSpPr>
          <p:cNvPr id="80" name="Text Placeholder 79">
            <a:extLst>
              <a:ext uri="{FF2B5EF4-FFF2-40B4-BE49-F238E27FC236}">
                <a16:creationId xmlns:a16="http://schemas.microsoft.com/office/drawing/2014/main" id="{8C487161-30FF-4175-B33D-D4EFB0DD4EA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54751" y="4765925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03612498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 with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967A9474-DCF8-444C-9F9E-D4D5FF840D78}"/>
              </a:ext>
            </a:extLst>
          </p:cNvPr>
          <p:cNvSpPr/>
          <p:nvPr/>
        </p:nvSpPr>
        <p:spPr>
          <a:xfrm>
            <a:off x="0" y="308486"/>
            <a:ext cx="4118657" cy="3661435"/>
          </a:xfrm>
          <a:custGeom>
            <a:avLst/>
            <a:gdLst>
              <a:gd name="connsiteX0" fmla="*/ 2315158 w 4118657"/>
              <a:gd name="connsiteY0" fmla="*/ 0 h 3661435"/>
              <a:gd name="connsiteX1" fmla="*/ 2321167 w 4118657"/>
              <a:gd name="connsiteY1" fmla="*/ 0 h 3661435"/>
              <a:gd name="connsiteX2" fmla="*/ 3782138 w 4118657"/>
              <a:gd name="connsiteY2" fmla="*/ 1376794 h 3661435"/>
              <a:gd name="connsiteX3" fmla="*/ 4106797 w 4118657"/>
              <a:gd name="connsiteY3" fmla="*/ 2026113 h 3661435"/>
              <a:gd name="connsiteX4" fmla="*/ 3896366 w 4118657"/>
              <a:gd name="connsiteY4" fmla="*/ 2338748 h 3661435"/>
              <a:gd name="connsiteX5" fmla="*/ 2567671 w 4118657"/>
              <a:gd name="connsiteY5" fmla="*/ 3438986 h 3661435"/>
              <a:gd name="connsiteX6" fmla="*/ 2321167 w 4118657"/>
              <a:gd name="connsiteY6" fmla="*/ 3619352 h 3661435"/>
              <a:gd name="connsiteX7" fmla="*/ 2255036 w 4118657"/>
              <a:gd name="connsiteY7" fmla="*/ 3661435 h 3661435"/>
              <a:gd name="connsiteX8" fmla="*/ 2243012 w 4118657"/>
              <a:gd name="connsiteY8" fmla="*/ 3661435 h 3661435"/>
              <a:gd name="connsiteX9" fmla="*/ 2146817 w 4118657"/>
              <a:gd name="connsiteY9" fmla="*/ 3475059 h 3661435"/>
              <a:gd name="connsiteX10" fmla="*/ 2140801 w 4118657"/>
              <a:gd name="connsiteY10" fmla="*/ 3270644 h 3661435"/>
              <a:gd name="connsiteX11" fmla="*/ 2146817 w 4118657"/>
              <a:gd name="connsiteY11" fmla="*/ 2909911 h 3661435"/>
              <a:gd name="connsiteX12" fmla="*/ 2146817 w 4118657"/>
              <a:gd name="connsiteY12" fmla="*/ 2765618 h 3661435"/>
              <a:gd name="connsiteX13" fmla="*/ 0 w 4118657"/>
              <a:gd name="connsiteY13" fmla="*/ 2765618 h 3661435"/>
              <a:gd name="connsiteX14" fmla="*/ 0 w 4118657"/>
              <a:gd name="connsiteY14" fmla="*/ 893100 h 3661435"/>
              <a:gd name="connsiteX15" fmla="*/ 36528 w 4118657"/>
              <a:gd name="connsiteY15" fmla="*/ 889808 h 3661435"/>
              <a:gd name="connsiteX16" fmla="*/ 2212948 w 4118657"/>
              <a:gd name="connsiteY16" fmla="*/ 889808 h 3661435"/>
              <a:gd name="connsiteX17" fmla="*/ 2297119 w 4118657"/>
              <a:gd name="connsiteY17" fmla="*/ 12025 h 3661435"/>
              <a:gd name="connsiteX18" fmla="*/ 2303134 w 4118657"/>
              <a:gd name="connsiteY18" fmla="*/ 6009 h 3661435"/>
              <a:gd name="connsiteX19" fmla="*/ 2315158 w 4118657"/>
              <a:gd name="connsiteY19" fmla="*/ 0 h 3661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118657" h="3661435">
                <a:moveTo>
                  <a:pt x="2315158" y="0"/>
                </a:moveTo>
                <a:lnTo>
                  <a:pt x="2321167" y="0"/>
                </a:lnTo>
                <a:cubicBezTo>
                  <a:pt x="2477485" y="0"/>
                  <a:pt x="3649869" y="1232501"/>
                  <a:pt x="3782138" y="1376794"/>
                </a:cubicBezTo>
                <a:cubicBezTo>
                  <a:pt x="3800171" y="1394834"/>
                  <a:pt x="4190968" y="1833722"/>
                  <a:pt x="4106797" y="2026113"/>
                </a:cubicBezTo>
                <a:cubicBezTo>
                  <a:pt x="4076733" y="2104275"/>
                  <a:pt x="3902382" y="2326724"/>
                  <a:pt x="3896366" y="2338748"/>
                </a:cubicBezTo>
                <a:cubicBezTo>
                  <a:pt x="3493551" y="2801692"/>
                  <a:pt x="2892331" y="3216531"/>
                  <a:pt x="2567671" y="3438986"/>
                </a:cubicBezTo>
                <a:cubicBezTo>
                  <a:pt x="2435403" y="3529166"/>
                  <a:pt x="2345216" y="3595304"/>
                  <a:pt x="2321167" y="3619352"/>
                </a:cubicBezTo>
                <a:cubicBezTo>
                  <a:pt x="2297119" y="3649410"/>
                  <a:pt x="2273070" y="3661435"/>
                  <a:pt x="2255036" y="3661435"/>
                </a:cubicBezTo>
                <a:cubicBezTo>
                  <a:pt x="2249021" y="3661435"/>
                  <a:pt x="2249021" y="3661435"/>
                  <a:pt x="2243012" y="3661435"/>
                </a:cubicBezTo>
                <a:cubicBezTo>
                  <a:pt x="2194914" y="3649410"/>
                  <a:pt x="2164850" y="3559230"/>
                  <a:pt x="2146817" y="3475059"/>
                </a:cubicBezTo>
                <a:cubicBezTo>
                  <a:pt x="2128777" y="3408922"/>
                  <a:pt x="2134792" y="3354815"/>
                  <a:pt x="2140801" y="3270644"/>
                </a:cubicBezTo>
                <a:cubicBezTo>
                  <a:pt x="2146817" y="3186473"/>
                  <a:pt x="2152826" y="3078253"/>
                  <a:pt x="2146817" y="2909911"/>
                </a:cubicBezTo>
                <a:cubicBezTo>
                  <a:pt x="2146817" y="2867823"/>
                  <a:pt x="2146817" y="2819725"/>
                  <a:pt x="2146817" y="2765618"/>
                </a:cubicBezTo>
                <a:lnTo>
                  <a:pt x="0" y="2765618"/>
                </a:lnTo>
                <a:lnTo>
                  <a:pt x="0" y="893100"/>
                </a:lnTo>
                <a:lnTo>
                  <a:pt x="36528" y="889808"/>
                </a:lnTo>
                <a:lnTo>
                  <a:pt x="2212948" y="889808"/>
                </a:lnTo>
                <a:cubicBezTo>
                  <a:pt x="2212948" y="162327"/>
                  <a:pt x="2273070" y="30058"/>
                  <a:pt x="2297119" y="12025"/>
                </a:cubicBezTo>
                <a:lnTo>
                  <a:pt x="2303134" y="6009"/>
                </a:lnTo>
                <a:cubicBezTo>
                  <a:pt x="2303134" y="6009"/>
                  <a:pt x="2309143" y="0"/>
                  <a:pt x="2315158" y="0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3117BFFA-728A-45B4-855F-C65538E196D8}"/>
              </a:ext>
            </a:extLst>
          </p:cNvPr>
          <p:cNvSpPr/>
          <p:nvPr/>
        </p:nvSpPr>
        <p:spPr bwMode="ltGray">
          <a:xfrm>
            <a:off x="4252974" y="0"/>
            <a:ext cx="7564605" cy="6019800"/>
          </a:xfrm>
          <a:custGeom>
            <a:avLst/>
            <a:gdLst>
              <a:gd name="connsiteX0" fmla="*/ 49779 w 7564605"/>
              <a:gd name="connsiteY0" fmla="*/ 0 h 5823600"/>
              <a:gd name="connsiteX1" fmla="*/ 7531204 w 7564605"/>
              <a:gd name="connsiteY1" fmla="*/ 0 h 5823600"/>
              <a:gd name="connsiteX2" fmla="*/ 7531733 w 7564605"/>
              <a:gd name="connsiteY2" fmla="*/ 14515 h 5823600"/>
              <a:gd name="connsiteX3" fmla="*/ 7528259 w 7564605"/>
              <a:gd name="connsiteY3" fmla="*/ 318689 h 5823600"/>
              <a:gd name="connsiteX4" fmla="*/ 7544134 w 7564605"/>
              <a:gd name="connsiteY4" fmla="*/ 2096896 h 5823600"/>
              <a:gd name="connsiteX5" fmla="*/ 7560025 w 7564605"/>
              <a:gd name="connsiteY5" fmla="*/ 3437194 h 5823600"/>
              <a:gd name="connsiteX6" fmla="*/ 7560025 w 7564605"/>
              <a:gd name="connsiteY6" fmla="*/ 4366108 h 5823600"/>
              <a:gd name="connsiteX7" fmla="*/ 7512369 w 7564605"/>
              <a:gd name="connsiteY7" fmla="*/ 5520609 h 5823600"/>
              <a:gd name="connsiteX8" fmla="*/ 6972367 w 7564605"/>
              <a:gd name="connsiteY8" fmla="*/ 5732932 h 5823600"/>
              <a:gd name="connsiteX9" fmla="*/ 6416491 w 7564605"/>
              <a:gd name="connsiteY9" fmla="*/ 5746210 h 5823600"/>
              <a:gd name="connsiteX10" fmla="*/ 5844725 w 7564605"/>
              <a:gd name="connsiteY10" fmla="*/ 5812554 h 5823600"/>
              <a:gd name="connsiteX11" fmla="*/ 1556476 w 7564605"/>
              <a:gd name="connsiteY11" fmla="*/ 5759473 h 5823600"/>
              <a:gd name="connsiteX12" fmla="*/ 762356 w 7564605"/>
              <a:gd name="connsiteY12" fmla="*/ 5693129 h 5823600"/>
              <a:gd name="connsiteX13" fmla="*/ 127060 w 7564605"/>
              <a:gd name="connsiteY13" fmla="*/ 5401184 h 5823600"/>
              <a:gd name="connsiteX14" fmla="*/ 63530 w 7564605"/>
              <a:gd name="connsiteY14" fmla="*/ 4074164 h 5823600"/>
              <a:gd name="connsiteX15" fmla="*/ 31766 w 7564605"/>
              <a:gd name="connsiteY15" fmla="*/ 2083633 h 5823600"/>
              <a:gd name="connsiteX16" fmla="*/ 0 w 7564605"/>
              <a:gd name="connsiteY16" fmla="*/ 1420123 h 5823600"/>
              <a:gd name="connsiteX17" fmla="*/ 31766 w 7564605"/>
              <a:gd name="connsiteY17" fmla="*/ 385047 h 5823600"/>
              <a:gd name="connsiteX18" fmla="*/ 47640 w 7564605"/>
              <a:gd name="connsiteY18" fmla="*/ 53285 h 5823600"/>
              <a:gd name="connsiteX19" fmla="*/ 49066 w 7564605"/>
              <a:gd name="connsiteY19" fmla="*/ 10986 h 582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7564605" h="5823600">
                <a:moveTo>
                  <a:pt x="49779" y="0"/>
                </a:moveTo>
                <a:lnTo>
                  <a:pt x="7531204" y="0"/>
                </a:lnTo>
                <a:lnTo>
                  <a:pt x="7531733" y="14515"/>
                </a:lnTo>
                <a:cubicBezTo>
                  <a:pt x="7532230" y="112174"/>
                  <a:pt x="7528259" y="215847"/>
                  <a:pt x="7528259" y="318689"/>
                </a:cubicBezTo>
                <a:cubicBezTo>
                  <a:pt x="7512369" y="915855"/>
                  <a:pt x="7575899" y="1499744"/>
                  <a:pt x="7544134" y="2096896"/>
                </a:cubicBezTo>
                <a:cubicBezTo>
                  <a:pt x="7528259" y="2534820"/>
                  <a:pt x="7575899" y="2999270"/>
                  <a:pt x="7560025" y="3437194"/>
                </a:cubicBezTo>
                <a:cubicBezTo>
                  <a:pt x="7544134" y="3742402"/>
                  <a:pt x="7575899" y="4060887"/>
                  <a:pt x="7560025" y="4366108"/>
                </a:cubicBezTo>
                <a:cubicBezTo>
                  <a:pt x="7544134" y="4671316"/>
                  <a:pt x="7575899" y="5122503"/>
                  <a:pt x="7512369" y="5520609"/>
                </a:cubicBezTo>
                <a:cubicBezTo>
                  <a:pt x="7480604" y="5679852"/>
                  <a:pt x="7194721" y="5706392"/>
                  <a:pt x="6972367" y="5732932"/>
                </a:cubicBezTo>
                <a:cubicBezTo>
                  <a:pt x="6845308" y="5746210"/>
                  <a:pt x="6607081" y="5719669"/>
                  <a:pt x="6416491" y="5746210"/>
                </a:cubicBezTo>
                <a:cubicBezTo>
                  <a:pt x="6273541" y="5772750"/>
                  <a:pt x="6003549" y="5812554"/>
                  <a:pt x="5844725" y="5812554"/>
                </a:cubicBezTo>
                <a:cubicBezTo>
                  <a:pt x="4224719" y="5852371"/>
                  <a:pt x="3430600" y="5772750"/>
                  <a:pt x="1556476" y="5759473"/>
                </a:cubicBezTo>
                <a:cubicBezTo>
                  <a:pt x="1381761" y="5759473"/>
                  <a:pt x="1143534" y="5759473"/>
                  <a:pt x="762356" y="5693129"/>
                </a:cubicBezTo>
                <a:cubicBezTo>
                  <a:pt x="412943" y="5640048"/>
                  <a:pt x="238228" y="5693129"/>
                  <a:pt x="127060" y="5401184"/>
                </a:cubicBezTo>
                <a:cubicBezTo>
                  <a:pt x="31766" y="5162321"/>
                  <a:pt x="79404" y="4379372"/>
                  <a:pt x="63530" y="4074164"/>
                </a:cubicBezTo>
                <a:cubicBezTo>
                  <a:pt x="31766" y="3384113"/>
                  <a:pt x="31766" y="2906386"/>
                  <a:pt x="31766" y="2083633"/>
                </a:cubicBezTo>
                <a:lnTo>
                  <a:pt x="0" y="1420123"/>
                </a:lnTo>
                <a:cubicBezTo>
                  <a:pt x="79404" y="1048557"/>
                  <a:pt x="-47655" y="769876"/>
                  <a:pt x="31766" y="385047"/>
                </a:cubicBezTo>
                <a:cubicBezTo>
                  <a:pt x="47640" y="252345"/>
                  <a:pt x="47640" y="265608"/>
                  <a:pt x="47640" y="53285"/>
                </a:cubicBezTo>
                <a:cubicBezTo>
                  <a:pt x="47640" y="43332"/>
                  <a:pt x="48136" y="28818"/>
                  <a:pt x="49066" y="10986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EAB047-7709-4466-A961-418CD41D0E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555130"/>
            <a:ext cx="3111499" cy="921370"/>
          </a:xfrm>
        </p:spPr>
        <p:txBody>
          <a:bodyPr/>
          <a:lstStyle>
            <a:lvl1pPr>
              <a:defRPr sz="6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78109F1-DB54-40AC-9EFE-BD170DCF93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B1475D-EF5B-48A6-8CCB-3BD08F726926}" type="datetimeFigureOut">
              <a:rPr lang="en-US"/>
              <a:pPr/>
              <a:t>6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8632F8-B1D4-42C3-A25F-51F06753F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D40013-3360-45D5-A8EF-FE748E712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65A54F4-DB31-4FC5-B748-3F06867349C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BCEFFE7-67B4-45E7-A42F-DB170DD4AE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30750" y="914400"/>
            <a:ext cx="6705600" cy="45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(change to numbered list on Home tab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243804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0A67651-30FC-482C-8BD7-415FEAC5C2F3}"/>
              </a:ext>
            </a:extLst>
          </p:cNvPr>
          <p:cNvSpPr/>
          <p:nvPr/>
        </p:nvSpPr>
        <p:spPr>
          <a:xfrm>
            <a:off x="0" y="0"/>
            <a:ext cx="12192000" cy="6874379"/>
          </a:xfrm>
          <a:custGeom>
            <a:avLst/>
            <a:gdLst>
              <a:gd name="connsiteX0" fmla="*/ 0 w 12192000"/>
              <a:gd name="connsiteY0" fmla="*/ 0 h 6874379"/>
              <a:gd name="connsiteX1" fmla="*/ 12192000 w 12192000"/>
              <a:gd name="connsiteY1" fmla="*/ 0 h 6874379"/>
              <a:gd name="connsiteX2" fmla="*/ 12192000 w 12192000"/>
              <a:gd name="connsiteY2" fmla="*/ 190329 h 6874379"/>
              <a:gd name="connsiteX3" fmla="*/ 12097817 w 12192000"/>
              <a:gd name="connsiteY3" fmla="*/ 160025 h 6874379"/>
              <a:gd name="connsiteX4" fmla="*/ 11807295 w 12192000"/>
              <a:gd name="connsiteY4" fmla="*/ 132559 h 6874379"/>
              <a:gd name="connsiteX5" fmla="*/ 11803273 w 12192000"/>
              <a:gd name="connsiteY5" fmla="*/ 132651 h 6874379"/>
              <a:gd name="connsiteX6" fmla="*/ 11801114 w 12192000"/>
              <a:gd name="connsiteY6" fmla="*/ 132559 h 6874379"/>
              <a:gd name="connsiteX7" fmla="*/ 9648247 w 12192000"/>
              <a:gd name="connsiteY7" fmla="*/ 283191 h 6874379"/>
              <a:gd name="connsiteX8" fmla="*/ 9289437 w 12192000"/>
              <a:gd name="connsiteY8" fmla="*/ 298139 h 6874379"/>
              <a:gd name="connsiteX9" fmla="*/ 8937897 w 12192000"/>
              <a:gd name="connsiteY9" fmla="*/ 297353 h 6874379"/>
              <a:gd name="connsiteX10" fmla="*/ 7958013 w 12192000"/>
              <a:gd name="connsiteY10" fmla="*/ 284263 h 6874379"/>
              <a:gd name="connsiteX11" fmla="*/ 7948375 w 12192000"/>
              <a:gd name="connsiteY11" fmla="*/ 284273 h 6874379"/>
              <a:gd name="connsiteX12" fmla="*/ 7947582 w 12192000"/>
              <a:gd name="connsiteY12" fmla="*/ 284263 h 6874379"/>
              <a:gd name="connsiteX13" fmla="*/ 5026488 w 12192000"/>
              <a:gd name="connsiteY13" fmla="*/ 324819 h 6874379"/>
              <a:gd name="connsiteX14" fmla="*/ 5003554 w 12192000"/>
              <a:gd name="connsiteY14" fmla="*/ 325295 h 6874379"/>
              <a:gd name="connsiteX15" fmla="*/ 4543566 w 12192000"/>
              <a:gd name="connsiteY15" fmla="*/ 331280 h 6874379"/>
              <a:gd name="connsiteX16" fmla="*/ 1280017 w 12192000"/>
              <a:gd name="connsiteY16" fmla="*/ 176856 h 6874379"/>
              <a:gd name="connsiteX17" fmla="*/ 405208 w 12192000"/>
              <a:gd name="connsiteY17" fmla="*/ 314184 h 6874379"/>
              <a:gd name="connsiteX18" fmla="*/ 282764 w 12192000"/>
              <a:gd name="connsiteY18" fmla="*/ 671391 h 6874379"/>
              <a:gd name="connsiteX19" fmla="*/ 248165 w 12192000"/>
              <a:gd name="connsiteY19" fmla="*/ 1871382 h 6874379"/>
              <a:gd name="connsiteX20" fmla="*/ 256012 w 12192000"/>
              <a:gd name="connsiteY20" fmla="*/ 2213101 h 6874379"/>
              <a:gd name="connsiteX21" fmla="*/ 252706 w 12192000"/>
              <a:gd name="connsiteY21" fmla="*/ 2453832 h 6874379"/>
              <a:gd name="connsiteX22" fmla="*/ 244400 w 12192000"/>
              <a:gd name="connsiteY22" fmla="*/ 3071384 h 6874379"/>
              <a:gd name="connsiteX23" fmla="*/ 177982 w 12192000"/>
              <a:gd name="connsiteY23" fmla="*/ 3854148 h 6874379"/>
              <a:gd name="connsiteX24" fmla="*/ 144773 w 12192000"/>
              <a:gd name="connsiteY24" fmla="*/ 6202469 h 6874379"/>
              <a:gd name="connsiteX25" fmla="*/ 676116 w 12192000"/>
              <a:gd name="connsiteY25" fmla="*/ 6710576 h 6874379"/>
              <a:gd name="connsiteX26" fmla="*/ 739810 w 12192000"/>
              <a:gd name="connsiteY26" fmla="*/ 6711571 h 6874379"/>
              <a:gd name="connsiteX27" fmla="*/ 742537 w 12192000"/>
              <a:gd name="connsiteY27" fmla="*/ 6711326 h 6874379"/>
              <a:gd name="connsiteX28" fmla="*/ 758188 w 12192000"/>
              <a:gd name="connsiteY28" fmla="*/ 6711571 h 6874379"/>
              <a:gd name="connsiteX29" fmla="*/ 1161699 w 12192000"/>
              <a:gd name="connsiteY29" fmla="*/ 6645433 h 6874379"/>
              <a:gd name="connsiteX30" fmla="*/ 1223129 w 12192000"/>
              <a:gd name="connsiteY30" fmla="*/ 6642040 h 6874379"/>
              <a:gd name="connsiteX31" fmla="*/ 1249749 w 12192000"/>
              <a:gd name="connsiteY31" fmla="*/ 6642246 h 6874379"/>
              <a:gd name="connsiteX32" fmla="*/ 2021087 w 12192000"/>
              <a:gd name="connsiteY32" fmla="*/ 6683110 h 6874379"/>
              <a:gd name="connsiteX33" fmla="*/ 7012994 w 12192000"/>
              <a:gd name="connsiteY33" fmla="*/ 6716069 h 6874379"/>
              <a:gd name="connsiteX34" fmla="*/ 7016698 w 12192000"/>
              <a:gd name="connsiteY34" fmla="*/ 6716018 h 6874379"/>
              <a:gd name="connsiteX35" fmla="*/ 7024455 w 12192000"/>
              <a:gd name="connsiteY35" fmla="*/ 6716069 h 6874379"/>
              <a:gd name="connsiteX36" fmla="*/ 7963164 w 12192000"/>
              <a:gd name="connsiteY36" fmla="*/ 6700185 h 6874379"/>
              <a:gd name="connsiteX37" fmla="*/ 8424990 w 12192000"/>
              <a:gd name="connsiteY37" fmla="*/ 6696610 h 6874379"/>
              <a:gd name="connsiteX38" fmla="*/ 8891818 w 12192000"/>
              <a:gd name="connsiteY38" fmla="*/ 6707289 h 6874379"/>
              <a:gd name="connsiteX39" fmla="*/ 11120508 w 12192000"/>
              <a:gd name="connsiteY39" fmla="*/ 6749147 h 6874379"/>
              <a:gd name="connsiteX40" fmla="*/ 11123244 w 12192000"/>
              <a:gd name="connsiteY40" fmla="*/ 6749138 h 6874379"/>
              <a:gd name="connsiteX41" fmla="*/ 11127440 w 12192000"/>
              <a:gd name="connsiteY41" fmla="*/ 6749147 h 6874379"/>
              <a:gd name="connsiteX42" fmla="*/ 11659021 w 12192000"/>
              <a:gd name="connsiteY42" fmla="*/ 6746289 h 6874379"/>
              <a:gd name="connsiteX43" fmla="*/ 12146815 w 12192000"/>
              <a:gd name="connsiteY43" fmla="*/ 6741361 h 6874379"/>
              <a:gd name="connsiteX44" fmla="*/ 12192000 w 12192000"/>
              <a:gd name="connsiteY44" fmla="*/ 6734754 h 6874379"/>
              <a:gd name="connsiteX45" fmla="*/ 12192000 w 12192000"/>
              <a:gd name="connsiteY45" fmla="*/ 6874379 h 6874379"/>
              <a:gd name="connsiteX46" fmla="*/ 0 w 12192000"/>
              <a:gd name="connsiteY46" fmla="*/ 6874379 h 68743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12192000" h="6874379">
                <a:moveTo>
                  <a:pt x="0" y="0"/>
                </a:moveTo>
                <a:lnTo>
                  <a:pt x="12192000" y="0"/>
                </a:lnTo>
                <a:lnTo>
                  <a:pt x="12192000" y="190329"/>
                </a:lnTo>
                <a:lnTo>
                  <a:pt x="12097817" y="160025"/>
                </a:lnTo>
                <a:cubicBezTo>
                  <a:pt x="12015663" y="141142"/>
                  <a:pt x="11919254" y="132559"/>
                  <a:pt x="11807295" y="132559"/>
                </a:cubicBezTo>
                <a:lnTo>
                  <a:pt x="11803273" y="132651"/>
                </a:lnTo>
                <a:lnTo>
                  <a:pt x="11801114" y="132559"/>
                </a:lnTo>
                <a:cubicBezTo>
                  <a:pt x="11078819" y="132559"/>
                  <a:pt x="10365869" y="240705"/>
                  <a:pt x="9648247" y="283191"/>
                </a:cubicBezTo>
                <a:lnTo>
                  <a:pt x="9289437" y="298139"/>
                </a:lnTo>
                <a:lnTo>
                  <a:pt x="8937897" y="297353"/>
                </a:lnTo>
                <a:cubicBezTo>
                  <a:pt x="8610318" y="290487"/>
                  <a:pt x="8283777" y="286195"/>
                  <a:pt x="7958013" y="284263"/>
                </a:cubicBezTo>
                <a:lnTo>
                  <a:pt x="7948375" y="284273"/>
                </a:lnTo>
                <a:lnTo>
                  <a:pt x="7947582" y="284263"/>
                </a:lnTo>
                <a:cubicBezTo>
                  <a:pt x="6969212" y="278468"/>
                  <a:pt x="5997850" y="293915"/>
                  <a:pt x="5026488" y="324819"/>
                </a:cubicBezTo>
                <a:lnTo>
                  <a:pt x="5003554" y="325295"/>
                </a:lnTo>
                <a:lnTo>
                  <a:pt x="4543566" y="331280"/>
                </a:lnTo>
                <a:cubicBezTo>
                  <a:pt x="3349959" y="326969"/>
                  <a:pt x="1955605" y="198024"/>
                  <a:pt x="1280017" y="176856"/>
                </a:cubicBezTo>
                <a:cubicBezTo>
                  <a:pt x="615478" y="156034"/>
                  <a:pt x="571070" y="163116"/>
                  <a:pt x="405208" y="314184"/>
                </a:cubicBezTo>
                <a:cubicBezTo>
                  <a:pt x="322286" y="396581"/>
                  <a:pt x="299341" y="575254"/>
                  <a:pt x="282764" y="671391"/>
                </a:cubicBezTo>
                <a:cubicBezTo>
                  <a:pt x="241294" y="1090239"/>
                  <a:pt x="240583" y="1480809"/>
                  <a:pt x="248165" y="1871382"/>
                </a:cubicBezTo>
                <a:lnTo>
                  <a:pt x="256012" y="2213101"/>
                </a:lnTo>
                <a:lnTo>
                  <a:pt x="252706" y="2453832"/>
                </a:lnTo>
                <a:cubicBezTo>
                  <a:pt x="250630" y="2656821"/>
                  <a:pt x="248553" y="2861957"/>
                  <a:pt x="244400" y="3071384"/>
                </a:cubicBezTo>
                <a:cubicBezTo>
                  <a:pt x="244400" y="3277369"/>
                  <a:pt x="211191" y="3552026"/>
                  <a:pt x="177982" y="3854148"/>
                </a:cubicBezTo>
                <a:cubicBezTo>
                  <a:pt x="94968" y="4623186"/>
                  <a:pt x="177982" y="5419690"/>
                  <a:pt x="144773" y="6202469"/>
                </a:cubicBezTo>
                <a:cubicBezTo>
                  <a:pt x="128177" y="6477125"/>
                  <a:pt x="227804" y="6683110"/>
                  <a:pt x="676116" y="6710576"/>
                </a:cubicBezTo>
                <a:cubicBezTo>
                  <a:pt x="696872" y="6712294"/>
                  <a:pt x="718146" y="6712509"/>
                  <a:pt x="739810" y="6711571"/>
                </a:cubicBezTo>
                <a:lnTo>
                  <a:pt x="742537" y="6711326"/>
                </a:lnTo>
                <a:lnTo>
                  <a:pt x="758188" y="6711571"/>
                </a:lnTo>
                <a:cubicBezTo>
                  <a:pt x="888027" y="6705943"/>
                  <a:pt x="1031860" y="6658790"/>
                  <a:pt x="1161699" y="6645433"/>
                </a:cubicBezTo>
                <a:lnTo>
                  <a:pt x="1223129" y="6642040"/>
                </a:lnTo>
                <a:lnTo>
                  <a:pt x="1249749" y="6642246"/>
                </a:lnTo>
                <a:cubicBezTo>
                  <a:pt x="1426096" y="6645459"/>
                  <a:pt x="1113971" y="6671527"/>
                  <a:pt x="2021087" y="6683110"/>
                </a:cubicBezTo>
                <a:lnTo>
                  <a:pt x="7012994" y="6716069"/>
                </a:lnTo>
                <a:lnTo>
                  <a:pt x="7016698" y="6716018"/>
                </a:lnTo>
                <a:lnTo>
                  <a:pt x="7024455" y="6716069"/>
                </a:lnTo>
                <a:cubicBezTo>
                  <a:pt x="7337250" y="6714606"/>
                  <a:pt x="7650263" y="6705480"/>
                  <a:pt x="7963164" y="6700185"/>
                </a:cubicBezTo>
                <a:lnTo>
                  <a:pt x="8424990" y="6696610"/>
                </a:lnTo>
                <a:lnTo>
                  <a:pt x="8891818" y="6707289"/>
                </a:lnTo>
                <a:cubicBezTo>
                  <a:pt x="9645805" y="6740724"/>
                  <a:pt x="10498919" y="6749520"/>
                  <a:pt x="11120508" y="6749147"/>
                </a:cubicBezTo>
                <a:lnTo>
                  <a:pt x="11123244" y="6749138"/>
                </a:lnTo>
                <a:lnTo>
                  <a:pt x="11127440" y="6749147"/>
                </a:lnTo>
                <a:cubicBezTo>
                  <a:pt x="11334408" y="6749022"/>
                  <a:pt x="11515679" y="6747879"/>
                  <a:pt x="11659021" y="6746289"/>
                </a:cubicBezTo>
                <a:cubicBezTo>
                  <a:pt x="11945705" y="6743110"/>
                  <a:pt x="12070693" y="6747846"/>
                  <a:pt x="12146815" y="6741361"/>
                </a:cubicBezTo>
                <a:lnTo>
                  <a:pt x="12192000" y="6734754"/>
                </a:lnTo>
                <a:lnTo>
                  <a:pt x="12192000" y="6874379"/>
                </a:lnTo>
                <a:lnTo>
                  <a:pt x="0" y="687437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8FEA80-7B9C-47B6-AB26-C483191299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501" y="457200"/>
            <a:ext cx="11182499" cy="4853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412722-E6BD-447B-8052-740133E9D4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1475D-EF5B-48A6-8CCB-3BD08F726926}" type="datetimeFigureOut">
              <a:rPr lang="en-US"/>
              <a:pPr/>
              <a:t>6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511FD4-F314-401C-A0EF-CB4185315A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40098E-180C-438C-85EA-F6F1FB1B5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609F077-D81F-4729-9AC7-9C5410D4590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8651" y="1664702"/>
            <a:ext cx="11182350" cy="43550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53">
            <a:extLst>
              <a:ext uri="{FF2B5EF4-FFF2-40B4-BE49-F238E27FC236}">
                <a16:creationId xmlns:a16="http://schemas.microsoft.com/office/drawing/2014/main" id="{DCA8F8B7-60BD-4B53-A658-C77FA4FA67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8500" y="1086829"/>
            <a:ext cx="11182499" cy="29051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65642195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5318214A-2D20-42DC-9E1E-5FE8646C4D6C}"/>
              </a:ext>
            </a:extLst>
          </p:cNvPr>
          <p:cNvSpPr/>
          <p:nvPr/>
        </p:nvSpPr>
        <p:spPr bwMode="ltGray">
          <a:xfrm>
            <a:off x="0" y="0"/>
            <a:ext cx="12192000" cy="6874379"/>
          </a:xfrm>
          <a:custGeom>
            <a:avLst/>
            <a:gdLst>
              <a:gd name="connsiteX0" fmla="*/ 0 w 12192000"/>
              <a:gd name="connsiteY0" fmla="*/ 0 h 6874379"/>
              <a:gd name="connsiteX1" fmla="*/ 12192000 w 12192000"/>
              <a:gd name="connsiteY1" fmla="*/ 0 h 6874379"/>
              <a:gd name="connsiteX2" fmla="*/ 12192000 w 12192000"/>
              <a:gd name="connsiteY2" fmla="*/ 341392 h 6874379"/>
              <a:gd name="connsiteX3" fmla="*/ 12134257 w 12192000"/>
              <a:gd name="connsiteY3" fmla="*/ 320479 h 6874379"/>
              <a:gd name="connsiteX4" fmla="*/ 11462617 w 12192000"/>
              <a:gd name="connsiteY4" fmla="*/ 234532 h 6874379"/>
              <a:gd name="connsiteX5" fmla="*/ 10560397 w 12192000"/>
              <a:gd name="connsiteY5" fmla="*/ 220643 h 6874379"/>
              <a:gd name="connsiteX6" fmla="*/ 9632386 w 12192000"/>
              <a:gd name="connsiteY6" fmla="*/ 151243 h 6874379"/>
              <a:gd name="connsiteX7" fmla="*/ 8274354 w 12192000"/>
              <a:gd name="connsiteY7" fmla="*/ 139710 h 6874379"/>
              <a:gd name="connsiteX8" fmla="*/ 2672303 w 12192000"/>
              <a:gd name="connsiteY8" fmla="*/ 206769 h 6874379"/>
              <a:gd name="connsiteX9" fmla="*/ 1383398 w 12192000"/>
              <a:gd name="connsiteY9" fmla="*/ 276170 h 6874379"/>
              <a:gd name="connsiteX10" fmla="*/ 352275 w 12192000"/>
              <a:gd name="connsiteY10" fmla="*/ 581565 h 6874379"/>
              <a:gd name="connsiteX11" fmla="*/ 249163 w 12192000"/>
              <a:gd name="connsiteY11" fmla="*/ 1969723 h 6874379"/>
              <a:gd name="connsiteX12" fmla="*/ 197606 w 12192000"/>
              <a:gd name="connsiteY12" fmla="*/ 4051960 h 6874379"/>
              <a:gd name="connsiteX13" fmla="*/ 146050 w 12192000"/>
              <a:gd name="connsiteY13" fmla="*/ 4746040 h 6874379"/>
              <a:gd name="connsiteX14" fmla="*/ 197606 w 12192000"/>
              <a:gd name="connsiteY14" fmla="*/ 5828803 h 6874379"/>
              <a:gd name="connsiteX15" fmla="*/ 223371 w 12192000"/>
              <a:gd name="connsiteY15" fmla="*/ 6175850 h 6874379"/>
              <a:gd name="connsiteX16" fmla="*/ 452464 w 12192000"/>
              <a:gd name="connsiteY16" fmla="*/ 6511675 h 6874379"/>
              <a:gd name="connsiteX17" fmla="*/ 5891167 w 12192000"/>
              <a:gd name="connsiteY17" fmla="*/ 6680936 h 6874379"/>
              <a:gd name="connsiteX18" fmla="*/ 9142589 w 12192000"/>
              <a:gd name="connsiteY18" fmla="*/ 6731113 h 6874379"/>
              <a:gd name="connsiteX19" fmla="*/ 12192000 w 12192000"/>
              <a:gd name="connsiteY19" fmla="*/ 6743126 h 6874379"/>
              <a:gd name="connsiteX20" fmla="*/ 12192000 w 12192000"/>
              <a:gd name="connsiteY20" fmla="*/ 6874379 h 6874379"/>
              <a:gd name="connsiteX21" fmla="*/ 0 w 12192000"/>
              <a:gd name="connsiteY21" fmla="*/ 6874379 h 68743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2192000" h="6874379">
                <a:moveTo>
                  <a:pt x="0" y="0"/>
                </a:moveTo>
                <a:lnTo>
                  <a:pt x="12192000" y="0"/>
                </a:lnTo>
                <a:lnTo>
                  <a:pt x="12192000" y="341392"/>
                </a:lnTo>
                <a:lnTo>
                  <a:pt x="12134257" y="320479"/>
                </a:lnTo>
                <a:cubicBezTo>
                  <a:pt x="11954012" y="269236"/>
                  <a:pt x="11688175" y="251884"/>
                  <a:pt x="11462617" y="234532"/>
                </a:cubicBezTo>
                <a:cubicBezTo>
                  <a:pt x="11256392" y="220643"/>
                  <a:pt x="10869734" y="248407"/>
                  <a:pt x="10560397" y="220643"/>
                </a:cubicBezTo>
                <a:cubicBezTo>
                  <a:pt x="10328381" y="192880"/>
                  <a:pt x="9890167" y="151243"/>
                  <a:pt x="9632386" y="151243"/>
                </a:cubicBezTo>
                <a:cubicBezTo>
                  <a:pt x="9139380" y="143433"/>
                  <a:pt x="8693500" y="140016"/>
                  <a:pt x="8274354" y="139710"/>
                </a:cubicBezTo>
                <a:cubicBezTo>
                  <a:pt x="6458057" y="138384"/>
                  <a:pt x="5143777" y="195484"/>
                  <a:pt x="2672303" y="206769"/>
                </a:cubicBezTo>
                <a:cubicBezTo>
                  <a:pt x="2388730" y="206769"/>
                  <a:pt x="2002073" y="206769"/>
                  <a:pt x="1383398" y="276170"/>
                </a:cubicBezTo>
                <a:cubicBezTo>
                  <a:pt x="816280" y="331696"/>
                  <a:pt x="532708" y="276170"/>
                  <a:pt x="352275" y="581565"/>
                </a:cubicBezTo>
                <a:cubicBezTo>
                  <a:pt x="197606" y="831433"/>
                  <a:pt x="274927" y="1650454"/>
                  <a:pt x="249163" y="1969723"/>
                </a:cubicBezTo>
                <a:cubicBezTo>
                  <a:pt x="197606" y="2691565"/>
                  <a:pt x="197606" y="3191302"/>
                  <a:pt x="197606" y="4051960"/>
                </a:cubicBezTo>
                <a:lnTo>
                  <a:pt x="146050" y="4746040"/>
                </a:lnTo>
                <a:cubicBezTo>
                  <a:pt x="274927" y="5134724"/>
                  <a:pt x="68702" y="5426244"/>
                  <a:pt x="197606" y="5828803"/>
                </a:cubicBezTo>
                <a:cubicBezTo>
                  <a:pt x="223371" y="5967619"/>
                  <a:pt x="180908" y="6062043"/>
                  <a:pt x="223371" y="6175850"/>
                </a:cubicBezTo>
                <a:cubicBezTo>
                  <a:pt x="265834" y="6289657"/>
                  <a:pt x="263750" y="6295253"/>
                  <a:pt x="452464" y="6511675"/>
                </a:cubicBezTo>
                <a:cubicBezTo>
                  <a:pt x="1044048" y="6836264"/>
                  <a:pt x="4442832" y="6644370"/>
                  <a:pt x="5891167" y="6680936"/>
                </a:cubicBezTo>
                <a:cubicBezTo>
                  <a:pt x="7339503" y="6717501"/>
                  <a:pt x="8163022" y="6744988"/>
                  <a:pt x="9142589" y="6731113"/>
                </a:cubicBezTo>
                <a:lnTo>
                  <a:pt x="12192000" y="6743126"/>
                </a:lnTo>
                <a:lnTo>
                  <a:pt x="12192000" y="6874379"/>
                </a:lnTo>
                <a:lnTo>
                  <a:pt x="0" y="687437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1DE026-1211-4BB1-B4B5-C2260592AD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501" y="457200"/>
            <a:ext cx="11182499" cy="4853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17AA9E-D108-4CE2-89FE-7BF9BE02BB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1475D-EF5B-48A6-8CCB-3BD08F726926}" type="datetimeFigureOut">
              <a:rPr lang="en-US"/>
              <a:pPr/>
              <a:t>6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D5D3E2-25F9-4BB3-889E-54F2FFA42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FC1D393-2630-4AA7-9044-26C6B46637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9" name="Text Placeholder 53">
            <a:extLst>
              <a:ext uri="{FF2B5EF4-FFF2-40B4-BE49-F238E27FC236}">
                <a16:creationId xmlns:a16="http://schemas.microsoft.com/office/drawing/2014/main" id="{9D2C6C6E-901A-4B8F-B000-D207C47F07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8500" y="1086829"/>
            <a:ext cx="11182499" cy="29051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A18E98C8-CBF7-4423-80CA-BBA23E40058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8649" y="1664702"/>
            <a:ext cx="5486400" cy="43550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77318A40-5974-4778-8EA2-5CB8991B7CB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24599" y="1664702"/>
            <a:ext cx="5486400" cy="43550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06353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2EC308-A595-4731-81D6-E996B8DA199F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204747-4051-4C7A-B674-A1E64ACD02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1475D-EF5B-48A6-8CCB-3BD08F726926}" type="datetimeFigureOut">
              <a:rPr lang="en-US"/>
              <a:t>6/1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DB6A6F-2612-48E0-B685-EE5FD0A1A4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B2BD39-0025-4E14-A207-974EC0FD86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A593348-F93D-4FEF-A9B9-1AEA4A21A6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096098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7533635-B1C4-457F-B4C4-D0F7EFBF08C3}"/>
              </a:ext>
            </a:extLst>
          </p:cNvPr>
          <p:cNvSpPr/>
          <p:nvPr/>
        </p:nvSpPr>
        <p:spPr bwMode="ltGray">
          <a:xfrm>
            <a:off x="10462371" y="5974804"/>
            <a:ext cx="1585477" cy="883197"/>
          </a:xfrm>
          <a:custGeom>
            <a:avLst/>
            <a:gdLst>
              <a:gd name="connsiteX0" fmla="*/ 838774 w 1585477"/>
              <a:gd name="connsiteY0" fmla="*/ 14 h 883197"/>
              <a:gd name="connsiteX1" fmla="*/ 996107 w 1585477"/>
              <a:gd name="connsiteY1" fmla="*/ 18377 h 883197"/>
              <a:gd name="connsiteX2" fmla="*/ 1585477 w 1585477"/>
              <a:gd name="connsiteY2" fmla="*/ 746145 h 883197"/>
              <a:gd name="connsiteX3" fmla="*/ 1585202 w 1585477"/>
              <a:gd name="connsiteY3" fmla="*/ 883197 h 883197"/>
              <a:gd name="connsiteX4" fmla="*/ 695 w 1585477"/>
              <a:gd name="connsiteY4" fmla="*/ 883197 h 883197"/>
              <a:gd name="connsiteX5" fmla="*/ 294 w 1585477"/>
              <a:gd name="connsiteY5" fmla="*/ 879328 h 883197"/>
              <a:gd name="connsiteX6" fmla="*/ 20167 w 1585477"/>
              <a:gd name="connsiteY6" fmla="*/ 648487 h 883197"/>
              <a:gd name="connsiteX7" fmla="*/ 838774 w 1585477"/>
              <a:gd name="connsiteY7" fmla="*/ 14 h 883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85477" h="883197">
                <a:moveTo>
                  <a:pt x="838774" y="14"/>
                </a:moveTo>
                <a:cubicBezTo>
                  <a:pt x="891699" y="335"/>
                  <a:pt x="944452" y="6288"/>
                  <a:pt x="996107" y="18377"/>
                </a:cubicBezTo>
                <a:cubicBezTo>
                  <a:pt x="1344865" y="100437"/>
                  <a:pt x="1558993" y="409128"/>
                  <a:pt x="1585477" y="746145"/>
                </a:cubicBezTo>
                <a:lnTo>
                  <a:pt x="1585202" y="883197"/>
                </a:lnTo>
                <a:lnTo>
                  <a:pt x="695" y="883197"/>
                </a:lnTo>
                <a:lnTo>
                  <a:pt x="294" y="879328"/>
                </a:lnTo>
                <a:cubicBezTo>
                  <a:pt x="-1813" y="797038"/>
                  <a:pt x="7712" y="718092"/>
                  <a:pt x="20167" y="648487"/>
                </a:cubicBezTo>
                <a:cubicBezTo>
                  <a:pt x="89408" y="271519"/>
                  <a:pt x="468297" y="-2229"/>
                  <a:pt x="838774" y="14"/>
                </a:cubicBezTo>
                <a:close/>
              </a:path>
            </a:pathLst>
          </a:custGeom>
          <a:solidFill>
            <a:srgbClr val="4F2170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B813CEC-1B8A-4FB0-9276-0170AED9E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994A90-D491-44FB-9802-5BF47DE84F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1475D-EF5B-48A6-8CCB-3BD08F726926}" type="datetimeFigureOut">
              <a:rPr lang="en-US"/>
              <a:pPr/>
              <a:t>6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7A821A-79DC-41C0-A300-2B368D9926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49FD507-7645-49CA-AA88-72717BAD31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Text Placeholder 53">
            <a:extLst>
              <a:ext uri="{FF2B5EF4-FFF2-40B4-BE49-F238E27FC236}">
                <a16:creationId xmlns:a16="http://schemas.microsoft.com/office/drawing/2014/main" id="{B420C7EB-E753-4F7B-AEA6-BF83E3F371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731530"/>
            <a:ext cx="11429998" cy="36573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5A0AFF1-9E54-421B-AC34-EAFAF90112DD}"/>
              </a:ext>
            </a:extLst>
          </p:cNvPr>
          <p:cNvGrpSpPr>
            <a:grpSpLocks noChangeAspect="1"/>
          </p:cNvGrpSpPr>
          <p:nvPr/>
        </p:nvGrpSpPr>
        <p:grpSpPr>
          <a:xfrm>
            <a:off x="10676779" y="6205751"/>
            <a:ext cx="1143000" cy="440144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BFDC3F4-CA3C-4FC2-92DD-3CADF4989447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37DBEEE-CF7F-4D1F-849D-928BA82EC93B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B2F70EF-E943-4F09-9AF2-6BD9CAD5CB3A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7C3E69A-2B35-4A55-B991-C0C039AFB0CE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1AF4A2B-A30E-4897-8EDC-C99DE54C2936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2DCAE65-6D6D-48D1-B28A-A058E3BC709E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95AFC10-7312-4BF8-A557-DA8678F962DA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2F36A6C7-D0EE-46D0-A334-73B13AC9039B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A99400B-701C-434B-A9DF-407DAC516AB5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2D1B86A-33BB-46AB-8000-A26581AE547C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6F0D372-8C1C-4BBA-8C19-5C5D50CB40D3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EF4B029-DDF1-4096-896A-C4F8417BFF1E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3742297-9C6A-4599-8768-0BDB13B1FCEF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0253335F-845B-4DB3-A9A0-46D3B34CD5DB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599992C4-BDD7-4BA0-95D9-C32B47D580A5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BA1C7DC-6309-4E4F-B5A5-1E32C5ABFC1A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F248CF09-AD3B-4C85-B535-3B9F24457F3F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E974E943-15A7-4D05-B2E8-5041FD49AFD8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FAEB3-1B3E-4C78-9313-BD977A48C24D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013A6C2-7D68-4911-9BB2-76B931A0840C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3A0FC2E-1696-4E5D-8740-0173FEC0C940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A6C3BEF-B959-4A63-9972-3910916B1FB5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95A684EE-FC6F-42C2-A395-8D903D7DA553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FFA0438A-6980-45CF-B8F0-FB53943DAB08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FC20C9B-4BB9-46A9-9696-DAAC441E835C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19D53DE-A4DA-4AE7-BA92-608B7F6E88D3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B625ED8A-D3D4-4154-B0B3-EF43EBC3C6D3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9B1C02FF-90CC-4831-BAE5-A86D10791FC1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F82A0DB8-0ECB-4944-9468-4B85E60D809E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DA4A0440-EB6E-4064-A01C-1781BC03A876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49007CFA-4CB6-4475-8DC1-AE2D8D316015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862B4178-3CD4-4F75-9B25-C23D707C377A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558B1006-CC1F-40DD-BD7B-99C832704287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E3A64DEA-4098-4ADC-9CD1-9687FE43DC93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A832BAE0-D017-4A44-B1FD-B27B15799420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5C4E59D-A8AD-4910-AF39-8DEEF44A00F1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A81B5D9D-89FB-4D2F-A78D-73AF9AEC196D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DBFAFEDA-92A7-430B-864D-95B664E05370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74C54477-D660-4214-9D6F-AF9A7F0C3099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7AB18A07-F054-4F36-97CA-4DBDC6B271F5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FD1E386E-E3EA-4515-B634-C0D94651C931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A4566A92-B6AE-4D30-A8A5-6CAEA783F9AC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1BC387F-0885-43F6-85BD-C73BA939878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1000" y="1384628"/>
            <a:ext cx="11430000" cy="46351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358869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6CF7A3-C01B-4858-95E5-B008688EC0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C0B5B2-035E-4875-9E0B-65D7693B97EB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001" y="914400"/>
            <a:ext cx="5610221" cy="5105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1C9F57-0475-48B8-B2C4-3C1B844EB79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0774" y="914401"/>
            <a:ext cx="5610221" cy="5105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8D6859-D53D-4387-B548-092AE96646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FEB38-5A4E-45E5-A640-26D00BC1F3AB}" type="datetimeFigureOut">
              <a:rPr lang="en-US"/>
              <a:t>6/12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800914-2B16-461D-99E1-47F2640247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A110C2F-EFB2-4168-86BE-C3ABA04BA6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F95A1E-4E3E-4AAD-A517-7DAD9580D6B2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249587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081126-3DF6-4AE2-A8AE-6034E9AA39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E021F4-C37C-4B7E-96F0-1DCC62967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1475D-EF5B-48A6-8CCB-3BD08F726926}" type="datetimeFigureOut">
              <a:rPr lang="en-US"/>
              <a:pPr/>
              <a:t>6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343FD06-8A80-436E-AAD0-0B4CC79FEF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54BFCC-9FE5-4526-91E6-920CEB6231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5AA6A50-CF51-470A-8339-2A98B229115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81000" y="914400"/>
            <a:ext cx="3733800" cy="5105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EC50042C-8E0C-40C9-A488-3584EFC873E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914400"/>
            <a:ext cx="3733800" cy="5105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E85AC529-F215-45F0-A438-817CEBA3DFF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077200" y="914400"/>
            <a:ext cx="3733800" cy="5105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69968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or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CA58538C-6DCE-48AB-8A34-6553092FE476}"/>
              </a:ext>
            </a:extLst>
          </p:cNvPr>
          <p:cNvGrpSpPr/>
          <p:nvPr/>
        </p:nvGrpSpPr>
        <p:grpSpPr bwMode="ltGray">
          <a:xfrm>
            <a:off x="0" y="1"/>
            <a:ext cx="5266036" cy="6858000"/>
            <a:chOff x="0" y="1"/>
            <a:chExt cx="5266036" cy="6858000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84F7992-9D3F-4C17-B64D-6183DCA4456E}"/>
                </a:ext>
              </a:extLst>
            </p:cNvPr>
            <p:cNvSpPr/>
            <p:nvPr/>
          </p:nvSpPr>
          <p:spPr bwMode="ltGray">
            <a:xfrm>
              <a:off x="0" y="1"/>
              <a:ext cx="5266036" cy="6858000"/>
            </a:xfrm>
            <a:custGeom>
              <a:avLst/>
              <a:gdLst>
                <a:gd name="connsiteX0" fmla="*/ 0 w 5266036"/>
                <a:gd name="connsiteY0" fmla="*/ 0 h 6858000"/>
                <a:gd name="connsiteX1" fmla="*/ 3014696 w 5266036"/>
                <a:gd name="connsiteY1" fmla="*/ 0 h 6858000"/>
                <a:gd name="connsiteX2" fmla="*/ 3040982 w 5266036"/>
                <a:gd name="connsiteY2" fmla="*/ 11408 h 6858000"/>
                <a:gd name="connsiteX3" fmla="*/ 5250901 w 5266036"/>
                <a:gd name="connsiteY3" fmla="*/ 4085922 h 6858000"/>
                <a:gd name="connsiteX4" fmla="*/ 3435696 w 5266036"/>
                <a:gd name="connsiteY4" fmla="*/ 6839477 h 6858000"/>
                <a:gd name="connsiteX5" fmla="*/ 3398836 w 5266036"/>
                <a:gd name="connsiteY5" fmla="*/ 6858000 h 6858000"/>
                <a:gd name="connsiteX6" fmla="*/ 0 w 5266036"/>
                <a:gd name="connsiteY6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66036" h="6858000">
                  <a:moveTo>
                    <a:pt x="0" y="0"/>
                  </a:moveTo>
                  <a:lnTo>
                    <a:pt x="3014696" y="0"/>
                  </a:lnTo>
                  <a:lnTo>
                    <a:pt x="3040982" y="11408"/>
                  </a:lnTo>
                  <a:cubicBezTo>
                    <a:pt x="4562919" y="717837"/>
                    <a:pt x="5390071" y="2397951"/>
                    <a:pt x="5250901" y="4085922"/>
                  </a:cubicBezTo>
                  <a:cubicBezTo>
                    <a:pt x="5138669" y="5484335"/>
                    <a:pt x="4361602" y="6343612"/>
                    <a:pt x="3435696" y="6839477"/>
                  </a:cubicBezTo>
                  <a:lnTo>
                    <a:pt x="3398836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4F2170"/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768B0534-2EEE-4824-8F44-ACC22A3132AF}"/>
                </a:ext>
              </a:extLst>
            </p:cNvPr>
            <p:cNvSpPr/>
            <p:nvPr/>
          </p:nvSpPr>
          <p:spPr bwMode="ltGray">
            <a:xfrm>
              <a:off x="1" y="99439"/>
              <a:ext cx="287275" cy="1443098"/>
            </a:xfrm>
            <a:custGeom>
              <a:avLst/>
              <a:gdLst>
                <a:gd name="connsiteX0" fmla="*/ 94635 w 287275"/>
                <a:gd name="connsiteY0" fmla="*/ 646457 h 1443098"/>
                <a:gd name="connsiteX1" fmla="*/ 110030 w 287275"/>
                <a:gd name="connsiteY1" fmla="*/ 646457 h 1443098"/>
                <a:gd name="connsiteX2" fmla="*/ 176725 w 287275"/>
                <a:gd name="connsiteY2" fmla="*/ 1205691 h 1443098"/>
                <a:gd name="connsiteX3" fmla="*/ 17148 w 287275"/>
                <a:gd name="connsiteY3" fmla="*/ 1435626 h 1443098"/>
                <a:gd name="connsiteX4" fmla="*/ 0 w 287275"/>
                <a:gd name="connsiteY4" fmla="*/ 1443098 h 1443098"/>
                <a:gd name="connsiteX5" fmla="*/ 0 w 287275"/>
                <a:gd name="connsiteY5" fmla="*/ 675806 h 1443098"/>
                <a:gd name="connsiteX6" fmla="*/ 79246 w 287275"/>
                <a:gd name="connsiteY6" fmla="*/ 0 h 1443098"/>
                <a:gd name="connsiteX7" fmla="*/ 161336 w 287275"/>
                <a:gd name="connsiteY7" fmla="*/ 10261 h 1443098"/>
                <a:gd name="connsiteX8" fmla="*/ 145941 w 287275"/>
                <a:gd name="connsiteY8" fmla="*/ 287314 h 1443098"/>
                <a:gd name="connsiteX9" fmla="*/ 62169 w 287275"/>
                <a:gd name="connsiteY9" fmla="*/ 305030 h 1443098"/>
                <a:gd name="connsiteX10" fmla="*/ 0 w 287275"/>
                <a:gd name="connsiteY10" fmla="*/ 311825 h 1443098"/>
                <a:gd name="connsiteX11" fmla="*/ 0 w 287275"/>
                <a:gd name="connsiteY11" fmla="*/ 20391 h 1443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7275" h="1443098">
                  <a:moveTo>
                    <a:pt x="94635" y="646457"/>
                  </a:moveTo>
                  <a:cubicBezTo>
                    <a:pt x="99769" y="646457"/>
                    <a:pt x="104897" y="646457"/>
                    <a:pt x="110030" y="646457"/>
                  </a:cubicBezTo>
                  <a:cubicBezTo>
                    <a:pt x="438389" y="692630"/>
                    <a:pt x="217770" y="1000466"/>
                    <a:pt x="176725" y="1205691"/>
                  </a:cubicBezTo>
                  <a:cubicBezTo>
                    <a:pt x="145302" y="1376283"/>
                    <a:pt x="141374" y="1381895"/>
                    <a:pt x="17148" y="1435626"/>
                  </a:cubicBezTo>
                  <a:lnTo>
                    <a:pt x="0" y="1443098"/>
                  </a:lnTo>
                  <a:lnTo>
                    <a:pt x="0" y="675806"/>
                  </a:lnTo>
                  <a:close/>
                  <a:moveTo>
                    <a:pt x="79246" y="0"/>
                  </a:moveTo>
                  <a:cubicBezTo>
                    <a:pt x="99769" y="0"/>
                    <a:pt x="120291" y="5128"/>
                    <a:pt x="161336" y="10261"/>
                  </a:cubicBezTo>
                  <a:cubicBezTo>
                    <a:pt x="325515" y="92351"/>
                    <a:pt x="274209" y="246269"/>
                    <a:pt x="145941" y="287314"/>
                  </a:cubicBezTo>
                  <a:cubicBezTo>
                    <a:pt x="116441" y="296292"/>
                    <a:pt x="88864" y="301422"/>
                    <a:pt x="62169" y="305030"/>
                  </a:cubicBezTo>
                  <a:lnTo>
                    <a:pt x="0" y="311825"/>
                  </a:lnTo>
                  <a:lnTo>
                    <a:pt x="0" y="20391"/>
                  </a:lnTo>
                  <a:close/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89E5AB32-14B9-4441-BD18-CA3B7FA72F4A}"/>
                </a:ext>
              </a:extLst>
            </p:cNvPr>
            <p:cNvSpPr/>
            <p:nvPr/>
          </p:nvSpPr>
          <p:spPr bwMode="ltGray">
            <a:xfrm>
              <a:off x="0" y="3622695"/>
              <a:ext cx="911379" cy="2599608"/>
            </a:xfrm>
            <a:custGeom>
              <a:avLst/>
              <a:gdLst>
                <a:gd name="connsiteX0" fmla="*/ 0 w 911379"/>
                <a:gd name="connsiteY0" fmla="*/ 3000131 h 3315846"/>
                <a:gd name="connsiteX1" fmla="*/ 9176 w 911379"/>
                <a:gd name="connsiteY1" fmla="*/ 3027252 h 3315846"/>
                <a:gd name="connsiteX2" fmla="*/ 27935 w 911379"/>
                <a:gd name="connsiteY2" fmla="*/ 3315846 h 3315846"/>
                <a:gd name="connsiteX3" fmla="*/ 17673 w 911379"/>
                <a:gd name="connsiteY3" fmla="*/ 3315846 h 3315846"/>
                <a:gd name="connsiteX4" fmla="*/ 0 w 911379"/>
                <a:gd name="connsiteY4" fmla="*/ 3309186 h 3315846"/>
                <a:gd name="connsiteX5" fmla="*/ 0 w 911379"/>
                <a:gd name="connsiteY5" fmla="*/ 0 h 3315846"/>
                <a:gd name="connsiteX6" fmla="*/ 63852 w 911379"/>
                <a:gd name="connsiteY6" fmla="*/ 32258 h 3315846"/>
                <a:gd name="connsiteX7" fmla="*/ 253681 w 911379"/>
                <a:gd name="connsiteY7" fmla="*/ 140003 h 3315846"/>
                <a:gd name="connsiteX8" fmla="*/ 376816 w 911379"/>
                <a:gd name="connsiteY8" fmla="*/ 432445 h 3315846"/>
                <a:gd name="connsiteX9" fmla="*/ 587173 w 911379"/>
                <a:gd name="connsiteY9" fmla="*/ 545318 h 3315846"/>
                <a:gd name="connsiteX10" fmla="*/ 900137 w 911379"/>
                <a:gd name="connsiteY10" fmla="*/ 919855 h 3315846"/>
                <a:gd name="connsiteX11" fmla="*/ 664129 w 911379"/>
                <a:gd name="connsiteY11" fmla="*/ 1284126 h 3315846"/>
                <a:gd name="connsiteX12" fmla="*/ 566651 w 911379"/>
                <a:gd name="connsiteY12" fmla="*/ 1684313 h 3315846"/>
                <a:gd name="connsiteX13" fmla="*/ 304987 w 911379"/>
                <a:gd name="connsiteY13" fmla="*/ 2002411 h 3315846"/>
                <a:gd name="connsiteX14" fmla="*/ 63852 w 911379"/>
                <a:gd name="connsiteY14" fmla="*/ 2489821 h 3315846"/>
                <a:gd name="connsiteX15" fmla="*/ 0 w 911379"/>
                <a:gd name="connsiteY15" fmla="*/ 2599608 h 3315846"/>
                <a:gd name="connsiteX0" fmla="*/ 0 w 911379"/>
                <a:gd name="connsiteY0" fmla="*/ 3000131 h 3315846"/>
                <a:gd name="connsiteX1" fmla="*/ 9176 w 911379"/>
                <a:gd name="connsiteY1" fmla="*/ 3027252 h 3315846"/>
                <a:gd name="connsiteX2" fmla="*/ 27935 w 911379"/>
                <a:gd name="connsiteY2" fmla="*/ 3315846 h 3315846"/>
                <a:gd name="connsiteX3" fmla="*/ 17673 w 911379"/>
                <a:gd name="connsiteY3" fmla="*/ 3315846 h 3315846"/>
                <a:gd name="connsiteX4" fmla="*/ 0 w 911379"/>
                <a:gd name="connsiteY4" fmla="*/ 3000131 h 3315846"/>
                <a:gd name="connsiteX5" fmla="*/ 0 w 911379"/>
                <a:gd name="connsiteY5" fmla="*/ 0 h 3315846"/>
                <a:gd name="connsiteX6" fmla="*/ 63852 w 911379"/>
                <a:gd name="connsiteY6" fmla="*/ 32258 h 3315846"/>
                <a:gd name="connsiteX7" fmla="*/ 253681 w 911379"/>
                <a:gd name="connsiteY7" fmla="*/ 140003 h 3315846"/>
                <a:gd name="connsiteX8" fmla="*/ 376816 w 911379"/>
                <a:gd name="connsiteY8" fmla="*/ 432445 h 3315846"/>
                <a:gd name="connsiteX9" fmla="*/ 587173 w 911379"/>
                <a:gd name="connsiteY9" fmla="*/ 545318 h 3315846"/>
                <a:gd name="connsiteX10" fmla="*/ 900137 w 911379"/>
                <a:gd name="connsiteY10" fmla="*/ 919855 h 3315846"/>
                <a:gd name="connsiteX11" fmla="*/ 664129 w 911379"/>
                <a:gd name="connsiteY11" fmla="*/ 1284126 h 3315846"/>
                <a:gd name="connsiteX12" fmla="*/ 566651 w 911379"/>
                <a:gd name="connsiteY12" fmla="*/ 1684313 h 3315846"/>
                <a:gd name="connsiteX13" fmla="*/ 304987 w 911379"/>
                <a:gd name="connsiteY13" fmla="*/ 2002411 h 3315846"/>
                <a:gd name="connsiteX14" fmla="*/ 63852 w 911379"/>
                <a:gd name="connsiteY14" fmla="*/ 2489821 h 3315846"/>
                <a:gd name="connsiteX15" fmla="*/ 0 w 911379"/>
                <a:gd name="connsiteY15" fmla="*/ 2599608 h 3315846"/>
                <a:gd name="connsiteX16" fmla="*/ 0 w 911379"/>
                <a:gd name="connsiteY16" fmla="*/ 0 h 3315846"/>
                <a:gd name="connsiteX0" fmla="*/ 0 w 911379"/>
                <a:gd name="connsiteY0" fmla="*/ 3000131 h 3315846"/>
                <a:gd name="connsiteX1" fmla="*/ 9176 w 911379"/>
                <a:gd name="connsiteY1" fmla="*/ 3027252 h 3315846"/>
                <a:gd name="connsiteX2" fmla="*/ 27935 w 911379"/>
                <a:gd name="connsiteY2" fmla="*/ 3315846 h 3315846"/>
                <a:gd name="connsiteX3" fmla="*/ 0 w 911379"/>
                <a:gd name="connsiteY3" fmla="*/ 3000131 h 3315846"/>
                <a:gd name="connsiteX4" fmla="*/ 0 w 911379"/>
                <a:gd name="connsiteY4" fmla="*/ 0 h 3315846"/>
                <a:gd name="connsiteX5" fmla="*/ 63852 w 911379"/>
                <a:gd name="connsiteY5" fmla="*/ 32258 h 3315846"/>
                <a:gd name="connsiteX6" fmla="*/ 253681 w 911379"/>
                <a:gd name="connsiteY6" fmla="*/ 140003 h 3315846"/>
                <a:gd name="connsiteX7" fmla="*/ 376816 w 911379"/>
                <a:gd name="connsiteY7" fmla="*/ 432445 h 3315846"/>
                <a:gd name="connsiteX8" fmla="*/ 587173 w 911379"/>
                <a:gd name="connsiteY8" fmla="*/ 545318 h 3315846"/>
                <a:gd name="connsiteX9" fmla="*/ 900137 w 911379"/>
                <a:gd name="connsiteY9" fmla="*/ 919855 h 3315846"/>
                <a:gd name="connsiteX10" fmla="*/ 664129 w 911379"/>
                <a:gd name="connsiteY10" fmla="*/ 1284126 h 3315846"/>
                <a:gd name="connsiteX11" fmla="*/ 566651 w 911379"/>
                <a:gd name="connsiteY11" fmla="*/ 1684313 h 3315846"/>
                <a:gd name="connsiteX12" fmla="*/ 304987 w 911379"/>
                <a:gd name="connsiteY12" fmla="*/ 2002411 h 3315846"/>
                <a:gd name="connsiteX13" fmla="*/ 63852 w 911379"/>
                <a:gd name="connsiteY13" fmla="*/ 2489821 h 3315846"/>
                <a:gd name="connsiteX14" fmla="*/ 0 w 911379"/>
                <a:gd name="connsiteY14" fmla="*/ 2599608 h 3315846"/>
                <a:gd name="connsiteX15" fmla="*/ 0 w 911379"/>
                <a:gd name="connsiteY15" fmla="*/ 0 h 3315846"/>
                <a:gd name="connsiteX0" fmla="*/ 0 w 911379"/>
                <a:gd name="connsiteY0" fmla="*/ 3000131 h 3027252"/>
                <a:gd name="connsiteX1" fmla="*/ 9176 w 911379"/>
                <a:gd name="connsiteY1" fmla="*/ 3027252 h 3027252"/>
                <a:gd name="connsiteX2" fmla="*/ 0 w 911379"/>
                <a:gd name="connsiteY2" fmla="*/ 3000131 h 3027252"/>
                <a:gd name="connsiteX3" fmla="*/ 0 w 911379"/>
                <a:gd name="connsiteY3" fmla="*/ 0 h 3027252"/>
                <a:gd name="connsiteX4" fmla="*/ 63852 w 911379"/>
                <a:gd name="connsiteY4" fmla="*/ 32258 h 3027252"/>
                <a:gd name="connsiteX5" fmla="*/ 253681 w 911379"/>
                <a:gd name="connsiteY5" fmla="*/ 140003 h 3027252"/>
                <a:gd name="connsiteX6" fmla="*/ 376816 w 911379"/>
                <a:gd name="connsiteY6" fmla="*/ 432445 h 3027252"/>
                <a:gd name="connsiteX7" fmla="*/ 587173 w 911379"/>
                <a:gd name="connsiteY7" fmla="*/ 545318 h 3027252"/>
                <a:gd name="connsiteX8" fmla="*/ 900137 w 911379"/>
                <a:gd name="connsiteY8" fmla="*/ 919855 h 3027252"/>
                <a:gd name="connsiteX9" fmla="*/ 664129 w 911379"/>
                <a:gd name="connsiteY9" fmla="*/ 1284126 h 3027252"/>
                <a:gd name="connsiteX10" fmla="*/ 566651 w 911379"/>
                <a:gd name="connsiteY10" fmla="*/ 1684313 h 3027252"/>
                <a:gd name="connsiteX11" fmla="*/ 304987 w 911379"/>
                <a:gd name="connsiteY11" fmla="*/ 2002411 h 3027252"/>
                <a:gd name="connsiteX12" fmla="*/ 63852 w 911379"/>
                <a:gd name="connsiteY12" fmla="*/ 2489821 h 3027252"/>
                <a:gd name="connsiteX13" fmla="*/ 0 w 911379"/>
                <a:gd name="connsiteY13" fmla="*/ 2599608 h 3027252"/>
                <a:gd name="connsiteX14" fmla="*/ 0 w 911379"/>
                <a:gd name="connsiteY14" fmla="*/ 0 h 3027252"/>
                <a:gd name="connsiteX0" fmla="*/ 0 w 911379"/>
                <a:gd name="connsiteY0" fmla="*/ 0 h 2599608"/>
                <a:gd name="connsiteX1" fmla="*/ 63852 w 911379"/>
                <a:gd name="connsiteY1" fmla="*/ 32258 h 2599608"/>
                <a:gd name="connsiteX2" fmla="*/ 253681 w 911379"/>
                <a:gd name="connsiteY2" fmla="*/ 140003 h 2599608"/>
                <a:gd name="connsiteX3" fmla="*/ 376816 w 911379"/>
                <a:gd name="connsiteY3" fmla="*/ 432445 h 2599608"/>
                <a:gd name="connsiteX4" fmla="*/ 587173 w 911379"/>
                <a:gd name="connsiteY4" fmla="*/ 545318 h 2599608"/>
                <a:gd name="connsiteX5" fmla="*/ 900137 w 911379"/>
                <a:gd name="connsiteY5" fmla="*/ 919855 h 2599608"/>
                <a:gd name="connsiteX6" fmla="*/ 664129 w 911379"/>
                <a:gd name="connsiteY6" fmla="*/ 1284126 h 2599608"/>
                <a:gd name="connsiteX7" fmla="*/ 566651 w 911379"/>
                <a:gd name="connsiteY7" fmla="*/ 1684313 h 2599608"/>
                <a:gd name="connsiteX8" fmla="*/ 304987 w 911379"/>
                <a:gd name="connsiteY8" fmla="*/ 2002411 h 2599608"/>
                <a:gd name="connsiteX9" fmla="*/ 63852 w 911379"/>
                <a:gd name="connsiteY9" fmla="*/ 2489821 h 2599608"/>
                <a:gd name="connsiteX10" fmla="*/ 0 w 911379"/>
                <a:gd name="connsiteY10" fmla="*/ 2599608 h 2599608"/>
                <a:gd name="connsiteX11" fmla="*/ 0 w 911379"/>
                <a:gd name="connsiteY11" fmla="*/ 0 h 2599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11379" h="2599608">
                  <a:moveTo>
                    <a:pt x="0" y="0"/>
                  </a:moveTo>
                  <a:lnTo>
                    <a:pt x="63852" y="32258"/>
                  </a:lnTo>
                  <a:cubicBezTo>
                    <a:pt x="140808" y="68175"/>
                    <a:pt x="192114" y="57913"/>
                    <a:pt x="253681" y="140003"/>
                  </a:cubicBezTo>
                  <a:cubicBezTo>
                    <a:pt x="320382" y="232354"/>
                    <a:pt x="289598" y="340094"/>
                    <a:pt x="376816" y="432445"/>
                  </a:cubicBezTo>
                  <a:cubicBezTo>
                    <a:pt x="433255" y="494012"/>
                    <a:pt x="520473" y="504273"/>
                    <a:pt x="587173" y="545318"/>
                  </a:cubicBezTo>
                  <a:cubicBezTo>
                    <a:pt x="720569" y="627408"/>
                    <a:pt x="966838" y="724892"/>
                    <a:pt x="900137" y="919855"/>
                  </a:cubicBezTo>
                  <a:cubicBezTo>
                    <a:pt x="843703" y="1089163"/>
                    <a:pt x="623085" y="1058379"/>
                    <a:pt x="664129" y="1284126"/>
                  </a:cubicBezTo>
                  <a:cubicBezTo>
                    <a:pt x="700046" y="1509872"/>
                    <a:pt x="828309" y="1550917"/>
                    <a:pt x="566651" y="1684313"/>
                  </a:cubicBezTo>
                  <a:cubicBezTo>
                    <a:pt x="366555" y="1786925"/>
                    <a:pt x="366555" y="1812581"/>
                    <a:pt x="304987" y="2002411"/>
                  </a:cubicBezTo>
                  <a:cubicBezTo>
                    <a:pt x="253681" y="2166590"/>
                    <a:pt x="156202" y="2341031"/>
                    <a:pt x="63852" y="2489821"/>
                  </a:cubicBezTo>
                  <a:lnTo>
                    <a:pt x="0" y="25996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DD488622-94FE-4C3B-93ED-066BAA75BF59}"/>
                </a:ext>
              </a:extLst>
            </p:cNvPr>
            <p:cNvSpPr/>
            <p:nvPr/>
          </p:nvSpPr>
          <p:spPr bwMode="ltGray">
            <a:xfrm>
              <a:off x="266515" y="81480"/>
              <a:ext cx="1128733" cy="1128733"/>
            </a:xfrm>
            <a:custGeom>
              <a:avLst/>
              <a:gdLst>
                <a:gd name="connsiteX0" fmla="*/ 92869 w 209550"/>
                <a:gd name="connsiteY0" fmla="*/ 7144 h 209550"/>
                <a:gd name="connsiteX1" fmla="*/ 92869 w 209550"/>
                <a:gd name="connsiteY1" fmla="*/ 7144 h 209550"/>
                <a:gd name="connsiteX2" fmla="*/ 7144 w 209550"/>
                <a:gd name="connsiteY2" fmla="*/ 29051 h 209550"/>
                <a:gd name="connsiteX3" fmla="*/ 7144 w 209550"/>
                <a:gd name="connsiteY3" fmla="*/ 30004 h 209550"/>
                <a:gd name="connsiteX4" fmla="*/ 16669 w 209550"/>
                <a:gd name="connsiteY4" fmla="*/ 42386 h 209550"/>
                <a:gd name="connsiteX5" fmla="*/ 25241 w 209550"/>
                <a:gd name="connsiteY5" fmla="*/ 41434 h 209550"/>
                <a:gd name="connsiteX6" fmla="*/ 63341 w 209550"/>
                <a:gd name="connsiteY6" fmla="*/ 165259 h 209550"/>
                <a:gd name="connsiteX7" fmla="*/ 88106 w 209550"/>
                <a:gd name="connsiteY7" fmla="*/ 202406 h 209550"/>
                <a:gd name="connsiteX8" fmla="*/ 105251 w 209550"/>
                <a:gd name="connsiteY8" fmla="*/ 193834 h 209550"/>
                <a:gd name="connsiteX9" fmla="*/ 128111 w 209550"/>
                <a:gd name="connsiteY9" fmla="*/ 149066 h 209550"/>
                <a:gd name="connsiteX10" fmla="*/ 165259 w 209550"/>
                <a:gd name="connsiteY10" fmla="*/ 120491 h 209550"/>
                <a:gd name="connsiteX11" fmla="*/ 92869 w 209550"/>
                <a:gd name="connsiteY11" fmla="*/ 7144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9550" h="209550">
                  <a:moveTo>
                    <a:pt x="92869" y="7144"/>
                  </a:moveTo>
                  <a:cubicBezTo>
                    <a:pt x="91916" y="7144"/>
                    <a:pt x="91916" y="7144"/>
                    <a:pt x="92869" y="7144"/>
                  </a:cubicBezTo>
                  <a:cubicBezTo>
                    <a:pt x="63341" y="12859"/>
                    <a:pt x="34766" y="20479"/>
                    <a:pt x="7144" y="29051"/>
                  </a:cubicBezTo>
                  <a:cubicBezTo>
                    <a:pt x="7144" y="29051"/>
                    <a:pt x="7144" y="30004"/>
                    <a:pt x="7144" y="30004"/>
                  </a:cubicBezTo>
                  <a:lnTo>
                    <a:pt x="16669" y="42386"/>
                  </a:lnTo>
                  <a:cubicBezTo>
                    <a:pt x="19526" y="41434"/>
                    <a:pt x="22384" y="41434"/>
                    <a:pt x="25241" y="41434"/>
                  </a:cubicBezTo>
                  <a:cubicBezTo>
                    <a:pt x="74771" y="41434"/>
                    <a:pt x="57626" y="134779"/>
                    <a:pt x="63341" y="165259"/>
                  </a:cubicBezTo>
                  <a:cubicBezTo>
                    <a:pt x="67151" y="183356"/>
                    <a:pt x="74771" y="202406"/>
                    <a:pt x="88106" y="202406"/>
                  </a:cubicBezTo>
                  <a:cubicBezTo>
                    <a:pt x="92869" y="202406"/>
                    <a:pt x="98584" y="199549"/>
                    <a:pt x="105251" y="193834"/>
                  </a:cubicBezTo>
                  <a:cubicBezTo>
                    <a:pt x="115729" y="183356"/>
                    <a:pt x="116681" y="162401"/>
                    <a:pt x="128111" y="149066"/>
                  </a:cubicBezTo>
                  <a:cubicBezTo>
                    <a:pt x="138589" y="136684"/>
                    <a:pt x="152876" y="130969"/>
                    <a:pt x="165259" y="120491"/>
                  </a:cubicBezTo>
                  <a:cubicBezTo>
                    <a:pt x="265271" y="38576"/>
                    <a:pt x="172879" y="7144"/>
                    <a:pt x="92869" y="7144"/>
                  </a:cubicBezTo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C0FA815-C9EC-4D30-BDA4-05095D08506E}"/>
                </a:ext>
              </a:extLst>
            </p:cNvPr>
            <p:cNvSpPr/>
            <p:nvPr/>
          </p:nvSpPr>
          <p:spPr bwMode="ltGray">
            <a:xfrm>
              <a:off x="1807406" y="19914"/>
              <a:ext cx="3232281" cy="5848895"/>
            </a:xfrm>
            <a:custGeom>
              <a:avLst/>
              <a:gdLst>
                <a:gd name="connsiteX0" fmla="*/ 227806 w 600075"/>
                <a:gd name="connsiteY0" fmla="*/ 7144 h 1085850"/>
                <a:gd name="connsiteX1" fmla="*/ 219234 w 600075"/>
                <a:gd name="connsiteY1" fmla="*/ 18574 h 1085850"/>
                <a:gd name="connsiteX2" fmla="*/ 183039 w 600075"/>
                <a:gd name="connsiteY2" fmla="*/ 66199 h 1085850"/>
                <a:gd name="connsiteX3" fmla="*/ 161131 w 600075"/>
                <a:gd name="connsiteY3" fmla="*/ 73819 h 1085850"/>
                <a:gd name="connsiteX4" fmla="*/ 130651 w 600075"/>
                <a:gd name="connsiteY4" fmla="*/ 63341 h 1085850"/>
                <a:gd name="connsiteX5" fmla="*/ 105886 w 600075"/>
                <a:gd name="connsiteY5" fmla="*/ 57626 h 1085850"/>
                <a:gd name="connsiteX6" fmla="*/ 83979 w 600075"/>
                <a:gd name="connsiteY6" fmla="*/ 113824 h 1085850"/>
                <a:gd name="connsiteX7" fmla="*/ 104934 w 600075"/>
                <a:gd name="connsiteY7" fmla="*/ 173831 h 1085850"/>
                <a:gd name="connsiteX8" fmla="*/ 124936 w 600075"/>
                <a:gd name="connsiteY8" fmla="*/ 167164 h 1085850"/>
                <a:gd name="connsiteX9" fmla="*/ 156369 w 600075"/>
                <a:gd name="connsiteY9" fmla="*/ 135731 h 1085850"/>
                <a:gd name="connsiteX10" fmla="*/ 172561 w 600075"/>
                <a:gd name="connsiteY10" fmla="*/ 151924 h 1085850"/>
                <a:gd name="connsiteX11" fmla="*/ 157321 w 600075"/>
                <a:gd name="connsiteY11" fmla="*/ 202406 h 1085850"/>
                <a:gd name="connsiteX12" fmla="*/ 71596 w 600075"/>
                <a:gd name="connsiteY12" fmla="*/ 252889 h 1085850"/>
                <a:gd name="connsiteX13" fmla="*/ 68739 w 600075"/>
                <a:gd name="connsiteY13" fmla="*/ 294799 h 1085850"/>
                <a:gd name="connsiteX14" fmla="*/ 43021 w 600075"/>
                <a:gd name="connsiteY14" fmla="*/ 356711 h 1085850"/>
                <a:gd name="connsiteX15" fmla="*/ 62071 w 600075"/>
                <a:gd name="connsiteY15" fmla="*/ 370999 h 1085850"/>
                <a:gd name="connsiteX16" fmla="*/ 131604 w 600075"/>
                <a:gd name="connsiteY16" fmla="*/ 313849 h 1085850"/>
                <a:gd name="connsiteX17" fmla="*/ 167799 w 600075"/>
                <a:gd name="connsiteY17" fmla="*/ 295751 h 1085850"/>
                <a:gd name="connsiteX18" fmla="*/ 199231 w 600075"/>
                <a:gd name="connsiteY18" fmla="*/ 308134 h 1085850"/>
                <a:gd name="connsiteX19" fmla="*/ 237331 w 600075"/>
                <a:gd name="connsiteY19" fmla="*/ 320516 h 1085850"/>
                <a:gd name="connsiteX20" fmla="*/ 242094 w 600075"/>
                <a:gd name="connsiteY20" fmla="*/ 320516 h 1085850"/>
                <a:gd name="connsiteX21" fmla="*/ 270669 w 600075"/>
                <a:gd name="connsiteY21" fmla="*/ 291941 h 1085850"/>
                <a:gd name="connsiteX22" fmla="*/ 287814 w 600075"/>
                <a:gd name="connsiteY22" fmla="*/ 270034 h 1085850"/>
                <a:gd name="connsiteX23" fmla="*/ 290671 w 600075"/>
                <a:gd name="connsiteY23" fmla="*/ 270034 h 1085850"/>
                <a:gd name="connsiteX24" fmla="*/ 321151 w 600075"/>
                <a:gd name="connsiteY24" fmla="*/ 304324 h 1085850"/>
                <a:gd name="connsiteX25" fmla="*/ 292576 w 600075"/>
                <a:gd name="connsiteY25" fmla="*/ 355759 h 1085850"/>
                <a:gd name="connsiteX26" fmla="*/ 326866 w 600075"/>
                <a:gd name="connsiteY26" fmla="*/ 416719 h 1085850"/>
                <a:gd name="connsiteX27" fmla="*/ 291624 w 600075"/>
                <a:gd name="connsiteY27" fmla="*/ 428149 h 1085850"/>
                <a:gd name="connsiteX28" fmla="*/ 232569 w 600075"/>
                <a:gd name="connsiteY28" fmla="*/ 418624 h 1085850"/>
                <a:gd name="connsiteX29" fmla="*/ 225901 w 600075"/>
                <a:gd name="connsiteY29" fmla="*/ 418624 h 1085850"/>
                <a:gd name="connsiteX30" fmla="*/ 217329 w 600075"/>
                <a:gd name="connsiteY30" fmla="*/ 418624 h 1085850"/>
                <a:gd name="connsiteX31" fmla="*/ 208756 w 600075"/>
                <a:gd name="connsiteY31" fmla="*/ 418624 h 1085850"/>
                <a:gd name="connsiteX32" fmla="*/ 191611 w 600075"/>
                <a:gd name="connsiteY32" fmla="*/ 415766 h 1085850"/>
                <a:gd name="connsiteX33" fmla="*/ 156369 w 600075"/>
                <a:gd name="connsiteY33" fmla="*/ 390049 h 1085850"/>
                <a:gd name="connsiteX34" fmla="*/ 151606 w 600075"/>
                <a:gd name="connsiteY34" fmla="*/ 390049 h 1085850"/>
                <a:gd name="connsiteX35" fmla="*/ 68739 w 600075"/>
                <a:gd name="connsiteY35" fmla="*/ 433864 h 1085850"/>
                <a:gd name="connsiteX36" fmla="*/ 18256 w 600075"/>
                <a:gd name="connsiteY36" fmla="*/ 501491 h 1085850"/>
                <a:gd name="connsiteX37" fmla="*/ 35401 w 600075"/>
                <a:gd name="connsiteY37" fmla="*/ 668179 h 1085850"/>
                <a:gd name="connsiteX38" fmla="*/ 82074 w 600075"/>
                <a:gd name="connsiteY38" fmla="*/ 683419 h 1085850"/>
                <a:gd name="connsiteX39" fmla="*/ 130651 w 600075"/>
                <a:gd name="connsiteY39" fmla="*/ 678656 h 1085850"/>
                <a:gd name="connsiteX40" fmla="*/ 162084 w 600075"/>
                <a:gd name="connsiteY40" fmla="*/ 676751 h 1085850"/>
                <a:gd name="connsiteX41" fmla="*/ 207804 w 600075"/>
                <a:gd name="connsiteY41" fmla="*/ 731044 h 1085850"/>
                <a:gd name="connsiteX42" fmla="*/ 214471 w 600075"/>
                <a:gd name="connsiteY42" fmla="*/ 812006 h 1085850"/>
                <a:gd name="connsiteX43" fmla="*/ 233521 w 600075"/>
                <a:gd name="connsiteY43" fmla="*/ 892016 h 1085850"/>
                <a:gd name="connsiteX44" fmla="*/ 202089 w 600075"/>
                <a:gd name="connsiteY44" fmla="*/ 1046321 h 1085850"/>
                <a:gd name="connsiteX45" fmla="*/ 223044 w 600075"/>
                <a:gd name="connsiteY45" fmla="*/ 1084421 h 1085850"/>
                <a:gd name="connsiteX46" fmla="*/ 256381 w 600075"/>
                <a:gd name="connsiteY46" fmla="*/ 1060609 h 1085850"/>
                <a:gd name="connsiteX47" fmla="*/ 335439 w 600075"/>
                <a:gd name="connsiteY47" fmla="*/ 977741 h 1085850"/>
                <a:gd name="connsiteX48" fmla="*/ 402114 w 600075"/>
                <a:gd name="connsiteY48" fmla="*/ 823436 h 1085850"/>
                <a:gd name="connsiteX49" fmla="*/ 404971 w 600075"/>
                <a:gd name="connsiteY49" fmla="*/ 746284 h 1085850"/>
                <a:gd name="connsiteX50" fmla="*/ 446881 w 600075"/>
                <a:gd name="connsiteY50" fmla="*/ 645319 h 1085850"/>
                <a:gd name="connsiteX51" fmla="*/ 434499 w 600075"/>
                <a:gd name="connsiteY51" fmla="*/ 600551 h 1085850"/>
                <a:gd name="connsiteX52" fmla="*/ 444024 w 600075"/>
                <a:gd name="connsiteY52" fmla="*/ 549116 h 1085850"/>
                <a:gd name="connsiteX53" fmla="*/ 466884 w 600075"/>
                <a:gd name="connsiteY53" fmla="*/ 499586 h 1085850"/>
                <a:gd name="connsiteX54" fmla="*/ 431641 w 600075"/>
                <a:gd name="connsiteY54" fmla="*/ 443389 h 1085850"/>
                <a:gd name="connsiteX55" fmla="*/ 446881 w 600075"/>
                <a:gd name="connsiteY55" fmla="*/ 440531 h 1085850"/>
                <a:gd name="connsiteX56" fmla="*/ 528796 w 600075"/>
                <a:gd name="connsiteY56" fmla="*/ 591979 h 1085850"/>
                <a:gd name="connsiteX57" fmla="*/ 551656 w 600075"/>
                <a:gd name="connsiteY57" fmla="*/ 634841 h 1085850"/>
                <a:gd name="connsiteX58" fmla="*/ 570706 w 600075"/>
                <a:gd name="connsiteY58" fmla="*/ 602456 h 1085850"/>
                <a:gd name="connsiteX59" fmla="*/ 592614 w 600075"/>
                <a:gd name="connsiteY59" fmla="*/ 519589 h 1085850"/>
                <a:gd name="connsiteX60" fmla="*/ 563086 w 600075"/>
                <a:gd name="connsiteY60" fmla="*/ 356711 h 1085850"/>
                <a:gd name="connsiteX61" fmla="*/ 450691 w 600075"/>
                <a:gd name="connsiteY61" fmla="*/ 161449 h 1085850"/>
                <a:gd name="connsiteX62" fmla="*/ 227806 w 600075"/>
                <a:gd name="connsiteY62" fmla="*/ 7144 h 108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600075" h="1085850">
                  <a:moveTo>
                    <a:pt x="227806" y="7144"/>
                  </a:moveTo>
                  <a:lnTo>
                    <a:pt x="219234" y="18574"/>
                  </a:lnTo>
                  <a:cubicBezTo>
                    <a:pt x="223044" y="42386"/>
                    <a:pt x="201136" y="56674"/>
                    <a:pt x="183039" y="66199"/>
                  </a:cubicBezTo>
                  <a:cubicBezTo>
                    <a:pt x="172561" y="70961"/>
                    <a:pt x="165894" y="73819"/>
                    <a:pt x="161131" y="73819"/>
                  </a:cubicBezTo>
                  <a:cubicBezTo>
                    <a:pt x="153511" y="73819"/>
                    <a:pt x="147796" y="69056"/>
                    <a:pt x="130651" y="63341"/>
                  </a:cubicBezTo>
                  <a:cubicBezTo>
                    <a:pt x="120174" y="59531"/>
                    <a:pt x="111601" y="57626"/>
                    <a:pt x="105886" y="57626"/>
                  </a:cubicBezTo>
                  <a:cubicBezTo>
                    <a:pt x="83026" y="57626"/>
                    <a:pt x="83979" y="81439"/>
                    <a:pt x="83979" y="113824"/>
                  </a:cubicBezTo>
                  <a:cubicBezTo>
                    <a:pt x="83979" y="136684"/>
                    <a:pt x="82074" y="173831"/>
                    <a:pt x="104934" y="173831"/>
                  </a:cubicBezTo>
                  <a:cubicBezTo>
                    <a:pt x="109696" y="173831"/>
                    <a:pt x="116364" y="171926"/>
                    <a:pt x="124936" y="167164"/>
                  </a:cubicBezTo>
                  <a:cubicBezTo>
                    <a:pt x="136366" y="160496"/>
                    <a:pt x="144939" y="135731"/>
                    <a:pt x="156369" y="135731"/>
                  </a:cubicBezTo>
                  <a:cubicBezTo>
                    <a:pt x="161131" y="135731"/>
                    <a:pt x="166846" y="140494"/>
                    <a:pt x="172561" y="151924"/>
                  </a:cubicBezTo>
                  <a:cubicBezTo>
                    <a:pt x="182086" y="169069"/>
                    <a:pt x="167799" y="191929"/>
                    <a:pt x="157321" y="202406"/>
                  </a:cubicBezTo>
                  <a:cubicBezTo>
                    <a:pt x="128746" y="229076"/>
                    <a:pt x="83979" y="207169"/>
                    <a:pt x="71596" y="252889"/>
                  </a:cubicBezTo>
                  <a:cubicBezTo>
                    <a:pt x="67786" y="266224"/>
                    <a:pt x="73501" y="281464"/>
                    <a:pt x="68739" y="294799"/>
                  </a:cubicBezTo>
                  <a:cubicBezTo>
                    <a:pt x="63024" y="310991"/>
                    <a:pt x="31591" y="335756"/>
                    <a:pt x="43021" y="356711"/>
                  </a:cubicBezTo>
                  <a:cubicBezTo>
                    <a:pt x="48736" y="367189"/>
                    <a:pt x="55404" y="370999"/>
                    <a:pt x="62071" y="370999"/>
                  </a:cubicBezTo>
                  <a:cubicBezTo>
                    <a:pt x="86836" y="370999"/>
                    <a:pt x="118269" y="325279"/>
                    <a:pt x="131604" y="313849"/>
                  </a:cubicBezTo>
                  <a:cubicBezTo>
                    <a:pt x="146844" y="300514"/>
                    <a:pt x="158274" y="295751"/>
                    <a:pt x="167799" y="295751"/>
                  </a:cubicBezTo>
                  <a:cubicBezTo>
                    <a:pt x="179229" y="295751"/>
                    <a:pt x="187801" y="301466"/>
                    <a:pt x="199231" y="308134"/>
                  </a:cubicBezTo>
                  <a:cubicBezTo>
                    <a:pt x="209709" y="313849"/>
                    <a:pt x="221139" y="320516"/>
                    <a:pt x="237331" y="320516"/>
                  </a:cubicBezTo>
                  <a:cubicBezTo>
                    <a:pt x="239236" y="320516"/>
                    <a:pt x="240189" y="320516"/>
                    <a:pt x="242094" y="320516"/>
                  </a:cubicBezTo>
                  <a:cubicBezTo>
                    <a:pt x="268764" y="318611"/>
                    <a:pt x="259239" y="310039"/>
                    <a:pt x="270669" y="291941"/>
                  </a:cubicBezTo>
                  <a:cubicBezTo>
                    <a:pt x="277336" y="280511"/>
                    <a:pt x="270669" y="270034"/>
                    <a:pt x="287814" y="270034"/>
                  </a:cubicBezTo>
                  <a:cubicBezTo>
                    <a:pt x="288766" y="270034"/>
                    <a:pt x="289719" y="270034"/>
                    <a:pt x="290671" y="270034"/>
                  </a:cubicBezTo>
                  <a:cubicBezTo>
                    <a:pt x="301149" y="270986"/>
                    <a:pt x="318294" y="294799"/>
                    <a:pt x="321151" y="304324"/>
                  </a:cubicBezTo>
                  <a:cubicBezTo>
                    <a:pt x="327819" y="333851"/>
                    <a:pt x="303054" y="334804"/>
                    <a:pt x="292576" y="355759"/>
                  </a:cubicBezTo>
                  <a:cubicBezTo>
                    <a:pt x="276384" y="391954"/>
                    <a:pt x="313531" y="391001"/>
                    <a:pt x="326866" y="416719"/>
                  </a:cubicBezTo>
                  <a:cubicBezTo>
                    <a:pt x="315436" y="425291"/>
                    <a:pt x="304006" y="428149"/>
                    <a:pt x="291624" y="428149"/>
                  </a:cubicBezTo>
                  <a:cubicBezTo>
                    <a:pt x="272574" y="428149"/>
                    <a:pt x="252571" y="420529"/>
                    <a:pt x="232569" y="418624"/>
                  </a:cubicBezTo>
                  <a:cubicBezTo>
                    <a:pt x="230664" y="418624"/>
                    <a:pt x="227806" y="418624"/>
                    <a:pt x="225901" y="418624"/>
                  </a:cubicBezTo>
                  <a:cubicBezTo>
                    <a:pt x="223044" y="418624"/>
                    <a:pt x="220186" y="418624"/>
                    <a:pt x="217329" y="418624"/>
                  </a:cubicBezTo>
                  <a:cubicBezTo>
                    <a:pt x="214471" y="418624"/>
                    <a:pt x="211614" y="418624"/>
                    <a:pt x="208756" y="418624"/>
                  </a:cubicBezTo>
                  <a:cubicBezTo>
                    <a:pt x="203041" y="418624"/>
                    <a:pt x="197326" y="417671"/>
                    <a:pt x="191611" y="415766"/>
                  </a:cubicBezTo>
                  <a:cubicBezTo>
                    <a:pt x="174466" y="408146"/>
                    <a:pt x="183039" y="392906"/>
                    <a:pt x="156369" y="390049"/>
                  </a:cubicBezTo>
                  <a:cubicBezTo>
                    <a:pt x="154464" y="390049"/>
                    <a:pt x="152559" y="390049"/>
                    <a:pt x="151606" y="390049"/>
                  </a:cubicBezTo>
                  <a:cubicBezTo>
                    <a:pt x="120174" y="390049"/>
                    <a:pt x="96361" y="420529"/>
                    <a:pt x="68739" y="433864"/>
                  </a:cubicBezTo>
                  <a:cubicBezTo>
                    <a:pt x="31591" y="451961"/>
                    <a:pt x="23019" y="463391"/>
                    <a:pt x="18256" y="501491"/>
                  </a:cubicBezTo>
                  <a:cubicBezTo>
                    <a:pt x="11589" y="551974"/>
                    <a:pt x="-10319" y="627221"/>
                    <a:pt x="35401" y="668179"/>
                  </a:cubicBezTo>
                  <a:cubicBezTo>
                    <a:pt x="48736" y="680561"/>
                    <a:pt x="64929" y="683419"/>
                    <a:pt x="82074" y="683419"/>
                  </a:cubicBezTo>
                  <a:cubicBezTo>
                    <a:pt x="98266" y="683419"/>
                    <a:pt x="114459" y="680561"/>
                    <a:pt x="130651" y="678656"/>
                  </a:cubicBezTo>
                  <a:cubicBezTo>
                    <a:pt x="142081" y="677704"/>
                    <a:pt x="152559" y="676751"/>
                    <a:pt x="162084" y="676751"/>
                  </a:cubicBezTo>
                  <a:cubicBezTo>
                    <a:pt x="193516" y="676751"/>
                    <a:pt x="208756" y="687229"/>
                    <a:pt x="207804" y="731044"/>
                  </a:cubicBezTo>
                  <a:cubicBezTo>
                    <a:pt x="207804" y="758666"/>
                    <a:pt x="204946" y="786289"/>
                    <a:pt x="214471" y="812006"/>
                  </a:cubicBezTo>
                  <a:cubicBezTo>
                    <a:pt x="223996" y="840581"/>
                    <a:pt x="236379" y="860584"/>
                    <a:pt x="233521" y="892016"/>
                  </a:cubicBezTo>
                  <a:cubicBezTo>
                    <a:pt x="228759" y="947261"/>
                    <a:pt x="196374" y="987266"/>
                    <a:pt x="202089" y="1046321"/>
                  </a:cubicBezTo>
                  <a:cubicBezTo>
                    <a:pt x="204946" y="1072039"/>
                    <a:pt x="211614" y="1084421"/>
                    <a:pt x="223044" y="1084421"/>
                  </a:cubicBezTo>
                  <a:cubicBezTo>
                    <a:pt x="231616" y="1084421"/>
                    <a:pt x="243046" y="1075849"/>
                    <a:pt x="256381" y="1060609"/>
                  </a:cubicBezTo>
                  <a:cubicBezTo>
                    <a:pt x="281146" y="1031081"/>
                    <a:pt x="309721" y="1006316"/>
                    <a:pt x="335439" y="977741"/>
                  </a:cubicBezTo>
                  <a:cubicBezTo>
                    <a:pt x="367824" y="942499"/>
                    <a:pt x="395446" y="870109"/>
                    <a:pt x="402114" y="823436"/>
                  </a:cubicBezTo>
                  <a:cubicBezTo>
                    <a:pt x="404971" y="797719"/>
                    <a:pt x="399256" y="771049"/>
                    <a:pt x="404971" y="746284"/>
                  </a:cubicBezTo>
                  <a:cubicBezTo>
                    <a:pt x="411639" y="709136"/>
                    <a:pt x="441166" y="680561"/>
                    <a:pt x="446881" y="645319"/>
                  </a:cubicBezTo>
                  <a:cubicBezTo>
                    <a:pt x="451644" y="617696"/>
                    <a:pt x="440214" y="623411"/>
                    <a:pt x="434499" y="600551"/>
                  </a:cubicBezTo>
                  <a:cubicBezTo>
                    <a:pt x="429736" y="583406"/>
                    <a:pt x="437356" y="563404"/>
                    <a:pt x="444024" y="549116"/>
                  </a:cubicBezTo>
                  <a:cubicBezTo>
                    <a:pt x="451644" y="532924"/>
                    <a:pt x="469741" y="519589"/>
                    <a:pt x="466884" y="499586"/>
                  </a:cubicBezTo>
                  <a:cubicBezTo>
                    <a:pt x="464026" y="477679"/>
                    <a:pt x="435451" y="464344"/>
                    <a:pt x="431641" y="443389"/>
                  </a:cubicBezTo>
                  <a:cubicBezTo>
                    <a:pt x="436404" y="441484"/>
                    <a:pt x="442119" y="440531"/>
                    <a:pt x="446881" y="440531"/>
                  </a:cubicBezTo>
                  <a:cubicBezTo>
                    <a:pt x="497364" y="440531"/>
                    <a:pt x="524034" y="557689"/>
                    <a:pt x="528796" y="591979"/>
                  </a:cubicBezTo>
                  <a:cubicBezTo>
                    <a:pt x="532606" y="618649"/>
                    <a:pt x="542131" y="634841"/>
                    <a:pt x="551656" y="634841"/>
                  </a:cubicBezTo>
                  <a:cubicBezTo>
                    <a:pt x="559276" y="634841"/>
                    <a:pt x="565944" y="625316"/>
                    <a:pt x="570706" y="602456"/>
                  </a:cubicBezTo>
                  <a:cubicBezTo>
                    <a:pt x="576421" y="572929"/>
                    <a:pt x="584994" y="546259"/>
                    <a:pt x="592614" y="519589"/>
                  </a:cubicBezTo>
                  <a:cubicBezTo>
                    <a:pt x="611664" y="448151"/>
                    <a:pt x="594519" y="416719"/>
                    <a:pt x="563086" y="356711"/>
                  </a:cubicBezTo>
                  <a:cubicBezTo>
                    <a:pt x="529749" y="293846"/>
                    <a:pt x="494506" y="219551"/>
                    <a:pt x="450691" y="161449"/>
                  </a:cubicBezTo>
                  <a:cubicBezTo>
                    <a:pt x="393541" y="91916"/>
                    <a:pt x="300196" y="51911"/>
                    <a:pt x="227806" y="7144"/>
                  </a:cubicBezTo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F4D19D0-5A2E-4607-8554-BC7B192680F6}"/>
                </a:ext>
              </a:extLst>
            </p:cNvPr>
            <p:cNvSpPr/>
            <p:nvPr/>
          </p:nvSpPr>
          <p:spPr bwMode="ltGray">
            <a:xfrm>
              <a:off x="3991507" y="4180841"/>
              <a:ext cx="1128733" cy="2206164"/>
            </a:xfrm>
            <a:custGeom>
              <a:avLst/>
              <a:gdLst>
                <a:gd name="connsiteX0" fmla="*/ 192849 w 209550"/>
                <a:gd name="connsiteY0" fmla="*/ 7144 h 409575"/>
                <a:gd name="connsiteX1" fmla="*/ 161417 w 209550"/>
                <a:gd name="connsiteY1" fmla="*/ 45244 h 409575"/>
                <a:gd name="connsiteX2" fmla="*/ 154749 w 209550"/>
                <a:gd name="connsiteY2" fmla="*/ 99536 h 409575"/>
                <a:gd name="connsiteX3" fmla="*/ 120459 w 209550"/>
                <a:gd name="connsiteY3" fmla="*/ 171926 h 409575"/>
                <a:gd name="connsiteX4" fmla="*/ 74739 w 209550"/>
                <a:gd name="connsiteY4" fmla="*/ 258604 h 409575"/>
                <a:gd name="connsiteX5" fmla="*/ 10921 w 209550"/>
                <a:gd name="connsiteY5" fmla="*/ 329089 h 409575"/>
                <a:gd name="connsiteX6" fmla="*/ 9969 w 209550"/>
                <a:gd name="connsiteY6" fmla="*/ 395764 h 409575"/>
                <a:gd name="connsiteX7" fmla="*/ 22351 w 209550"/>
                <a:gd name="connsiteY7" fmla="*/ 407194 h 409575"/>
                <a:gd name="connsiteX8" fmla="*/ 28066 w 209550"/>
                <a:gd name="connsiteY8" fmla="*/ 405289 h 409575"/>
                <a:gd name="connsiteX9" fmla="*/ 42354 w 209550"/>
                <a:gd name="connsiteY9" fmla="*/ 391954 h 409575"/>
                <a:gd name="connsiteX10" fmla="*/ 69976 w 209550"/>
                <a:gd name="connsiteY10" fmla="*/ 351949 h 409575"/>
                <a:gd name="connsiteX11" fmla="*/ 163321 w 209550"/>
                <a:gd name="connsiteY11" fmla="*/ 190024 h 409575"/>
                <a:gd name="connsiteX12" fmla="*/ 199517 w 209550"/>
                <a:gd name="connsiteY12" fmla="*/ 19526 h 409575"/>
                <a:gd name="connsiteX13" fmla="*/ 192849 w 209550"/>
                <a:gd name="connsiteY13" fmla="*/ 7144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9550" h="409575">
                  <a:moveTo>
                    <a:pt x="192849" y="7144"/>
                  </a:moveTo>
                  <a:cubicBezTo>
                    <a:pt x="187134" y="24289"/>
                    <a:pt x="168084" y="30004"/>
                    <a:pt x="161417" y="45244"/>
                  </a:cubicBezTo>
                  <a:cubicBezTo>
                    <a:pt x="156654" y="58579"/>
                    <a:pt x="157606" y="84296"/>
                    <a:pt x="154749" y="99536"/>
                  </a:cubicBezTo>
                  <a:cubicBezTo>
                    <a:pt x="149034" y="131921"/>
                    <a:pt x="137604" y="144304"/>
                    <a:pt x="120459" y="171926"/>
                  </a:cubicBezTo>
                  <a:cubicBezTo>
                    <a:pt x="102361" y="199549"/>
                    <a:pt x="96646" y="233839"/>
                    <a:pt x="74739" y="258604"/>
                  </a:cubicBezTo>
                  <a:cubicBezTo>
                    <a:pt x="53784" y="282416"/>
                    <a:pt x="19494" y="295751"/>
                    <a:pt x="10921" y="329089"/>
                  </a:cubicBezTo>
                  <a:cubicBezTo>
                    <a:pt x="7111" y="341471"/>
                    <a:pt x="5206" y="383381"/>
                    <a:pt x="9969" y="395764"/>
                  </a:cubicBezTo>
                  <a:cubicBezTo>
                    <a:pt x="13779" y="403384"/>
                    <a:pt x="17589" y="407194"/>
                    <a:pt x="22351" y="407194"/>
                  </a:cubicBezTo>
                  <a:cubicBezTo>
                    <a:pt x="24256" y="407194"/>
                    <a:pt x="26161" y="406241"/>
                    <a:pt x="28066" y="405289"/>
                  </a:cubicBezTo>
                  <a:cubicBezTo>
                    <a:pt x="32829" y="401479"/>
                    <a:pt x="37591" y="396716"/>
                    <a:pt x="42354" y="391954"/>
                  </a:cubicBezTo>
                  <a:cubicBezTo>
                    <a:pt x="52831" y="379571"/>
                    <a:pt x="62356" y="362426"/>
                    <a:pt x="69976" y="351949"/>
                  </a:cubicBezTo>
                  <a:cubicBezTo>
                    <a:pt x="106171" y="300514"/>
                    <a:pt x="131889" y="243364"/>
                    <a:pt x="163321" y="190024"/>
                  </a:cubicBezTo>
                  <a:cubicBezTo>
                    <a:pt x="195706" y="135731"/>
                    <a:pt x="218567" y="82391"/>
                    <a:pt x="199517" y="19526"/>
                  </a:cubicBezTo>
                  <a:lnTo>
                    <a:pt x="192849" y="7144"/>
                  </a:lnTo>
                  <a:close/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7B06B57-87F2-4999-9051-9130D4219140}"/>
                </a:ext>
              </a:extLst>
            </p:cNvPr>
            <p:cNvSpPr/>
            <p:nvPr/>
          </p:nvSpPr>
          <p:spPr bwMode="ltGray">
            <a:xfrm>
              <a:off x="3811259" y="4868343"/>
              <a:ext cx="359144" cy="718287"/>
            </a:xfrm>
            <a:custGeom>
              <a:avLst/>
              <a:gdLst>
                <a:gd name="connsiteX0" fmla="*/ 68197 w 66675"/>
                <a:gd name="connsiteY0" fmla="*/ 7144 h 133350"/>
                <a:gd name="connsiteX1" fmla="*/ 55814 w 66675"/>
                <a:gd name="connsiteY1" fmla="*/ 26194 h 133350"/>
                <a:gd name="connsiteX2" fmla="*/ 8189 w 66675"/>
                <a:gd name="connsiteY2" fmla="*/ 133826 h 133350"/>
                <a:gd name="connsiteX3" fmla="*/ 68197 w 66675"/>
                <a:gd name="connsiteY3" fmla="*/ 7144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133350">
                  <a:moveTo>
                    <a:pt x="68197" y="7144"/>
                  </a:moveTo>
                  <a:lnTo>
                    <a:pt x="55814" y="26194"/>
                  </a:lnTo>
                  <a:cubicBezTo>
                    <a:pt x="46289" y="54769"/>
                    <a:pt x="-383" y="106204"/>
                    <a:pt x="8189" y="133826"/>
                  </a:cubicBezTo>
                  <a:cubicBezTo>
                    <a:pt x="66292" y="124301"/>
                    <a:pt x="68197" y="53816"/>
                    <a:pt x="68197" y="7144"/>
                  </a:cubicBezTo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6E1C2E2-BB89-4D6F-9E26-4819552D2F46}"/>
              </a:ext>
            </a:extLst>
          </p:cNvPr>
          <p:cNvGrpSpPr>
            <a:grpSpLocks noChangeAspect="1"/>
          </p:cNvGrpSpPr>
          <p:nvPr/>
        </p:nvGrpSpPr>
        <p:grpSpPr>
          <a:xfrm>
            <a:off x="1075883" y="5227486"/>
            <a:ext cx="2286000" cy="880288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51AEA87-C235-450A-AFCD-D7D7402D584D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5CE8A05-C7FA-4C3B-8336-544EA5285D5A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BA579D5-98DD-4625-9DD5-1FCE1B6ABB39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AE511275-1C6B-4F4E-8A9B-E40DF8FAEF2B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38331E1-8771-498E-825A-8979204BF675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E0F7623-F722-46A3-8DCD-E4C303E014A0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92D88A5-EFC5-4878-92A8-90872B618E80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2C98FC1-954B-4A65-A246-E2EB71113B59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E73EAB4-BAF9-4B68-B129-BC041994C622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9538EBC-4DC7-4383-9295-D6A8D0233665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DA212C6-92C7-4E68-89C9-A94713A119D9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552029A9-C9A8-49B6-B3B4-DDB77AA1AAB4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9F85ABB-A50C-40B7-AC49-BB3E72D927CF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2DD841B-152A-4831-B1D2-6E495BE1B1B6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F594510-C333-4EE6-9A81-F5B5D6794F1E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A809C24-BB35-4731-AFC5-357428D0ACB1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A77C51A-62BE-45E9-AE30-EEEE66586901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BDEFB69-A427-4EE9-9048-F231BA101167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6719ABB-E490-4463-9FFA-AE200A2AD7A1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879D5D20-EE89-4A8B-9699-D9683301D220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3FD26498-FDBF-440C-8464-BDE4887B9840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38BDF441-371D-4336-BFE3-6AB3A6129E34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8BAD5CD-434F-4D77-8BD2-26C750766026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02F9BDB-7819-4E53-AED0-AEFFFB5D36A6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FE22129-481A-4C11-B764-0A44426B8CBA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56673DCB-4EF6-4931-8C51-40ABA4BC6E47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9AE53901-D870-4D3D-ABDA-84C6C826D55A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7B70687E-1688-4C6E-AD4E-6AF6091422E5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C91D8D8-0C05-411F-B7B8-8CA246B7B429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C9E9740-267B-494C-8D33-85F618C926FA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34A535C0-EFC9-4E88-9ED6-FA4561E43589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BCA09B03-C6FB-46E6-AB89-1A6C42A51B45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036A51AB-A18D-4440-9151-7933E6130ED3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4BC48AB-7E8A-4959-9518-594EE8ED2EBA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2F7B36F4-4E99-4CE6-BA86-BFDECD3FB1EA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6BF9BE4F-4C44-4FF7-A214-ED9C63856F18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7F22B60-EF17-465C-8727-A1F0ACE58BA8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E1B18E76-E2CA-4B40-93A3-5CA062AC31EB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34815080-B3AE-49B7-AE41-2545F7485078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8F114B3A-7B5E-4A7A-BD2A-B116B303AE1B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536130B-73EE-4E3D-9780-9C55A1656313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0FD41130-7459-4A04-89E6-B467E7827050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0129EEC-9B42-496F-A2D1-85996ED46E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457200"/>
            <a:ext cx="5715000" cy="2565401"/>
          </a:xfrm>
        </p:spPr>
        <p:txBody>
          <a:bodyPr anchor="b"/>
          <a:lstStyle>
            <a:lvl1pPr algn="l">
              <a:lnSpc>
                <a:spcPct val="82000"/>
              </a:lnSpc>
              <a:defRPr sz="6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FC3C0E5-30C1-434C-9ECA-434F7A55C4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0" y="3306349"/>
            <a:ext cx="5715000" cy="73152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or Presenter Name</a:t>
            </a:r>
          </a:p>
        </p:txBody>
      </p:sp>
    </p:spTree>
    <p:extLst>
      <p:ext uri="{BB962C8B-B14F-4D97-AF65-F5344CB8AC3E}">
        <p14:creationId xmlns:p14="http://schemas.microsoft.com/office/powerpoint/2010/main" val="195604029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D82B1C-9D1C-470A-8DAC-872C6F3CE1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815023-C126-4128-BC8F-1BB4CB113E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FEB38-5A4E-45E5-A640-26D00BC1F3AB}" type="datetimeFigureOut">
              <a:rPr lang="en-US"/>
              <a:t>6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FFE3BA-31F8-4FB8-B78F-6C12DFB24A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CDE704-6759-4C07-BC57-03EACFFCB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F95A1E-4E3E-4AAD-A517-7DAD9580D6B2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588677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182308-D8FD-4D2D-A4A4-0AB7B42613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5C24ADA-2B35-4506-BCFE-28F2ED617C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1475D-EF5B-48A6-8CCB-3BD08F726926}" type="datetimeFigureOut">
              <a:rPr lang="en-US"/>
              <a:pPr/>
              <a:t>6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EABF83-04BE-4745-A7CD-9BF2974561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FB1B30-07A6-4897-BFAA-775293B4CC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Text Placeholder 53">
            <a:extLst>
              <a:ext uri="{FF2B5EF4-FFF2-40B4-BE49-F238E27FC236}">
                <a16:creationId xmlns:a16="http://schemas.microsoft.com/office/drawing/2014/main" id="{AC1DD188-8160-4400-A56B-985CF10D49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731530"/>
            <a:ext cx="11429998" cy="36573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62824300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36DCD65-4054-4059-9788-175B50658E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1475D-EF5B-48A6-8CCB-3BD08F726926}" type="datetimeFigureOut">
              <a:rPr lang="en-US"/>
              <a:t>6/12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09CC7B-BD5E-4DEB-98F7-581E73AB0D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B1890A-9F5B-4D33-B25B-84BA80C938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07983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A63F8DDC-ACF7-4A20-8541-378AD67A6BE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05999" y="5020104"/>
            <a:ext cx="2797175" cy="1837896"/>
          </a:xfrm>
          <a:custGeom>
            <a:avLst/>
            <a:gdLst>
              <a:gd name="connsiteX0" fmla="*/ 1477209 w 2797175"/>
              <a:gd name="connsiteY0" fmla="*/ 25 h 1837896"/>
              <a:gd name="connsiteX1" fmla="*/ 1754297 w 2797175"/>
              <a:gd name="connsiteY1" fmla="*/ 32364 h 1837896"/>
              <a:gd name="connsiteX2" fmla="*/ 2791755 w 2797175"/>
              <a:gd name="connsiteY2" fmla="*/ 1570484 h 1837896"/>
              <a:gd name="connsiteX3" fmla="*/ 2761264 w 2797175"/>
              <a:gd name="connsiteY3" fmla="*/ 1772753 h 1837896"/>
              <a:gd name="connsiteX4" fmla="*/ 2740822 w 2797175"/>
              <a:gd name="connsiteY4" fmla="*/ 1837896 h 1837896"/>
              <a:gd name="connsiteX5" fmla="*/ 40031 w 2797175"/>
              <a:gd name="connsiteY5" fmla="*/ 1837896 h 1837896"/>
              <a:gd name="connsiteX6" fmla="*/ 14140 w 2797175"/>
              <a:gd name="connsiteY6" fmla="*/ 1713596 h 1837896"/>
              <a:gd name="connsiteX7" fmla="*/ 35516 w 2797175"/>
              <a:gd name="connsiteY7" fmla="*/ 1142084 h 1837896"/>
              <a:gd name="connsiteX8" fmla="*/ 1477209 w 2797175"/>
              <a:gd name="connsiteY8" fmla="*/ 25 h 1837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97175" h="1837896">
                <a:moveTo>
                  <a:pt x="1477209" y="25"/>
                </a:moveTo>
                <a:cubicBezTo>
                  <a:pt x="1570418" y="590"/>
                  <a:pt x="1663325" y="11074"/>
                  <a:pt x="1754297" y="32364"/>
                </a:cubicBezTo>
                <a:cubicBezTo>
                  <a:pt x="2456261" y="197531"/>
                  <a:pt x="2848534" y="884010"/>
                  <a:pt x="2791755" y="1570484"/>
                </a:cubicBezTo>
                <a:cubicBezTo>
                  <a:pt x="2786271" y="1641777"/>
                  <a:pt x="2775928" y="1709139"/>
                  <a:pt x="2761264" y="1772753"/>
                </a:cubicBezTo>
                <a:lnTo>
                  <a:pt x="2740822" y="1837896"/>
                </a:lnTo>
                <a:lnTo>
                  <a:pt x="40031" y="1837896"/>
                </a:lnTo>
                <a:lnTo>
                  <a:pt x="14140" y="1713596"/>
                </a:lnTo>
                <a:cubicBezTo>
                  <a:pt x="-15049" y="1510297"/>
                  <a:pt x="5355" y="1310638"/>
                  <a:pt x="35516" y="1142084"/>
                </a:cubicBezTo>
                <a:cubicBezTo>
                  <a:pt x="157459" y="478188"/>
                  <a:pt x="824742" y="-3925"/>
                  <a:pt x="1477209" y="25"/>
                </a:cubicBezTo>
                <a:close/>
              </a:path>
            </a:pathLst>
          </a:custGeom>
          <a:solidFill>
            <a:srgbClr val="D9D9D9"/>
          </a:solidFill>
        </p:spPr>
        <p:txBody>
          <a:bodyPr wrap="square" tIns="109728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size 320 x 3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2924F1-A0DC-49D4-96C4-A482D4DF75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9100" y="152400"/>
            <a:ext cx="7581902" cy="4853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A32D13B-5124-4E72-BA9F-FE8C6BFCCC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1475D-EF5B-48A6-8CCB-3BD08F726926}" type="datetimeFigureOut">
              <a:rPr lang="en-US"/>
              <a:pPr/>
              <a:t>6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A0BBFE-DFC3-45FF-B281-F9BC65C1B4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7E582E-199C-40D6-A654-4D49AF0C7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7104F46-245D-486A-B90A-2D0951EDC2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29100" y="1383792"/>
            <a:ext cx="7581900" cy="463600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53">
            <a:extLst>
              <a:ext uri="{FF2B5EF4-FFF2-40B4-BE49-F238E27FC236}">
                <a16:creationId xmlns:a16="http://schemas.microsoft.com/office/drawing/2014/main" id="{EF7030FC-3432-442B-80CB-FA420E440C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29100" y="731530"/>
            <a:ext cx="7581898" cy="36573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5D6B7F4B-2B1B-4CC9-B4BE-A27597837E2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5996" y="1"/>
            <a:ext cx="2797176" cy="1905875"/>
          </a:xfrm>
          <a:custGeom>
            <a:avLst/>
            <a:gdLst>
              <a:gd name="connsiteX0" fmla="*/ 126450 w 2797176"/>
              <a:gd name="connsiteY0" fmla="*/ 0 h 1905875"/>
              <a:gd name="connsiteX1" fmla="*/ 2684933 w 2797176"/>
              <a:gd name="connsiteY1" fmla="*/ 0 h 1905875"/>
              <a:gd name="connsiteX2" fmla="*/ 2717681 w 2797176"/>
              <a:gd name="connsiteY2" fmla="*/ 86895 h 1905875"/>
              <a:gd name="connsiteX3" fmla="*/ 2791756 w 2797176"/>
              <a:gd name="connsiteY3" fmla="*/ 714556 h 1905875"/>
              <a:gd name="connsiteX4" fmla="*/ 1000720 w 2797176"/>
              <a:gd name="connsiteY4" fmla="*/ 1870727 h 1905875"/>
              <a:gd name="connsiteX5" fmla="*/ 35517 w 2797176"/>
              <a:gd name="connsiteY5" fmla="*/ 286156 h 1905875"/>
              <a:gd name="connsiteX6" fmla="*/ 119533 w 2797176"/>
              <a:gd name="connsiteY6" fmla="*/ 13646 h 190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97176" h="1905875">
                <a:moveTo>
                  <a:pt x="126450" y="0"/>
                </a:moveTo>
                <a:lnTo>
                  <a:pt x="2684933" y="0"/>
                </a:lnTo>
                <a:lnTo>
                  <a:pt x="2717681" y="86895"/>
                </a:lnTo>
                <a:cubicBezTo>
                  <a:pt x="2783390" y="285509"/>
                  <a:pt x="2809500" y="500033"/>
                  <a:pt x="2791756" y="714556"/>
                </a:cubicBezTo>
                <a:cubicBezTo>
                  <a:pt x="2704013" y="1855245"/>
                  <a:pt x="1372347" y="1989443"/>
                  <a:pt x="1000720" y="1870727"/>
                </a:cubicBezTo>
                <a:cubicBezTo>
                  <a:pt x="-57390" y="1530069"/>
                  <a:pt x="-52226" y="776494"/>
                  <a:pt x="35517" y="286156"/>
                </a:cubicBezTo>
                <a:cubicBezTo>
                  <a:pt x="52937" y="191314"/>
                  <a:pt x="81487" y="100181"/>
                  <a:pt x="119533" y="13646"/>
                </a:cubicBezTo>
                <a:close/>
              </a:path>
            </a:pathLst>
          </a:custGeom>
          <a:solidFill>
            <a:srgbClr val="D9D9D9"/>
          </a:solidFill>
        </p:spPr>
        <p:txBody>
          <a:bodyPr wrap="square" tIns="36576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size 320 x 320 pixels)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F9C56AD-BDF6-4DD3-BCC6-F6A6E7ADA30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05996" y="2082136"/>
            <a:ext cx="2797176" cy="2761803"/>
          </a:xfrm>
          <a:custGeom>
            <a:avLst/>
            <a:gdLst>
              <a:gd name="connsiteX0" fmla="*/ 1477210 w 2797176"/>
              <a:gd name="connsiteY0" fmla="*/ 25 h 2761803"/>
              <a:gd name="connsiteX1" fmla="*/ 1754298 w 2797176"/>
              <a:gd name="connsiteY1" fmla="*/ 32364 h 2761803"/>
              <a:gd name="connsiteX2" fmla="*/ 2791756 w 2797176"/>
              <a:gd name="connsiteY2" fmla="*/ 1570484 h 2761803"/>
              <a:gd name="connsiteX3" fmla="*/ 1000720 w 2797176"/>
              <a:gd name="connsiteY3" fmla="*/ 2726655 h 2761803"/>
              <a:gd name="connsiteX4" fmla="*/ 35517 w 2797176"/>
              <a:gd name="connsiteY4" fmla="*/ 1142084 h 2761803"/>
              <a:gd name="connsiteX5" fmla="*/ 1477210 w 2797176"/>
              <a:gd name="connsiteY5" fmla="*/ 25 h 2761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97176" h="2761803">
                <a:moveTo>
                  <a:pt x="1477210" y="25"/>
                </a:moveTo>
                <a:cubicBezTo>
                  <a:pt x="1570419" y="589"/>
                  <a:pt x="1663326" y="11073"/>
                  <a:pt x="1754298" y="32364"/>
                </a:cubicBezTo>
                <a:cubicBezTo>
                  <a:pt x="2456262" y="197531"/>
                  <a:pt x="2848535" y="884010"/>
                  <a:pt x="2791756" y="1570484"/>
                </a:cubicBezTo>
                <a:cubicBezTo>
                  <a:pt x="2704013" y="2711173"/>
                  <a:pt x="1372347" y="2845371"/>
                  <a:pt x="1000720" y="2726655"/>
                </a:cubicBezTo>
                <a:cubicBezTo>
                  <a:pt x="-57390" y="2385997"/>
                  <a:pt x="-52226" y="1632422"/>
                  <a:pt x="35517" y="1142084"/>
                </a:cubicBezTo>
                <a:cubicBezTo>
                  <a:pt x="157460" y="478187"/>
                  <a:pt x="824743" y="-3925"/>
                  <a:pt x="1477210" y="25"/>
                </a:cubicBezTo>
                <a:close/>
              </a:path>
            </a:pathLst>
          </a:custGeom>
          <a:solidFill>
            <a:srgbClr val="D9D9D9"/>
          </a:solidFill>
        </p:spPr>
        <p:txBody>
          <a:bodyPr wrap="square" tIns="73152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size 320 x 320 pixels)</a:t>
            </a:r>
          </a:p>
        </p:txBody>
      </p:sp>
    </p:spTree>
    <p:extLst>
      <p:ext uri="{BB962C8B-B14F-4D97-AF65-F5344CB8AC3E}">
        <p14:creationId xmlns:p14="http://schemas.microsoft.com/office/powerpoint/2010/main" val="24622243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rcle 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A2733906-1C03-4012-B214-1CE93389DA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2"/>
            <a:ext cx="5266036" cy="6857999"/>
          </a:xfrm>
          <a:custGeom>
            <a:avLst/>
            <a:gdLst>
              <a:gd name="connsiteX0" fmla="*/ 0 w 5266036"/>
              <a:gd name="connsiteY0" fmla="*/ 0 h 6857999"/>
              <a:gd name="connsiteX1" fmla="*/ 3014696 w 5266036"/>
              <a:gd name="connsiteY1" fmla="*/ 0 h 6857999"/>
              <a:gd name="connsiteX2" fmla="*/ 3040982 w 5266036"/>
              <a:gd name="connsiteY2" fmla="*/ 11408 h 6857999"/>
              <a:gd name="connsiteX3" fmla="*/ 5250901 w 5266036"/>
              <a:gd name="connsiteY3" fmla="*/ 4085922 h 6857999"/>
              <a:gd name="connsiteX4" fmla="*/ 3435696 w 5266036"/>
              <a:gd name="connsiteY4" fmla="*/ 6839477 h 6857999"/>
              <a:gd name="connsiteX5" fmla="*/ 3398838 w 5266036"/>
              <a:gd name="connsiteY5" fmla="*/ 6857999 h 6857999"/>
              <a:gd name="connsiteX6" fmla="*/ 0 w 5266036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66036" h="6857999">
                <a:moveTo>
                  <a:pt x="0" y="0"/>
                </a:moveTo>
                <a:lnTo>
                  <a:pt x="3014696" y="0"/>
                </a:lnTo>
                <a:lnTo>
                  <a:pt x="3040982" y="11408"/>
                </a:lnTo>
                <a:cubicBezTo>
                  <a:pt x="4562919" y="717837"/>
                  <a:pt x="5390071" y="2397951"/>
                  <a:pt x="5250901" y="4085922"/>
                </a:cubicBezTo>
                <a:cubicBezTo>
                  <a:pt x="5138669" y="5484335"/>
                  <a:pt x="4361602" y="6343612"/>
                  <a:pt x="3435696" y="6839477"/>
                </a:cubicBezTo>
                <a:lnTo>
                  <a:pt x="3398838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tIns="365760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half slide image is 640 x 7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AEA02C-1880-4C71-86A6-34ED8A672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152400"/>
            <a:ext cx="5715002" cy="9017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20C5055-7E08-43F9-85F7-AF9A137CF0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096000" y="1383792"/>
            <a:ext cx="5715000" cy="463600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98308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73CA62-557B-4233-A280-B632FDE7E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152400"/>
            <a:ext cx="11430001" cy="4853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477033-05D8-4136-947B-33FDFE0937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1475D-EF5B-48A6-8CCB-3BD08F726926}" type="datetimeFigureOut">
              <a:rPr lang="en-US"/>
              <a:pPr/>
              <a:t>6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ABE26E-7618-4F78-8596-2A31C0BCE0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4B0F7D-C1BE-4FF4-8D9C-4EB1E87603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CAA4CE7-2E79-487E-9FB0-5C7F0E926C2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81000" y="1383792"/>
            <a:ext cx="6400800" cy="463600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53">
            <a:extLst>
              <a:ext uri="{FF2B5EF4-FFF2-40B4-BE49-F238E27FC236}">
                <a16:creationId xmlns:a16="http://schemas.microsoft.com/office/drawing/2014/main" id="{734CE9CF-0E3B-470F-87D6-C69D18AB3E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731530"/>
            <a:ext cx="6400799" cy="36573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11A1073-7FE1-4F7F-8031-C3C041EB8AF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986761" y="862564"/>
            <a:ext cx="4851030" cy="5081476"/>
          </a:xfrm>
          <a:custGeom>
            <a:avLst/>
            <a:gdLst>
              <a:gd name="connsiteX0" fmla="*/ 4603651 w 4851030"/>
              <a:gd name="connsiteY0" fmla="*/ 0 h 5081476"/>
              <a:gd name="connsiteX1" fmla="*/ 4827723 w 4851030"/>
              <a:gd name="connsiteY1" fmla="*/ 669963 h 5081476"/>
              <a:gd name="connsiteX2" fmla="*/ 4837903 w 4851030"/>
              <a:gd name="connsiteY2" fmla="*/ 2094980 h 5081476"/>
              <a:gd name="connsiteX3" fmla="*/ 4848093 w 4851030"/>
              <a:gd name="connsiteY3" fmla="*/ 3169064 h 5081476"/>
              <a:gd name="connsiteX4" fmla="*/ 4848093 w 4851030"/>
              <a:gd name="connsiteY4" fmla="*/ 3913475 h 5081476"/>
              <a:gd name="connsiteX5" fmla="*/ 4817532 w 4851030"/>
              <a:gd name="connsiteY5" fmla="*/ 4838667 h 5081476"/>
              <a:gd name="connsiteX6" fmla="*/ 4471241 w 4851030"/>
              <a:gd name="connsiteY6" fmla="*/ 5008818 h 5081476"/>
              <a:gd name="connsiteX7" fmla="*/ 4114767 w 4851030"/>
              <a:gd name="connsiteY7" fmla="*/ 5019457 h 5081476"/>
              <a:gd name="connsiteX8" fmla="*/ 3748105 w 4851030"/>
              <a:gd name="connsiteY8" fmla="*/ 5072624 h 5081476"/>
              <a:gd name="connsiteX9" fmla="*/ 998137 w 4851030"/>
              <a:gd name="connsiteY9" fmla="*/ 5030086 h 5081476"/>
              <a:gd name="connsiteX10" fmla="*/ 488884 w 4851030"/>
              <a:gd name="connsiteY10" fmla="*/ 4976920 h 5081476"/>
              <a:gd name="connsiteX11" fmla="*/ 81481 w 4851030"/>
              <a:gd name="connsiteY11" fmla="*/ 4742962 h 5081476"/>
              <a:gd name="connsiteX12" fmla="*/ 40741 w 4851030"/>
              <a:gd name="connsiteY12" fmla="*/ 3679517 h 5081476"/>
              <a:gd name="connsiteX13" fmla="*/ 20371 w 4851030"/>
              <a:gd name="connsiteY13" fmla="*/ 2084351 h 5081476"/>
              <a:gd name="connsiteX14" fmla="*/ 0 w 4851030"/>
              <a:gd name="connsiteY14" fmla="*/ 1552629 h 5081476"/>
              <a:gd name="connsiteX15" fmla="*/ 20371 w 4851030"/>
              <a:gd name="connsiteY15" fmla="*/ 723142 h 5081476"/>
              <a:gd name="connsiteX16" fmla="*/ 30551 w 4851030"/>
              <a:gd name="connsiteY16" fmla="*/ 457275 h 5081476"/>
              <a:gd name="connsiteX17" fmla="*/ 71291 w 4851030"/>
              <a:gd name="connsiteY17" fmla="*/ 74435 h 5081476"/>
              <a:gd name="connsiteX18" fmla="*/ 2261085 w 4851030"/>
              <a:gd name="connsiteY18" fmla="*/ 42537 h 5081476"/>
              <a:gd name="connsiteX19" fmla="*/ 3554584 w 4851030"/>
              <a:gd name="connsiteY19" fmla="*/ 31898 h 5081476"/>
              <a:gd name="connsiteX20" fmla="*/ 4603651 w 4851030"/>
              <a:gd name="connsiteY20" fmla="*/ 0 h 5081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851030" h="5081476">
                <a:moveTo>
                  <a:pt x="4603651" y="0"/>
                </a:moveTo>
                <a:cubicBezTo>
                  <a:pt x="4868463" y="0"/>
                  <a:pt x="4827723" y="340302"/>
                  <a:pt x="4827723" y="669963"/>
                </a:cubicBezTo>
                <a:cubicBezTo>
                  <a:pt x="4817532" y="1148520"/>
                  <a:pt x="4858273" y="1616435"/>
                  <a:pt x="4837903" y="2094980"/>
                </a:cubicBezTo>
                <a:cubicBezTo>
                  <a:pt x="4827723" y="2445922"/>
                  <a:pt x="4858273" y="2818122"/>
                  <a:pt x="4848093" y="3169064"/>
                </a:cubicBezTo>
                <a:cubicBezTo>
                  <a:pt x="4837903" y="3413650"/>
                  <a:pt x="4858273" y="3668878"/>
                  <a:pt x="4848093" y="3913475"/>
                </a:cubicBezTo>
                <a:cubicBezTo>
                  <a:pt x="4837903" y="4158061"/>
                  <a:pt x="4858273" y="4519633"/>
                  <a:pt x="4817532" y="4838667"/>
                </a:cubicBezTo>
                <a:cubicBezTo>
                  <a:pt x="4797162" y="4966279"/>
                  <a:pt x="4613831" y="4987548"/>
                  <a:pt x="4471241" y="5008818"/>
                </a:cubicBezTo>
                <a:cubicBezTo>
                  <a:pt x="4389759" y="5019457"/>
                  <a:pt x="4236989" y="4998188"/>
                  <a:pt x="4114767" y="5019457"/>
                </a:cubicBezTo>
                <a:cubicBezTo>
                  <a:pt x="4023097" y="5040726"/>
                  <a:pt x="3849956" y="5072624"/>
                  <a:pt x="3748105" y="5072624"/>
                </a:cubicBezTo>
                <a:cubicBezTo>
                  <a:pt x="2709228" y="5104533"/>
                  <a:pt x="2199975" y="5040726"/>
                  <a:pt x="998137" y="5030086"/>
                </a:cubicBezTo>
                <a:cubicBezTo>
                  <a:pt x="886096" y="5030086"/>
                  <a:pt x="733325" y="5030086"/>
                  <a:pt x="488884" y="4976920"/>
                </a:cubicBezTo>
                <a:cubicBezTo>
                  <a:pt x="264812" y="4934382"/>
                  <a:pt x="152771" y="4976920"/>
                  <a:pt x="81481" y="4742962"/>
                </a:cubicBezTo>
                <a:cubicBezTo>
                  <a:pt x="20371" y="4551542"/>
                  <a:pt x="50920" y="3924104"/>
                  <a:pt x="40741" y="3679517"/>
                </a:cubicBezTo>
                <a:cubicBezTo>
                  <a:pt x="20371" y="3126526"/>
                  <a:pt x="20371" y="2743686"/>
                  <a:pt x="20371" y="2084351"/>
                </a:cubicBezTo>
                <a:lnTo>
                  <a:pt x="0" y="1552629"/>
                </a:lnTo>
                <a:cubicBezTo>
                  <a:pt x="50920" y="1254863"/>
                  <a:pt x="-30560" y="1031534"/>
                  <a:pt x="20371" y="723142"/>
                </a:cubicBezTo>
                <a:cubicBezTo>
                  <a:pt x="30551" y="616798"/>
                  <a:pt x="30551" y="627426"/>
                  <a:pt x="30551" y="457275"/>
                </a:cubicBezTo>
                <a:cubicBezTo>
                  <a:pt x="30551" y="393469"/>
                  <a:pt x="-31630" y="221930"/>
                  <a:pt x="71291" y="74435"/>
                </a:cubicBezTo>
                <a:cubicBezTo>
                  <a:pt x="358675" y="-52826"/>
                  <a:pt x="1476830" y="42537"/>
                  <a:pt x="2261085" y="42537"/>
                </a:cubicBezTo>
                <a:cubicBezTo>
                  <a:pt x="2658297" y="42537"/>
                  <a:pt x="3167551" y="21269"/>
                  <a:pt x="3554584" y="31898"/>
                </a:cubicBezTo>
                <a:cubicBezTo>
                  <a:pt x="3676805" y="42537"/>
                  <a:pt x="4481430" y="0"/>
                  <a:pt x="4603651" y="0"/>
                </a:cubicBezTo>
                <a:close/>
              </a:path>
            </a:pathLst>
          </a:custGeom>
          <a:solidFill>
            <a:srgbClr val="D9D9D9"/>
          </a:solidFill>
        </p:spPr>
        <p:txBody>
          <a:bodyPr wrap="square" tIns="155448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half slide image is 640 x 720 pixels)</a:t>
            </a:r>
          </a:p>
        </p:txBody>
      </p:sp>
    </p:spTree>
    <p:extLst>
      <p:ext uri="{BB962C8B-B14F-4D97-AF65-F5344CB8AC3E}">
        <p14:creationId xmlns:p14="http://schemas.microsoft.com/office/powerpoint/2010/main" val="350722419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icture with Circ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66CA63B-C1B1-43E5-8904-2600EAA42658}"/>
              </a:ext>
            </a:extLst>
          </p:cNvPr>
          <p:cNvSpPr/>
          <p:nvPr/>
        </p:nvSpPr>
        <p:spPr bwMode="ltGray">
          <a:xfrm>
            <a:off x="10451952" y="5963196"/>
            <a:ext cx="1606316" cy="894804"/>
          </a:xfrm>
          <a:custGeom>
            <a:avLst/>
            <a:gdLst>
              <a:gd name="connsiteX0" fmla="*/ 838774 w 1585477"/>
              <a:gd name="connsiteY0" fmla="*/ 14 h 883197"/>
              <a:gd name="connsiteX1" fmla="*/ 996107 w 1585477"/>
              <a:gd name="connsiteY1" fmla="*/ 18377 h 883197"/>
              <a:gd name="connsiteX2" fmla="*/ 1585477 w 1585477"/>
              <a:gd name="connsiteY2" fmla="*/ 746145 h 883197"/>
              <a:gd name="connsiteX3" fmla="*/ 1585202 w 1585477"/>
              <a:gd name="connsiteY3" fmla="*/ 883197 h 883197"/>
              <a:gd name="connsiteX4" fmla="*/ 695 w 1585477"/>
              <a:gd name="connsiteY4" fmla="*/ 883197 h 883197"/>
              <a:gd name="connsiteX5" fmla="*/ 294 w 1585477"/>
              <a:gd name="connsiteY5" fmla="*/ 879328 h 883197"/>
              <a:gd name="connsiteX6" fmla="*/ 20167 w 1585477"/>
              <a:gd name="connsiteY6" fmla="*/ 648487 h 883197"/>
              <a:gd name="connsiteX7" fmla="*/ 838774 w 1585477"/>
              <a:gd name="connsiteY7" fmla="*/ 14 h 883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85477" h="883197">
                <a:moveTo>
                  <a:pt x="838774" y="14"/>
                </a:moveTo>
                <a:cubicBezTo>
                  <a:pt x="891699" y="335"/>
                  <a:pt x="944452" y="6288"/>
                  <a:pt x="996107" y="18377"/>
                </a:cubicBezTo>
                <a:cubicBezTo>
                  <a:pt x="1344865" y="100437"/>
                  <a:pt x="1558993" y="409128"/>
                  <a:pt x="1585477" y="746145"/>
                </a:cubicBezTo>
                <a:lnTo>
                  <a:pt x="1585202" y="883197"/>
                </a:lnTo>
                <a:lnTo>
                  <a:pt x="695" y="883197"/>
                </a:lnTo>
                <a:lnTo>
                  <a:pt x="294" y="879328"/>
                </a:lnTo>
                <a:cubicBezTo>
                  <a:pt x="-1813" y="797038"/>
                  <a:pt x="7712" y="718092"/>
                  <a:pt x="20167" y="648487"/>
                </a:cubicBezTo>
                <a:cubicBezTo>
                  <a:pt x="89408" y="271519"/>
                  <a:pt x="468297" y="-2229"/>
                  <a:pt x="838774" y="14"/>
                </a:cubicBezTo>
                <a:close/>
              </a:path>
            </a:pathLst>
          </a:custGeom>
          <a:solidFill>
            <a:srgbClr val="4F2170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56" name="Picture Placeholder 55">
            <a:extLst>
              <a:ext uri="{FF2B5EF4-FFF2-40B4-BE49-F238E27FC236}">
                <a16:creationId xmlns:a16="http://schemas.microsoft.com/office/drawing/2014/main" id="{A5EAFFDE-7D79-4F83-9864-FE3F4E8DFC8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2 h 6858000"/>
              <a:gd name="connsiteX3" fmla="*/ 7663103 w 12192000"/>
              <a:gd name="connsiteY3" fmla="*/ 2 h 6858000"/>
              <a:gd name="connsiteX4" fmla="*/ 7480204 w 12192000"/>
              <a:gd name="connsiteY4" fmla="*/ 153025 h 6858000"/>
              <a:gd name="connsiteX5" fmla="*/ 6428049 w 12192000"/>
              <a:gd name="connsiteY5" fmla="*/ 1989352 h 6858000"/>
              <a:gd name="connsiteX6" fmla="*/ 8885900 w 12192000"/>
              <a:gd name="connsiteY6" fmla="*/ 5978297 h 6858000"/>
              <a:gd name="connsiteX7" fmla="*/ 12154972 w 12192000"/>
              <a:gd name="connsiteY7" fmla="*/ 5329397 h 6858000"/>
              <a:gd name="connsiteX8" fmla="*/ 12192000 w 12192000"/>
              <a:gd name="connsiteY8" fmla="*/ 5302368 h 6858000"/>
              <a:gd name="connsiteX9" fmla="*/ 12192000 w 12192000"/>
              <a:gd name="connsiteY9" fmla="*/ 6858000 h 6858000"/>
              <a:gd name="connsiteX10" fmla="*/ 12047573 w 12192000"/>
              <a:gd name="connsiteY10" fmla="*/ 6858000 h 6858000"/>
              <a:gd name="connsiteX11" fmla="*/ 12047848 w 12192000"/>
              <a:gd name="connsiteY11" fmla="*/ 6720949 h 6858000"/>
              <a:gd name="connsiteX12" fmla="*/ 11458478 w 12192000"/>
              <a:gd name="connsiteY12" fmla="*/ 5993181 h 6858000"/>
              <a:gd name="connsiteX13" fmla="*/ 11301145 w 12192000"/>
              <a:gd name="connsiteY13" fmla="*/ 5974818 h 6858000"/>
              <a:gd name="connsiteX14" fmla="*/ 10482538 w 12192000"/>
              <a:gd name="connsiteY14" fmla="*/ 6623291 h 6858000"/>
              <a:gd name="connsiteX15" fmla="*/ 10462665 w 12192000"/>
              <a:gd name="connsiteY15" fmla="*/ 6854132 h 6858000"/>
              <a:gd name="connsiteX16" fmla="*/ 10463066 w 12192000"/>
              <a:gd name="connsiteY16" fmla="*/ 6858000 h 6858000"/>
              <a:gd name="connsiteX17" fmla="*/ 0 w 12192000"/>
              <a:gd name="connsiteY1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2"/>
                </a:lnTo>
                <a:lnTo>
                  <a:pt x="7663103" y="2"/>
                </a:lnTo>
                <a:lnTo>
                  <a:pt x="7480204" y="153025"/>
                </a:lnTo>
                <a:cubicBezTo>
                  <a:pt x="6949276" y="640885"/>
                  <a:pt x="6561130" y="1273092"/>
                  <a:pt x="6428049" y="1989352"/>
                </a:cubicBezTo>
                <a:cubicBezTo>
                  <a:pt x="6204615" y="3223711"/>
                  <a:pt x="6191465" y="5120738"/>
                  <a:pt x="8885900" y="5978297"/>
                </a:cubicBezTo>
                <a:cubicBezTo>
                  <a:pt x="9477360" y="6165081"/>
                  <a:pt x="11023781" y="6103162"/>
                  <a:pt x="12154972" y="5329397"/>
                </a:cubicBezTo>
                <a:lnTo>
                  <a:pt x="12192000" y="5302368"/>
                </a:lnTo>
                <a:lnTo>
                  <a:pt x="12192000" y="6858000"/>
                </a:lnTo>
                <a:lnTo>
                  <a:pt x="12047573" y="6858000"/>
                </a:lnTo>
                <a:lnTo>
                  <a:pt x="12047848" y="6720949"/>
                </a:lnTo>
                <a:cubicBezTo>
                  <a:pt x="12021364" y="6383932"/>
                  <a:pt x="11807236" y="6075241"/>
                  <a:pt x="11458478" y="5993181"/>
                </a:cubicBezTo>
                <a:cubicBezTo>
                  <a:pt x="11406823" y="5981092"/>
                  <a:pt x="11354070" y="5975139"/>
                  <a:pt x="11301145" y="5974818"/>
                </a:cubicBezTo>
                <a:cubicBezTo>
                  <a:pt x="10930668" y="5972575"/>
                  <a:pt x="10551779" y="6246323"/>
                  <a:pt x="10482538" y="6623291"/>
                </a:cubicBezTo>
                <a:cubicBezTo>
                  <a:pt x="10470083" y="6692896"/>
                  <a:pt x="10460558" y="6771842"/>
                  <a:pt x="10462665" y="6854132"/>
                </a:cubicBezTo>
                <a:lnTo>
                  <a:pt x="10463066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rIns="347472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full slide image is 1280 x 7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54D87F-D170-4CA6-B8DB-A068AAB2EE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84556" y="909045"/>
            <a:ext cx="4626444" cy="84182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BB3B4C9-10AF-4C1C-BD4C-19B5526DA837}"/>
              </a:ext>
            </a:extLst>
          </p:cNvPr>
          <p:cNvGrpSpPr>
            <a:grpSpLocks noChangeAspect="1"/>
          </p:cNvGrpSpPr>
          <p:nvPr/>
        </p:nvGrpSpPr>
        <p:grpSpPr>
          <a:xfrm>
            <a:off x="10676779" y="6205751"/>
            <a:ext cx="1143000" cy="440144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AA55965-C91C-46A8-84D3-9426B2920951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FA7C3306-5AFD-4197-B039-52B9B3D0AC6E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C31767F-4ADA-45F2-B354-AEF2579A6A70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B6DA548-0CD9-4078-B433-D61F10371744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D688978-BCBB-42C3-8877-14A7C1EF64F9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3EAD6C8-DC12-4BCC-8993-9CD4B9FF1B4B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0A3D4A8-5179-4579-86DA-E3BE1D9939BC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DB9A871-4A68-495F-A3EF-392427AED281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001B3D6-C1BC-4979-BF9B-2956B2C7EC99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6367185-B7D6-4C5F-BFDB-408FCE04E3F2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7770C8A-5B84-4503-8D5D-B710B131CCB1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7E3A062-DDC7-49B6-A3D5-B32A3A38D180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B52140B-5C19-4D8B-93F0-72CFECE86CC0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9A100D8-96DD-4438-B034-852ACD48360A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435034-3BFA-4E05-A947-D42274FB4ACD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F94EEDF-4DA9-4C49-8D81-4FEAA7A00790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47FAE4D-6929-4A6E-B735-59F6ED016FDD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61A7D8E-A6BF-40D7-95EB-1191999BD2EC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1409C27-3D54-4E7E-B608-F8D1F36BC68E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D063CBE-F520-471D-99C8-586943DE0D8C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DC003CD-8A26-432E-9060-84F8E0B2AA1B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8EA46793-C37F-42AD-B0A2-1B9D19975188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00046F6B-E5D4-4598-93CE-3280F6A1E048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D9E3FEEA-893B-4BCB-878A-93F25BBD9C29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C294731-92AD-4771-A321-6B09FBA089E6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E06B157-DBF4-4A2A-A41B-A23CBB507D06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06E6070-9EF3-4ED3-9C75-E6CAC8EA9E4A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417FE90C-6359-4A38-A932-B9E34A36EB87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0195EC85-116E-4D1D-AAC5-E1EE778E9F14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1199EB2-8CF7-412C-88D7-2C906A9B506E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A54ECDD-525B-4F0D-A32C-CAD98CC4E1E2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99AA5A5-B810-47BF-9870-E078E580E225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176AE20-94DB-48D9-93A0-3EB3C1F5FB2E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5CAD56A-462D-4366-9EFB-54581CD299AF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277C2FCB-7D05-4824-AE10-F453FE482C72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6019EDE9-B07A-4FD5-87B9-487B5E3194EF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E57DE58C-884C-473D-88BB-56EE3548B302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4E622CD9-12E7-481D-9568-392632F69D07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2CB86C1E-34D9-4E0F-88EC-65476446F32C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D932AD99-53C0-46CD-960C-6F1735F80A7B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6C6EC568-17DB-458F-9492-F1CC33DF1A00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045AFC19-C641-4E38-8827-516270B72E11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0" name="Content Placeholder 59">
            <a:extLst>
              <a:ext uri="{FF2B5EF4-FFF2-40B4-BE49-F238E27FC236}">
                <a16:creationId xmlns:a16="http://schemas.microsoft.com/office/drawing/2014/main" id="{8EFE1F84-4849-448C-8C35-33EC553AD83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185025" y="1981200"/>
            <a:ext cx="4625975" cy="29083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900516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icture with Squa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66CA63B-C1B1-43E5-8904-2600EAA42658}"/>
              </a:ext>
            </a:extLst>
          </p:cNvPr>
          <p:cNvSpPr/>
          <p:nvPr/>
        </p:nvSpPr>
        <p:spPr bwMode="ltGray">
          <a:xfrm>
            <a:off x="10442039" y="5952152"/>
            <a:ext cx="1626142" cy="905848"/>
          </a:xfrm>
          <a:custGeom>
            <a:avLst/>
            <a:gdLst>
              <a:gd name="connsiteX0" fmla="*/ 838774 w 1585477"/>
              <a:gd name="connsiteY0" fmla="*/ 14 h 883197"/>
              <a:gd name="connsiteX1" fmla="*/ 996107 w 1585477"/>
              <a:gd name="connsiteY1" fmla="*/ 18377 h 883197"/>
              <a:gd name="connsiteX2" fmla="*/ 1585477 w 1585477"/>
              <a:gd name="connsiteY2" fmla="*/ 746145 h 883197"/>
              <a:gd name="connsiteX3" fmla="*/ 1585202 w 1585477"/>
              <a:gd name="connsiteY3" fmla="*/ 883197 h 883197"/>
              <a:gd name="connsiteX4" fmla="*/ 695 w 1585477"/>
              <a:gd name="connsiteY4" fmla="*/ 883197 h 883197"/>
              <a:gd name="connsiteX5" fmla="*/ 294 w 1585477"/>
              <a:gd name="connsiteY5" fmla="*/ 879328 h 883197"/>
              <a:gd name="connsiteX6" fmla="*/ 20167 w 1585477"/>
              <a:gd name="connsiteY6" fmla="*/ 648487 h 883197"/>
              <a:gd name="connsiteX7" fmla="*/ 838774 w 1585477"/>
              <a:gd name="connsiteY7" fmla="*/ 14 h 883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85477" h="883197">
                <a:moveTo>
                  <a:pt x="838774" y="14"/>
                </a:moveTo>
                <a:cubicBezTo>
                  <a:pt x="891699" y="335"/>
                  <a:pt x="944452" y="6288"/>
                  <a:pt x="996107" y="18377"/>
                </a:cubicBezTo>
                <a:cubicBezTo>
                  <a:pt x="1344865" y="100437"/>
                  <a:pt x="1558993" y="409128"/>
                  <a:pt x="1585477" y="746145"/>
                </a:cubicBezTo>
                <a:lnTo>
                  <a:pt x="1585202" y="883197"/>
                </a:lnTo>
                <a:lnTo>
                  <a:pt x="695" y="883197"/>
                </a:lnTo>
                <a:lnTo>
                  <a:pt x="294" y="879328"/>
                </a:lnTo>
                <a:cubicBezTo>
                  <a:pt x="-1813" y="797038"/>
                  <a:pt x="7712" y="718092"/>
                  <a:pt x="20167" y="648487"/>
                </a:cubicBezTo>
                <a:cubicBezTo>
                  <a:pt x="89408" y="271519"/>
                  <a:pt x="468297" y="-2229"/>
                  <a:pt x="838774" y="14"/>
                </a:cubicBezTo>
                <a:close/>
              </a:path>
            </a:pathLst>
          </a:custGeom>
          <a:solidFill>
            <a:srgbClr val="4F2170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57" name="Picture Placeholder 56">
            <a:extLst>
              <a:ext uri="{FF2B5EF4-FFF2-40B4-BE49-F238E27FC236}">
                <a16:creationId xmlns:a16="http://schemas.microsoft.com/office/drawing/2014/main" id="{1992DD06-529E-413D-A391-D73017C8142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568889 w 12192000"/>
              <a:gd name="connsiteY0" fmla="*/ 372706 h 6858000"/>
              <a:gd name="connsiteX1" fmla="*/ 10371380 w 12192000"/>
              <a:gd name="connsiteY1" fmla="*/ 401205 h 6858000"/>
              <a:gd name="connsiteX2" fmla="*/ 8894854 w 12192000"/>
              <a:gd name="connsiteY2" fmla="*/ 410711 h 6858000"/>
              <a:gd name="connsiteX3" fmla="*/ 6395207 w 12192000"/>
              <a:gd name="connsiteY3" fmla="*/ 439209 h 6858000"/>
              <a:gd name="connsiteX4" fmla="*/ 6348702 w 12192000"/>
              <a:gd name="connsiteY4" fmla="*/ 781250 h 6858000"/>
              <a:gd name="connsiteX5" fmla="*/ 6337082 w 12192000"/>
              <a:gd name="connsiteY5" fmla="*/ 1018784 h 6858000"/>
              <a:gd name="connsiteX6" fmla="*/ 6313829 w 12192000"/>
              <a:gd name="connsiteY6" fmla="*/ 1759872 h 6858000"/>
              <a:gd name="connsiteX7" fmla="*/ 6337082 w 12192000"/>
              <a:gd name="connsiteY7" fmla="*/ 2234929 h 6858000"/>
              <a:gd name="connsiteX8" fmla="*/ 6360334 w 12192000"/>
              <a:gd name="connsiteY8" fmla="*/ 3660100 h 6858000"/>
              <a:gd name="connsiteX9" fmla="*/ 6406839 w 12192000"/>
              <a:gd name="connsiteY9" fmla="*/ 4610214 h 6858000"/>
              <a:gd name="connsiteX10" fmla="*/ 6871889 w 12192000"/>
              <a:gd name="connsiteY10" fmla="*/ 4819239 h 6858000"/>
              <a:gd name="connsiteX11" fmla="*/ 7453200 w 12192000"/>
              <a:gd name="connsiteY11" fmla="*/ 4866740 h 6858000"/>
              <a:gd name="connsiteX12" fmla="*/ 10592284 w 12192000"/>
              <a:gd name="connsiteY12" fmla="*/ 4904744 h 6858000"/>
              <a:gd name="connsiteX13" fmla="*/ 11010830 w 12192000"/>
              <a:gd name="connsiteY13" fmla="*/ 4857244 h 6858000"/>
              <a:gd name="connsiteX14" fmla="*/ 11417742 w 12192000"/>
              <a:gd name="connsiteY14" fmla="*/ 4847738 h 6858000"/>
              <a:gd name="connsiteX15" fmla="*/ 11813034 w 12192000"/>
              <a:gd name="connsiteY15" fmla="*/ 4695719 h 6858000"/>
              <a:gd name="connsiteX16" fmla="*/ 11847918 w 12192000"/>
              <a:gd name="connsiteY16" fmla="*/ 3869125 h 6858000"/>
              <a:gd name="connsiteX17" fmla="*/ 11847918 w 12192000"/>
              <a:gd name="connsiteY17" fmla="*/ 3204046 h 6858000"/>
              <a:gd name="connsiteX18" fmla="*/ 11836286 w 12192000"/>
              <a:gd name="connsiteY18" fmla="*/ 2244426 h 6858000"/>
              <a:gd name="connsiteX19" fmla="*/ 11824666 w 12192000"/>
              <a:gd name="connsiteY19" fmla="*/ 971273 h 6858000"/>
              <a:gd name="connsiteX20" fmla="*/ 11568889 w 12192000"/>
              <a:gd name="connsiteY20" fmla="*/ 372706 h 6858000"/>
              <a:gd name="connsiteX21" fmla="*/ 0 w 12192000"/>
              <a:gd name="connsiteY21" fmla="*/ 0 h 6858000"/>
              <a:gd name="connsiteX22" fmla="*/ 12192000 w 12192000"/>
              <a:gd name="connsiteY22" fmla="*/ 0 h 6858000"/>
              <a:gd name="connsiteX23" fmla="*/ 12192000 w 12192000"/>
              <a:gd name="connsiteY23" fmla="*/ 6858000 h 6858000"/>
              <a:gd name="connsiteX24" fmla="*/ 12047573 w 12192000"/>
              <a:gd name="connsiteY24" fmla="*/ 6858000 h 6858000"/>
              <a:gd name="connsiteX25" fmla="*/ 12047848 w 12192000"/>
              <a:gd name="connsiteY25" fmla="*/ 6720949 h 6858000"/>
              <a:gd name="connsiteX26" fmla="*/ 11458478 w 12192000"/>
              <a:gd name="connsiteY26" fmla="*/ 5993181 h 6858000"/>
              <a:gd name="connsiteX27" fmla="*/ 11301145 w 12192000"/>
              <a:gd name="connsiteY27" fmla="*/ 5974818 h 6858000"/>
              <a:gd name="connsiteX28" fmla="*/ 10482538 w 12192000"/>
              <a:gd name="connsiteY28" fmla="*/ 6623291 h 6858000"/>
              <a:gd name="connsiteX29" fmla="*/ 10462665 w 12192000"/>
              <a:gd name="connsiteY29" fmla="*/ 6854132 h 6858000"/>
              <a:gd name="connsiteX30" fmla="*/ 10463066 w 12192000"/>
              <a:gd name="connsiteY30" fmla="*/ 6858000 h 6858000"/>
              <a:gd name="connsiteX31" fmla="*/ 0 w 12192000"/>
              <a:gd name="connsiteY3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2192000" h="6858000">
                <a:moveTo>
                  <a:pt x="11568889" y="372706"/>
                </a:moveTo>
                <a:cubicBezTo>
                  <a:pt x="11429374" y="372706"/>
                  <a:pt x="10510895" y="410711"/>
                  <a:pt x="10371380" y="401205"/>
                </a:cubicBezTo>
                <a:cubicBezTo>
                  <a:pt x="9929583" y="391708"/>
                  <a:pt x="9348271" y="410711"/>
                  <a:pt x="8894854" y="410711"/>
                </a:cubicBezTo>
                <a:cubicBezTo>
                  <a:pt x="7999628" y="410711"/>
                  <a:pt x="7150918" y="353704"/>
                  <a:pt x="6395207" y="439209"/>
                </a:cubicBezTo>
                <a:cubicBezTo>
                  <a:pt x="6371954" y="458211"/>
                  <a:pt x="6348702" y="724243"/>
                  <a:pt x="6348702" y="781250"/>
                </a:cubicBezTo>
                <a:cubicBezTo>
                  <a:pt x="6348702" y="933268"/>
                  <a:pt x="6348702" y="923772"/>
                  <a:pt x="6337082" y="1018784"/>
                </a:cubicBezTo>
                <a:cubicBezTo>
                  <a:pt x="6278944" y="1294312"/>
                  <a:pt x="6371954" y="1493841"/>
                  <a:pt x="6313829" y="1759872"/>
                </a:cubicBezTo>
                <a:lnTo>
                  <a:pt x="6337082" y="2234929"/>
                </a:lnTo>
                <a:cubicBezTo>
                  <a:pt x="6337082" y="2824000"/>
                  <a:pt x="6337082" y="3166041"/>
                  <a:pt x="6360334" y="3660100"/>
                </a:cubicBezTo>
                <a:cubicBezTo>
                  <a:pt x="6371954" y="3878621"/>
                  <a:pt x="6337082" y="4439194"/>
                  <a:pt x="6406839" y="4610214"/>
                </a:cubicBezTo>
                <a:cubicBezTo>
                  <a:pt x="6488217" y="4819239"/>
                  <a:pt x="6616111" y="4781235"/>
                  <a:pt x="6871889" y="4819239"/>
                </a:cubicBezTo>
                <a:cubicBezTo>
                  <a:pt x="7150918" y="4866740"/>
                  <a:pt x="7325306" y="4866740"/>
                  <a:pt x="7453200" y="4866740"/>
                </a:cubicBezTo>
                <a:cubicBezTo>
                  <a:pt x="8825096" y="4876246"/>
                  <a:pt x="9406408" y="4933253"/>
                  <a:pt x="10592284" y="4904744"/>
                </a:cubicBezTo>
                <a:cubicBezTo>
                  <a:pt x="10708547" y="4904744"/>
                  <a:pt x="10906187" y="4876246"/>
                  <a:pt x="11010830" y="4857244"/>
                </a:cubicBezTo>
                <a:cubicBezTo>
                  <a:pt x="11150344" y="4838242"/>
                  <a:pt x="11324732" y="4857244"/>
                  <a:pt x="11417742" y="4847738"/>
                </a:cubicBezTo>
                <a:cubicBezTo>
                  <a:pt x="11580509" y="4828735"/>
                  <a:pt x="11789781" y="4809733"/>
                  <a:pt x="11813034" y="4695719"/>
                </a:cubicBezTo>
                <a:cubicBezTo>
                  <a:pt x="11859538" y="4410685"/>
                  <a:pt x="11836286" y="4087646"/>
                  <a:pt x="11847918" y="3869125"/>
                </a:cubicBezTo>
                <a:cubicBezTo>
                  <a:pt x="11859538" y="3650594"/>
                  <a:pt x="11836286" y="3422567"/>
                  <a:pt x="11847918" y="3204046"/>
                </a:cubicBezTo>
                <a:cubicBezTo>
                  <a:pt x="11859538" y="2890503"/>
                  <a:pt x="11824666" y="2557968"/>
                  <a:pt x="11836286" y="2244426"/>
                </a:cubicBezTo>
                <a:cubicBezTo>
                  <a:pt x="11859538" y="1816879"/>
                  <a:pt x="11813034" y="1398829"/>
                  <a:pt x="11824666" y="971273"/>
                </a:cubicBezTo>
                <a:cubicBezTo>
                  <a:pt x="11824666" y="676743"/>
                  <a:pt x="11871171" y="372706"/>
                  <a:pt x="11568889" y="372706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047573" y="6858000"/>
                </a:lnTo>
                <a:lnTo>
                  <a:pt x="12047848" y="6720949"/>
                </a:lnTo>
                <a:cubicBezTo>
                  <a:pt x="12021364" y="6383932"/>
                  <a:pt x="11807236" y="6075241"/>
                  <a:pt x="11458478" y="5993181"/>
                </a:cubicBezTo>
                <a:cubicBezTo>
                  <a:pt x="11406823" y="5981092"/>
                  <a:pt x="11354070" y="5975139"/>
                  <a:pt x="11301145" y="5974818"/>
                </a:cubicBezTo>
                <a:cubicBezTo>
                  <a:pt x="10930668" y="5972575"/>
                  <a:pt x="10551779" y="6246323"/>
                  <a:pt x="10482538" y="6623291"/>
                </a:cubicBezTo>
                <a:cubicBezTo>
                  <a:pt x="10470083" y="6692896"/>
                  <a:pt x="10460558" y="6771842"/>
                  <a:pt x="10462665" y="6854132"/>
                </a:cubicBezTo>
                <a:lnTo>
                  <a:pt x="10463066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rIns="347472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full slide image is 1280 x 7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54D87F-D170-4CA6-B8DB-A068AAB2EE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8914" y="656717"/>
            <a:ext cx="5065253" cy="9398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BB3B4C9-10AF-4C1C-BD4C-19B5526DA837}"/>
              </a:ext>
            </a:extLst>
          </p:cNvPr>
          <p:cNvGrpSpPr>
            <a:grpSpLocks noChangeAspect="1"/>
          </p:cNvGrpSpPr>
          <p:nvPr/>
        </p:nvGrpSpPr>
        <p:grpSpPr>
          <a:xfrm>
            <a:off x="10676779" y="6205751"/>
            <a:ext cx="1143000" cy="440144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AA55965-C91C-46A8-84D3-9426B2920951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FA7C3306-5AFD-4197-B039-52B9B3D0AC6E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C31767F-4ADA-45F2-B354-AEF2579A6A70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B6DA548-0CD9-4078-B433-D61F10371744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D688978-BCBB-42C3-8877-14A7C1EF64F9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3EAD6C8-DC12-4BCC-8993-9CD4B9FF1B4B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0A3D4A8-5179-4579-86DA-E3BE1D9939BC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DB9A871-4A68-495F-A3EF-392427AED281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001B3D6-C1BC-4979-BF9B-2956B2C7EC99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6367185-B7D6-4C5F-BFDB-408FCE04E3F2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7770C8A-5B84-4503-8D5D-B710B131CCB1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7E3A062-DDC7-49B6-A3D5-B32A3A38D180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B52140B-5C19-4D8B-93F0-72CFECE86CC0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9A100D8-96DD-4438-B034-852ACD48360A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435034-3BFA-4E05-A947-D42274FB4ACD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F94EEDF-4DA9-4C49-8D81-4FEAA7A00790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47FAE4D-6929-4A6E-B735-59F6ED016FDD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61A7D8E-A6BF-40D7-95EB-1191999BD2EC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1409C27-3D54-4E7E-B608-F8D1F36BC68E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D063CBE-F520-471D-99C8-586943DE0D8C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DC003CD-8A26-432E-9060-84F8E0B2AA1B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8EA46793-C37F-42AD-B0A2-1B9D19975188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00046F6B-E5D4-4598-93CE-3280F6A1E048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D9E3FEEA-893B-4BCB-878A-93F25BBD9C29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C294731-92AD-4771-A321-6B09FBA089E6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E06B157-DBF4-4A2A-A41B-A23CBB507D06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06E6070-9EF3-4ED3-9C75-E6CAC8EA9E4A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417FE90C-6359-4A38-A932-B9E34A36EB87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0195EC85-116E-4D1D-AAC5-E1EE778E9F14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1199EB2-8CF7-412C-88D7-2C906A9B506E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A54ECDD-525B-4F0D-A32C-CAD98CC4E1E2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99AA5A5-B810-47BF-9870-E078E580E225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176AE20-94DB-48D9-93A0-3EB3C1F5FB2E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5CAD56A-462D-4366-9EFB-54581CD299AF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277C2FCB-7D05-4824-AE10-F453FE482C72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6019EDE9-B07A-4FD5-87B9-487B5E3194EF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E57DE58C-884C-473D-88BB-56EE3548B302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4E622CD9-12E7-481D-9568-392632F69D07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2CB86C1E-34D9-4E0F-88EC-65476446F32C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D932AD99-53C0-46CD-960C-6F1735F80A7B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6C6EC568-17DB-458F-9492-F1CC33DF1A00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045AFC19-C641-4E38-8827-516270B72E11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0" name="Content Placeholder 59">
            <a:extLst>
              <a:ext uri="{FF2B5EF4-FFF2-40B4-BE49-F238E27FC236}">
                <a16:creationId xmlns:a16="http://schemas.microsoft.com/office/drawing/2014/main" id="{8EFE1F84-4849-448C-8C35-33EC553AD83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538914" y="1860550"/>
            <a:ext cx="5065254" cy="26860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341109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fram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CB31FDED-D159-4F4F-8CA3-B83301DF537B}"/>
              </a:ext>
            </a:extLst>
          </p:cNvPr>
          <p:cNvSpPr/>
          <p:nvPr/>
        </p:nvSpPr>
        <p:spPr bwMode="ltGray">
          <a:xfrm>
            <a:off x="10441275" y="5951300"/>
            <a:ext cx="1627670" cy="906700"/>
          </a:xfrm>
          <a:custGeom>
            <a:avLst/>
            <a:gdLst>
              <a:gd name="connsiteX0" fmla="*/ 838774 w 1585477"/>
              <a:gd name="connsiteY0" fmla="*/ 14 h 883197"/>
              <a:gd name="connsiteX1" fmla="*/ 996107 w 1585477"/>
              <a:gd name="connsiteY1" fmla="*/ 18377 h 883197"/>
              <a:gd name="connsiteX2" fmla="*/ 1585477 w 1585477"/>
              <a:gd name="connsiteY2" fmla="*/ 746145 h 883197"/>
              <a:gd name="connsiteX3" fmla="*/ 1585202 w 1585477"/>
              <a:gd name="connsiteY3" fmla="*/ 883197 h 883197"/>
              <a:gd name="connsiteX4" fmla="*/ 695 w 1585477"/>
              <a:gd name="connsiteY4" fmla="*/ 883197 h 883197"/>
              <a:gd name="connsiteX5" fmla="*/ 294 w 1585477"/>
              <a:gd name="connsiteY5" fmla="*/ 879328 h 883197"/>
              <a:gd name="connsiteX6" fmla="*/ 20167 w 1585477"/>
              <a:gd name="connsiteY6" fmla="*/ 648487 h 883197"/>
              <a:gd name="connsiteX7" fmla="*/ 838774 w 1585477"/>
              <a:gd name="connsiteY7" fmla="*/ 14 h 883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85477" h="883197">
                <a:moveTo>
                  <a:pt x="838774" y="14"/>
                </a:moveTo>
                <a:cubicBezTo>
                  <a:pt x="891699" y="335"/>
                  <a:pt x="944452" y="6288"/>
                  <a:pt x="996107" y="18377"/>
                </a:cubicBezTo>
                <a:cubicBezTo>
                  <a:pt x="1344865" y="100437"/>
                  <a:pt x="1558993" y="409128"/>
                  <a:pt x="1585477" y="746145"/>
                </a:cubicBezTo>
                <a:lnTo>
                  <a:pt x="1585202" y="883197"/>
                </a:lnTo>
                <a:lnTo>
                  <a:pt x="695" y="883197"/>
                </a:lnTo>
                <a:lnTo>
                  <a:pt x="294" y="879328"/>
                </a:lnTo>
                <a:cubicBezTo>
                  <a:pt x="-1813" y="797038"/>
                  <a:pt x="7712" y="718092"/>
                  <a:pt x="20167" y="648487"/>
                </a:cubicBezTo>
                <a:cubicBezTo>
                  <a:pt x="89408" y="271519"/>
                  <a:pt x="468297" y="-2229"/>
                  <a:pt x="838774" y="14"/>
                </a:cubicBezTo>
                <a:close/>
              </a:path>
            </a:pathLst>
          </a:custGeom>
          <a:solidFill>
            <a:srgbClr val="4F2170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9A604104-23C8-45DB-B8E5-CC8FD54A777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047573 w 12192000"/>
              <a:gd name="connsiteY3" fmla="*/ 6858000 h 6858000"/>
              <a:gd name="connsiteX4" fmla="*/ 12047848 w 12192000"/>
              <a:gd name="connsiteY4" fmla="*/ 6720949 h 6858000"/>
              <a:gd name="connsiteX5" fmla="*/ 11458478 w 12192000"/>
              <a:gd name="connsiteY5" fmla="*/ 5993181 h 6858000"/>
              <a:gd name="connsiteX6" fmla="*/ 11301145 w 12192000"/>
              <a:gd name="connsiteY6" fmla="*/ 5974818 h 6858000"/>
              <a:gd name="connsiteX7" fmla="*/ 10482538 w 12192000"/>
              <a:gd name="connsiteY7" fmla="*/ 6623291 h 6858000"/>
              <a:gd name="connsiteX8" fmla="*/ 10462665 w 12192000"/>
              <a:gd name="connsiteY8" fmla="*/ 6854132 h 6858000"/>
              <a:gd name="connsiteX9" fmla="*/ 10463066 w 12192000"/>
              <a:gd name="connsiteY9" fmla="*/ 6858000 h 6858000"/>
              <a:gd name="connsiteX10" fmla="*/ 0 w 12192000"/>
              <a:gd name="connsiteY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047573" y="6858000"/>
                </a:lnTo>
                <a:lnTo>
                  <a:pt x="12047848" y="6720949"/>
                </a:lnTo>
                <a:cubicBezTo>
                  <a:pt x="12021364" y="6383932"/>
                  <a:pt x="11807236" y="6075241"/>
                  <a:pt x="11458478" y="5993181"/>
                </a:cubicBezTo>
                <a:cubicBezTo>
                  <a:pt x="11406823" y="5981092"/>
                  <a:pt x="11354070" y="5975139"/>
                  <a:pt x="11301145" y="5974818"/>
                </a:cubicBezTo>
                <a:cubicBezTo>
                  <a:pt x="10930668" y="5972575"/>
                  <a:pt x="10551779" y="6246323"/>
                  <a:pt x="10482538" y="6623291"/>
                </a:cubicBezTo>
                <a:cubicBezTo>
                  <a:pt x="10470083" y="6692896"/>
                  <a:pt x="10460558" y="6771842"/>
                  <a:pt x="10462665" y="6854132"/>
                </a:cubicBezTo>
                <a:lnTo>
                  <a:pt x="10463066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3657600" tIns="0" rIns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full slide image is 1280 x 720 pixels)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C975EE0-AD02-4365-B012-AEF1EB027E17}"/>
              </a:ext>
            </a:extLst>
          </p:cNvPr>
          <p:cNvGrpSpPr>
            <a:grpSpLocks noChangeAspect="1"/>
          </p:cNvGrpSpPr>
          <p:nvPr/>
        </p:nvGrpSpPr>
        <p:grpSpPr>
          <a:xfrm>
            <a:off x="10676779" y="6205751"/>
            <a:ext cx="1143000" cy="440144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E98E784-FC01-4610-B058-2CCB322671BA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FF2B29D-E74D-4303-BB3A-2284D731A034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FD16FEA-B5DB-4F05-ABCB-F67FBB3F290E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73DE2517-FFDB-44E3-991E-865C415B8826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56F7D03-AC74-4987-8247-B58A990351E5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DBEEF49-1973-43EE-ABD4-7E037813A7B0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DB7EADA-FB78-4FA9-9520-D83E0D8F84CD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48CB4A2-0C87-47C9-8C4B-B9BA3E2C90BC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2D2D5C1-4179-4736-BA45-C19AC8497060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8B32661-72D5-4F04-ACE1-EC30AB0CDE8C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A331478-F85F-4D3E-A6DA-5647BA14CD3D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F8068D5-9178-44A0-AAEB-6F35EED63A67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3593E3-C1E4-4BBB-8B41-202BB57C5F6D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5BB18E18-DA27-4B34-9C93-966E6D88235F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499867C-A199-4323-96E0-4E372C32987F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F5424D8-84CB-4710-93EA-67FB2CF29EAF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DDB42FA-72B7-4EC6-8731-88363F1EC79A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178809C4-0D47-4B10-9CB8-45403FAB078D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8D60CB4-24EE-4286-B104-B1E7780F25F7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AC807290-9044-47A7-90E1-CA3E462987B6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344258D2-EA42-49C8-AB37-BBF96FAEA587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CAE1932C-E9CE-473B-AC83-46E902037AB3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D230A14-0748-4725-BC9F-A79515DCCFDB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C00DD94-854F-4950-9148-B594259CA291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80C20D3-903A-4021-AA27-6ABEDC98B36B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D2B49219-FA68-4BFE-A6FB-19D2B0D4C1FF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3B3E68FC-F99A-473C-A1B9-AA803E7F6CFB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974323F7-3F56-422F-B8F9-319B4269C514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D6AB36C-2BB9-458F-9B65-F616640B5697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7CD6E50-E0F0-4933-B850-6730D4173539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2771C143-A1F3-4138-9AAE-B59B0482EED3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87BD61EB-293E-42B3-9B29-34C68BECB4A0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85E6D875-3902-4C5B-BBC1-7ADBFCB34A9E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28EECE7A-152F-483E-BC66-3DB3F1A6A039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559998B0-FBE4-4736-A71B-DC348C340448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D6B1EBFD-5AF9-4242-8571-9084369DA914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DACE59F3-2EE9-4012-9B0E-5DB4FD2A2FEB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D787845E-4C98-468A-9220-DFECC42D7793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F01B5A5D-AC20-4D4A-B5F5-61EADCE4E37B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EBB7AA59-7E0F-4BB4-B767-0A6C688AD926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208AE6F-C8BE-4B86-B1BE-7988067A1FC0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9BE78E02-CB57-4CB4-BB07-0110782AEE7D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2" name="Title 51">
            <a:extLst>
              <a:ext uri="{FF2B5EF4-FFF2-40B4-BE49-F238E27FC236}">
                <a16:creationId xmlns:a16="http://schemas.microsoft.com/office/drawing/2014/main" id="{A2A18BD8-58F2-477C-8542-F5233F2756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" y="457200"/>
            <a:ext cx="5950857" cy="1904999"/>
          </a:xfrm>
        </p:spPr>
        <p:txBody>
          <a:bodyPr/>
          <a:lstStyle>
            <a:lvl1pPr>
              <a:lnSpc>
                <a:spcPct val="82000"/>
              </a:lnSpc>
              <a:defRPr sz="6000"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2643365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e Statement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1AE889-7B80-4DAF-BFF1-2CAC896A36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400" y="914400"/>
            <a:ext cx="7315200" cy="2174793"/>
          </a:xfrm>
        </p:spPr>
        <p:txBody>
          <a:bodyPr/>
          <a:lstStyle>
            <a:lvl1pPr algn="ctr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71F4C7A-D51B-409D-B308-C00E68C12219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4953000" y="5133162"/>
            <a:ext cx="2286000" cy="880288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62DCCC1-7C34-4D1F-92D6-D0FF7F1B2A08}"/>
                </a:ext>
              </a:extLst>
            </p:cNvPr>
            <p:cNvSpPr/>
            <p:nvPr/>
          </p:nvSpPr>
          <p:spPr bwMode="black"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B13D148-83B4-497C-BE6D-DB88AFAE198E}"/>
                </a:ext>
              </a:extLst>
            </p:cNvPr>
            <p:cNvSpPr/>
            <p:nvPr/>
          </p:nvSpPr>
          <p:spPr bwMode="black"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9906698-4C68-4028-AC80-CD35DAA2E8F3}"/>
                </a:ext>
              </a:extLst>
            </p:cNvPr>
            <p:cNvSpPr/>
            <p:nvPr/>
          </p:nvSpPr>
          <p:spPr bwMode="black"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3AA08F4D-A063-49F1-9F3A-664ECBD5F559}"/>
                </a:ext>
              </a:extLst>
            </p:cNvPr>
            <p:cNvSpPr/>
            <p:nvPr/>
          </p:nvSpPr>
          <p:spPr bwMode="black"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0E708B89-C029-4E8F-90DC-F57AF9480A68}"/>
                </a:ext>
              </a:extLst>
            </p:cNvPr>
            <p:cNvSpPr/>
            <p:nvPr/>
          </p:nvSpPr>
          <p:spPr bwMode="black"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DDD9D23-0A6F-4E21-A479-DEAE1945838C}"/>
                </a:ext>
              </a:extLst>
            </p:cNvPr>
            <p:cNvSpPr/>
            <p:nvPr/>
          </p:nvSpPr>
          <p:spPr bwMode="black"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1724715-0A45-4BE3-A597-2830FDE28465}"/>
                </a:ext>
              </a:extLst>
            </p:cNvPr>
            <p:cNvSpPr/>
            <p:nvPr/>
          </p:nvSpPr>
          <p:spPr bwMode="black"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593EB291-8728-49FA-9E36-DE65910405B8}"/>
                </a:ext>
              </a:extLst>
            </p:cNvPr>
            <p:cNvSpPr/>
            <p:nvPr/>
          </p:nvSpPr>
          <p:spPr bwMode="black"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63A2B5F-9AD4-4AAF-AD5C-3745453610BF}"/>
                </a:ext>
              </a:extLst>
            </p:cNvPr>
            <p:cNvSpPr/>
            <p:nvPr/>
          </p:nvSpPr>
          <p:spPr bwMode="black"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29DE044-2228-4555-82E1-80DD994AA315}"/>
                </a:ext>
              </a:extLst>
            </p:cNvPr>
            <p:cNvSpPr/>
            <p:nvPr/>
          </p:nvSpPr>
          <p:spPr bwMode="black"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7F92585-5CB0-465E-966D-B7CD61BB094D}"/>
                </a:ext>
              </a:extLst>
            </p:cNvPr>
            <p:cNvSpPr/>
            <p:nvPr/>
          </p:nvSpPr>
          <p:spPr bwMode="black"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C2EF953C-F1A9-48A1-8B50-74DC119D4014}"/>
                </a:ext>
              </a:extLst>
            </p:cNvPr>
            <p:cNvSpPr/>
            <p:nvPr/>
          </p:nvSpPr>
          <p:spPr bwMode="black"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8FBF042-8DD5-4B32-9D19-E3D2DA0CDCC4}"/>
                </a:ext>
              </a:extLst>
            </p:cNvPr>
            <p:cNvSpPr/>
            <p:nvPr/>
          </p:nvSpPr>
          <p:spPr bwMode="black"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95AAF35-711C-45B3-8B74-63476C9F4CA3}"/>
                </a:ext>
              </a:extLst>
            </p:cNvPr>
            <p:cNvSpPr/>
            <p:nvPr/>
          </p:nvSpPr>
          <p:spPr bwMode="black"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E13AA7EB-514D-4A09-BD66-80053F00347D}"/>
                </a:ext>
              </a:extLst>
            </p:cNvPr>
            <p:cNvSpPr/>
            <p:nvPr/>
          </p:nvSpPr>
          <p:spPr bwMode="black"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B6801FA-EDF1-44B7-B74A-D233D1901FB2}"/>
                </a:ext>
              </a:extLst>
            </p:cNvPr>
            <p:cNvSpPr/>
            <p:nvPr/>
          </p:nvSpPr>
          <p:spPr bwMode="black"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B2E6C61-DDF2-47D9-8A25-89BB69487158}"/>
                </a:ext>
              </a:extLst>
            </p:cNvPr>
            <p:cNvSpPr/>
            <p:nvPr/>
          </p:nvSpPr>
          <p:spPr bwMode="black"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6DF9C6F1-437C-49ED-BDB4-BFA7F469DBE7}"/>
                </a:ext>
              </a:extLst>
            </p:cNvPr>
            <p:cNvSpPr/>
            <p:nvPr/>
          </p:nvSpPr>
          <p:spPr bwMode="black"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1980F842-8843-4ECD-BDE7-3CD6D542F555}"/>
                </a:ext>
              </a:extLst>
            </p:cNvPr>
            <p:cNvSpPr/>
            <p:nvPr/>
          </p:nvSpPr>
          <p:spPr bwMode="black"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5814236-BEAA-4CFC-B101-3AEF7AA8B77B}"/>
                </a:ext>
              </a:extLst>
            </p:cNvPr>
            <p:cNvSpPr/>
            <p:nvPr/>
          </p:nvSpPr>
          <p:spPr bwMode="black"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ED7C96E-27D1-4907-930F-0FBC0B6CF852}"/>
                </a:ext>
              </a:extLst>
            </p:cNvPr>
            <p:cNvSpPr/>
            <p:nvPr/>
          </p:nvSpPr>
          <p:spPr bwMode="black"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7858C7E-AF70-4F67-B2E8-5ADA3F580674}"/>
                </a:ext>
              </a:extLst>
            </p:cNvPr>
            <p:cNvSpPr/>
            <p:nvPr/>
          </p:nvSpPr>
          <p:spPr bwMode="black"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C38C734-4415-4F9B-B96B-AE7393B02692}"/>
                </a:ext>
              </a:extLst>
            </p:cNvPr>
            <p:cNvSpPr/>
            <p:nvPr/>
          </p:nvSpPr>
          <p:spPr bwMode="black"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BCC10D7-F9B5-4884-95E0-76FFA954D306}"/>
                </a:ext>
              </a:extLst>
            </p:cNvPr>
            <p:cNvSpPr/>
            <p:nvPr/>
          </p:nvSpPr>
          <p:spPr bwMode="black"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C3432CC-EC60-49E1-82E4-7E2CBE3EE40A}"/>
                </a:ext>
              </a:extLst>
            </p:cNvPr>
            <p:cNvSpPr/>
            <p:nvPr/>
          </p:nvSpPr>
          <p:spPr bwMode="black"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96C76B7-245D-481E-B35F-7C1ECEB9548A}"/>
                </a:ext>
              </a:extLst>
            </p:cNvPr>
            <p:cNvSpPr/>
            <p:nvPr/>
          </p:nvSpPr>
          <p:spPr bwMode="black"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8338E1C-6445-4350-AB97-162B440CB474}"/>
                </a:ext>
              </a:extLst>
            </p:cNvPr>
            <p:cNvSpPr/>
            <p:nvPr/>
          </p:nvSpPr>
          <p:spPr bwMode="black"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520C9512-69D6-40AE-A46C-46C7A8C18D0E}"/>
                </a:ext>
              </a:extLst>
            </p:cNvPr>
            <p:cNvSpPr/>
            <p:nvPr/>
          </p:nvSpPr>
          <p:spPr bwMode="black"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76824091-EA77-4290-B5D8-D9ABB8E8F443}"/>
                </a:ext>
              </a:extLst>
            </p:cNvPr>
            <p:cNvSpPr/>
            <p:nvPr/>
          </p:nvSpPr>
          <p:spPr bwMode="black"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71747A0A-4A0D-474C-A3A8-8C14A8B72D4D}"/>
                </a:ext>
              </a:extLst>
            </p:cNvPr>
            <p:cNvSpPr/>
            <p:nvPr/>
          </p:nvSpPr>
          <p:spPr bwMode="black"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5536A8A-2076-4C05-9C5C-7E9AD95BA4CB}"/>
                </a:ext>
              </a:extLst>
            </p:cNvPr>
            <p:cNvSpPr/>
            <p:nvPr/>
          </p:nvSpPr>
          <p:spPr bwMode="black"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A9620A82-35FD-44A4-8994-CE526DA47B24}"/>
                </a:ext>
              </a:extLst>
            </p:cNvPr>
            <p:cNvSpPr/>
            <p:nvPr/>
          </p:nvSpPr>
          <p:spPr bwMode="black"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26D7F20F-A650-4743-9FC0-A2573AB641DE}"/>
                </a:ext>
              </a:extLst>
            </p:cNvPr>
            <p:cNvSpPr/>
            <p:nvPr/>
          </p:nvSpPr>
          <p:spPr bwMode="black"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DCBE3A4A-2817-40F0-9829-E5E0844F1DDF}"/>
                </a:ext>
              </a:extLst>
            </p:cNvPr>
            <p:cNvSpPr/>
            <p:nvPr/>
          </p:nvSpPr>
          <p:spPr bwMode="black"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71994F37-B45E-48F6-A426-16BA0C3A0618}"/>
                </a:ext>
              </a:extLst>
            </p:cNvPr>
            <p:cNvSpPr/>
            <p:nvPr/>
          </p:nvSpPr>
          <p:spPr bwMode="black"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127A624-42CC-4E96-BDC2-D7800A80C6A5}"/>
                </a:ext>
              </a:extLst>
            </p:cNvPr>
            <p:cNvSpPr/>
            <p:nvPr/>
          </p:nvSpPr>
          <p:spPr bwMode="black"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5EB8DCA6-2948-47B4-BC21-51F554D02642}"/>
                </a:ext>
              </a:extLst>
            </p:cNvPr>
            <p:cNvSpPr/>
            <p:nvPr/>
          </p:nvSpPr>
          <p:spPr bwMode="black"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987E6C4C-5076-4CC1-8A31-4708BB874E99}"/>
                </a:ext>
              </a:extLst>
            </p:cNvPr>
            <p:cNvSpPr/>
            <p:nvPr/>
          </p:nvSpPr>
          <p:spPr bwMode="black"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55A557F2-2B51-4A94-8BAD-38C184786E6F}"/>
                </a:ext>
              </a:extLst>
            </p:cNvPr>
            <p:cNvSpPr/>
            <p:nvPr/>
          </p:nvSpPr>
          <p:spPr bwMode="black"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91CD0877-E703-46CC-91C2-0B64DCDDC22E}"/>
                </a:ext>
              </a:extLst>
            </p:cNvPr>
            <p:cNvSpPr/>
            <p:nvPr/>
          </p:nvSpPr>
          <p:spPr bwMode="black"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5D27D3A3-0135-48AE-8310-53F0B4338891}"/>
                </a:ext>
              </a:extLst>
            </p:cNvPr>
            <p:cNvSpPr/>
            <p:nvPr/>
          </p:nvSpPr>
          <p:spPr bwMode="black"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D3100DEA-196D-4FF4-B6C0-73F96315C0B0}"/>
                </a:ext>
              </a:extLst>
            </p:cNvPr>
            <p:cNvSpPr/>
            <p:nvPr/>
          </p:nvSpPr>
          <p:spPr bwMode="black"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9" name="Text Placeholder 53">
            <a:extLst>
              <a:ext uri="{FF2B5EF4-FFF2-40B4-BE49-F238E27FC236}">
                <a16:creationId xmlns:a16="http://schemas.microsoft.com/office/drawing/2014/main" id="{5B8EF472-40A4-439A-B62A-2B3D53CEFD5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38400" y="3422650"/>
            <a:ext cx="7315200" cy="64008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04402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Circ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71D965E-4C58-47A3-8D87-9119AC8962E8}"/>
              </a:ext>
            </a:extLst>
          </p:cNvPr>
          <p:cNvSpPr/>
          <p:nvPr/>
        </p:nvSpPr>
        <p:spPr bwMode="white">
          <a:xfrm>
            <a:off x="1" y="0"/>
            <a:ext cx="5538665" cy="6858000"/>
          </a:xfrm>
          <a:custGeom>
            <a:avLst/>
            <a:gdLst>
              <a:gd name="connsiteX0" fmla="*/ 0 w 5538665"/>
              <a:gd name="connsiteY0" fmla="*/ 0 h 6853445"/>
              <a:gd name="connsiteX1" fmla="*/ 3789661 w 5538665"/>
              <a:gd name="connsiteY1" fmla="*/ 0 h 6853445"/>
              <a:gd name="connsiteX2" fmla="*/ 3864039 w 5538665"/>
              <a:gd name="connsiteY2" fmla="*/ 48915 h 6853445"/>
              <a:gd name="connsiteX3" fmla="*/ 5522925 w 5538665"/>
              <a:gd name="connsiteY3" fmla="*/ 3895777 h 6853445"/>
              <a:gd name="connsiteX4" fmla="*/ 3442584 w 5538665"/>
              <a:gd name="connsiteY4" fmla="*/ 6852853 h 6853445"/>
              <a:gd name="connsiteX5" fmla="*/ 3441243 w 5538665"/>
              <a:gd name="connsiteY5" fmla="*/ 6853445 h 6853445"/>
              <a:gd name="connsiteX6" fmla="*/ 0 w 5538665"/>
              <a:gd name="connsiteY6" fmla="*/ 6853445 h 6853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38665" h="6853445">
                <a:moveTo>
                  <a:pt x="0" y="0"/>
                </a:moveTo>
                <a:lnTo>
                  <a:pt x="3789661" y="0"/>
                </a:lnTo>
                <a:lnTo>
                  <a:pt x="3864039" y="48915"/>
                </a:lnTo>
                <a:cubicBezTo>
                  <a:pt x="5036717" y="905415"/>
                  <a:pt x="5646593" y="2400600"/>
                  <a:pt x="5522925" y="3895777"/>
                </a:cubicBezTo>
                <a:cubicBezTo>
                  <a:pt x="5403483" y="5448579"/>
                  <a:pt x="4490294" y="6359136"/>
                  <a:pt x="3442584" y="6852853"/>
                </a:cubicBezTo>
                <a:lnTo>
                  <a:pt x="3441243" y="6853445"/>
                </a:lnTo>
                <a:lnTo>
                  <a:pt x="0" y="6853445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0008707-373C-4868-B058-05072F020C5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459602" y="0"/>
            <a:ext cx="8732399" cy="6858000"/>
          </a:xfrm>
          <a:custGeom>
            <a:avLst/>
            <a:gdLst>
              <a:gd name="connsiteX0" fmla="*/ 343919 w 8732399"/>
              <a:gd name="connsiteY0" fmla="*/ 0 h 6858000"/>
              <a:gd name="connsiteX1" fmla="*/ 8732399 w 8732399"/>
              <a:gd name="connsiteY1" fmla="*/ 0 h 6858000"/>
              <a:gd name="connsiteX2" fmla="*/ 8732399 w 8732399"/>
              <a:gd name="connsiteY2" fmla="*/ 6858000 h 6858000"/>
              <a:gd name="connsiteX3" fmla="*/ 0 w 8732399"/>
              <a:gd name="connsiteY3" fmla="*/ 6858000 h 6858000"/>
              <a:gd name="connsiteX4" fmla="*/ 177693 w 8732399"/>
              <a:gd name="connsiteY4" fmla="*/ 6768713 h 6858000"/>
              <a:gd name="connsiteX5" fmla="*/ 2063325 w 8732399"/>
              <a:gd name="connsiteY5" fmla="*/ 3899618 h 6858000"/>
              <a:gd name="connsiteX6" fmla="*/ 2077959 w 8732399"/>
              <a:gd name="connsiteY6" fmla="*/ 3618494 h 6858000"/>
              <a:gd name="connsiteX7" fmla="*/ 2077954 w 8732399"/>
              <a:gd name="connsiteY7" fmla="*/ 3617951 h 6858000"/>
              <a:gd name="connsiteX8" fmla="*/ 2077959 w 8732399"/>
              <a:gd name="connsiteY8" fmla="*/ 3617865 h 6858000"/>
              <a:gd name="connsiteX9" fmla="*/ 2076397 w 8732399"/>
              <a:gd name="connsiteY9" fmla="*/ 3429041 h 6858000"/>
              <a:gd name="connsiteX10" fmla="*/ 2075650 w 8732399"/>
              <a:gd name="connsiteY10" fmla="*/ 3338309 h 6858000"/>
              <a:gd name="connsiteX11" fmla="*/ 404439 w 8732399"/>
              <a:gd name="connsiteY11" fmla="*/ 3993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732399" h="6858000">
                <a:moveTo>
                  <a:pt x="343919" y="0"/>
                </a:moveTo>
                <a:lnTo>
                  <a:pt x="8732399" y="0"/>
                </a:lnTo>
                <a:lnTo>
                  <a:pt x="8732399" y="6858000"/>
                </a:lnTo>
                <a:lnTo>
                  <a:pt x="0" y="6858000"/>
                </a:lnTo>
                <a:lnTo>
                  <a:pt x="177693" y="6768713"/>
                </a:lnTo>
                <a:cubicBezTo>
                  <a:pt x="1141742" y="6254472"/>
                  <a:pt x="1951349" y="5360222"/>
                  <a:pt x="2063325" y="3899618"/>
                </a:cubicBezTo>
                <a:cubicBezTo>
                  <a:pt x="2071055" y="3805858"/>
                  <a:pt x="2075919" y="3712098"/>
                  <a:pt x="2077959" y="3618494"/>
                </a:cubicBezTo>
                <a:lnTo>
                  <a:pt x="2077954" y="3617951"/>
                </a:lnTo>
                <a:lnTo>
                  <a:pt x="2077959" y="3617865"/>
                </a:lnTo>
                <a:lnTo>
                  <a:pt x="2076397" y="3429041"/>
                </a:lnTo>
                <a:lnTo>
                  <a:pt x="2075650" y="3338309"/>
                </a:lnTo>
                <a:cubicBezTo>
                  <a:pt x="2025731" y="2034428"/>
                  <a:pt x="1430533" y="791870"/>
                  <a:pt x="404439" y="39934"/>
                </a:cubicBezTo>
                <a:close/>
              </a:path>
            </a:pathLst>
          </a:custGeom>
          <a:solidFill>
            <a:srgbClr val="D9D9D9"/>
          </a:solidFill>
        </p:spPr>
        <p:txBody>
          <a:bodyPr wrap="square" lIns="4663440" tIns="0" r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full slide image is 1280 x 7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6AAFD9-7181-4BA5-A2B7-821424B513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914400"/>
            <a:ext cx="4389120" cy="2476500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53">
            <a:extLst>
              <a:ext uri="{FF2B5EF4-FFF2-40B4-BE49-F238E27FC236}">
                <a16:creationId xmlns:a16="http://schemas.microsoft.com/office/drawing/2014/main" id="{D275F703-BAB3-4AC2-B21C-F4D222E298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1333" y="3714750"/>
            <a:ext cx="4389120" cy="7810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Subtitle text (optional)</a:t>
            </a:r>
          </a:p>
        </p:txBody>
      </p:sp>
    </p:spTree>
    <p:extLst>
      <p:ext uri="{BB962C8B-B14F-4D97-AF65-F5344CB8AC3E}">
        <p14:creationId xmlns:p14="http://schemas.microsoft.com/office/powerpoint/2010/main" val="9155528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8BD37D-F050-4443-A487-60726AD46F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884B931-F05F-4E7D-B4A8-15A4ABE7DE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E0D7A9-D51E-4346-B207-B8159C3E19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FEB38-5A4E-45E5-A640-26D00BC1F3AB}" type="datetimeFigureOut">
              <a:rPr lang="en-US"/>
              <a:t>6/1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A6C9F8-2065-4458-BCFA-8C9ECE20BB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6B46DC-8DF4-4C60-9170-18A1563C49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F95A1E-4E3E-4AAD-A517-7DAD9580D6B2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606635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1DA1F28-9C93-4336-8693-7CB6A06B6BA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0655300" y="457200"/>
            <a:ext cx="1155700" cy="55626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ECB423A-9022-4A15-B482-E98FE360EDA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81000" y="457200"/>
            <a:ext cx="10033000" cy="5562600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132CDD-31EE-4AA1-8BDA-B32EF5407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FEB38-5A4E-45E5-A640-26D00BC1F3AB}" type="datetimeFigureOut">
              <a:rPr lang="en-US"/>
              <a:t>6/1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3E4C41-B1D2-4534-9A0D-8BA94B6B8F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A2C4A0-B694-46FC-BC70-9DD74904A4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F95A1E-4E3E-4AAD-A517-7DAD9580D6B2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04743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&amp; Tex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/>
          <p:cNvPicPr>
            <a:picLocks noChangeAspect="1"/>
          </p:cNvPicPr>
          <p:nvPr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88889"/>
          <a:stretch/>
        </p:blipFill>
        <p:spPr>
          <a:xfrm>
            <a:off x="0" y="1"/>
            <a:ext cx="12189224" cy="641974"/>
          </a:xfrm>
          <a:prstGeom prst="rect">
            <a:avLst/>
          </a:prstGeom>
        </p:spPr>
      </p:pic>
      <p:sp>
        <p:nvSpPr>
          <p:cNvPr id="37" name="Rectangle 36"/>
          <p:cNvSpPr/>
          <p:nvPr/>
        </p:nvSpPr>
        <p:spPr>
          <a:xfrm>
            <a:off x="-1" y="572338"/>
            <a:ext cx="12192000" cy="144000"/>
          </a:xfrm>
          <a:prstGeom prst="rect">
            <a:avLst/>
          </a:prstGeom>
          <a:gradFill>
            <a:gsLst>
              <a:gs pos="14000">
                <a:srgbClr val="4B3085"/>
              </a:gs>
              <a:gs pos="100000">
                <a:srgbClr val="88368B"/>
              </a:gs>
            </a:gsLst>
            <a:lin ang="2100000" scaled="0"/>
          </a:gradFill>
        </p:spPr>
        <p:txBody>
          <a:bodyPr tIns="179953" anchor="t">
            <a:normAutofit fontScale="25000" lnSpcReduction="20000"/>
          </a:bodyPr>
          <a:lstStyle/>
          <a:p>
            <a:pPr algn="ctr" defTabSz="892335">
              <a:lnSpc>
                <a:spcPct val="80000"/>
              </a:lnSpc>
              <a:spcBef>
                <a:spcPct val="0"/>
              </a:spcBef>
            </a:pPr>
            <a:endParaRPr lang="en-US" sz="1999" b="1" cap="all" spc="-50">
              <a:solidFill>
                <a:srgbClr val="5F5F5F"/>
              </a:solidFill>
              <a:latin typeface="Arial Black" charset="0"/>
              <a:ea typeface="Arial Black" charset="0"/>
              <a:cs typeface="Arial Black" charset="0"/>
            </a:endParaRPr>
          </a:p>
        </p:txBody>
      </p:sp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27" y="1402"/>
          <a:ext cx="1924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7" y="1402"/>
                        <a:ext cx="1924" cy="1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27" y="1402"/>
          <a:ext cx="1924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9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7" y="1402"/>
                        <a:ext cx="1924" cy="1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32625" y="152400"/>
            <a:ext cx="11718988" cy="40361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8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232625" y="890976"/>
            <a:ext cx="11718988" cy="5119347"/>
          </a:xfrm>
          <a:prstGeom prst="rect">
            <a:avLst/>
          </a:prstGeom>
        </p:spPr>
        <p:txBody>
          <a:bodyPr vert="horz" lIns="83171" tIns="41586" rIns="83171" bIns="41586" rtlCol="0" anchor="t" anchorCtr="0">
            <a:normAutofit/>
          </a:bodyPr>
          <a:lstStyle>
            <a:lvl1pPr>
              <a:defRPr lang="en-US" dirty="0">
                <a:solidFill>
                  <a:schemeClr val="bg1">
                    <a:lumMod val="25000"/>
                  </a:schemeClr>
                </a:solidFill>
              </a:defRPr>
            </a:lvl1pPr>
            <a:lvl2pPr>
              <a:defRPr lang="en-US" dirty="0">
                <a:solidFill>
                  <a:schemeClr val="bg1">
                    <a:lumMod val="25000"/>
                  </a:schemeClr>
                </a:solidFill>
              </a:defRPr>
            </a:lvl2pPr>
            <a:lvl3pPr>
              <a:defRPr lang="en-US" dirty="0">
                <a:solidFill>
                  <a:schemeClr val="bg1">
                    <a:lumMod val="25000"/>
                  </a:schemeClr>
                </a:solidFill>
              </a:defRPr>
            </a:lvl3pPr>
            <a:lvl4pPr>
              <a:defRPr lang="en-US" sz="1400" dirty="0">
                <a:solidFill>
                  <a:schemeClr val="bg1">
                    <a:lumMod val="25000"/>
                  </a:schemeClr>
                </a:solidFill>
              </a:defRPr>
            </a:lvl4pPr>
          </a:lstStyle>
          <a:p>
            <a:pPr lvl="0">
              <a:buBlip>
                <a:blip r:embed="rId9"/>
              </a:buBlip>
            </a:pPr>
            <a:r>
              <a:rPr lang="en-US"/>
              <a:t>Click to edit Master text styles</a:t>
            </a:r>
          </a:p>
          <a:p>
            <a:pPr lvl="1">
              <a:buBlip>
                <a:blip r:embed="rId9"/>
              </a:buBlip>
            </a:pPr>
            <a:r>
              <a:rPr lang="en-US"/>
              <a:t>Second level</a:t>
            </a:r>
          </a:p>
          <a:p>
            <a:pPr lvl="2">
              <a:buBlip>
                <a:blip r:embed="rId9"/>
              </a:buBlip>
            </a:pPr>
            <a:r>
              <a:rPr lang="en-US"/>
              <a:t>Third level</a:t>
            </a:r>
          </a:p>
          <a:p>
            <a:pPr lvl="3">
              <a:buBlip>
                <a:blip r:embed="rId9"/>
              </a:buBlip>
            </a:pPr>
            <a:r>
              <a:rPr lang="en-US"/>
              <a:t>Four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0CFB950-2E58-9341-AAED-98980D513CEF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48" y="6303148"/>
            <a:ext cx="1023584" cy="575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3708030"/>
      </p:ext>
    </p:extLst>
  </p:cSld>
  <p:clrMapOvr>
    <a:masterClrMapping/>
  </p:clrMapOvr>
  <p:hf hd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Circle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655B1FCA-4D49-4122-B6E9-D550AA0C5E7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2"/>
            <a:ext cx="5266036" cy="6857999"/>
          </a:xfrm>
          <a:custGeom>
            <a:avLst/>
            <a:gdLst>
              <a:gd name="connsiteX0" fmla="*/ 0 w 5266036"/>
              <a:gd name="connsiteY0" fmla="*/ 0 h 6857999"/>
              <a:gd name="connsiteX1" fmla="*/ 3014696 w 5266036"/>
              <a:gd name="connsiteY1" fmla="*/ 0 h 6857999"/>
              <a:gd name="connsiteX2" fmla="*/ 3040982 w 5266036"/>
              <a:gd name="connsiteY2" fmla="*/ 11408 h 6857999"/>
              <a:gd name="connsiteX3" fmla="*/ 5250901 w 5266036"/>
              <a:gd name="connsiteY3" fmla="*/ 4085922 h 6857999"/>
              <a:gd name="connsiteX4" fmla="*/ 3435696 w 5266036"/>
              <a:gd name="connsiteY4" fmla="*/ 6839477 h 6857999"/>
              <a:gd name="connsiteX5" fmla="*/ 3398838 w 5266036"/>
              <a:gd name="connsiteY5" fmla="*/ 6857999 h 6857999"/>
              <a:gd name="connsiteX6" fmla="*/ 0 w 5266036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66036" h="6857999">
                <a:moveTo>
                  <a:pt x="0" y="0"/>
                </a:moveTo>
                <a:lnTo>
                  <a:pt x="3014696" y="0"/>
                </a:lnTo>
                <a:lnTo>
                  <a:pt x="3040982" y="11408"/>
                </a:lnTo>
                <a:cubicBezTo>
                  <a:pt x="4562919" y="717837"/>
                  <a:pt x="5390071" y="2397951"/>
                  <a:pt x="5250901" y="4085922"/>
                </a:cubicBezTo>
                <a:cubicBezTo>
                  <a:pt x="5138669" y="5484335"/>
                  <a:pt x="4361602" y="6343612"/>
                  <a:pt x="3435696" y="6839477"/>
                </a:cubicBezTo>
                <a:lnTo>
                  <a:pt x="3398838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tIns="365760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half slide image is 640 x 720 pixels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6608E2E-E744-4878-A234-60F6B6711C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3306349"/>
            <a:ext cx="5638800" cy="72208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Subtitle or Presenter Nam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534CB02-81D9-4803-9899-8E6A2EABA9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457200"/>
            <a:ext cx="5715000" cy="2565401"/>
          </a:xfrm>
        </p:spPr>
        <p:txBody>
          <a:bodyPr/>
          <a:lstStyle>
            <a:lvl1pPr>
              <a:lnSpc>
                <a:spcPct val="82000"/>
              </a:lnSpc>
              <a:defRPr sz="6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A3D9FA7-D2DB-46FB-BE00-B926A730276E}"/>
              </a:ext>
            </a:extLst>
          </p:cNvPr>
          <p:cNvGrpSpPr>
            <a:grpSpLocks noChangeAspect="1"/>
          </p:cNvGrpSpPr>
          <p:nvPr/>
        </p:nvGrpSpPr>
        <p:grpSpPr>
          <a:xfrm>
            <a:off x="9544152" y="5543531"/>
            <a:ext cx="2286000" cy="880288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958E2998-F3DA-4CEC-9A7D-6C088E1B4977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94CA604-4385-462E-97F5-497C4C504015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0115F7ED-889E-4F9E-A1EC-B09712AAF8F4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F6E4E17-2397-4CA3-ABA9-61E3BD559404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F13A5CD1-6182-4595-B8A8-D785063BF716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5D0FE459-FDBA-4224-BF8C-7FB56F088B01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792F31E-ABF9-488A-BA83-294468B5A968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33162D5-7247-412F-A7EA-E2527FDDE86B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2A5EB49-78D9-47C5-8F4C-92D82FF96117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153BD94-FC6C-491C-87CC-FE707C871FD4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BC82946-E68D-4E5D-A508-7F6DEA272480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1FFC926-DCB2-4DFD-8921-31D3740A1576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7D561CC-A307-418B-BB5B-2E9F6029C1FE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3B41DF09-4DE2-4BA3-8850-42F1FE05A316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2F743D14-4DD4-4BBF-9C77-D2CF60D0443C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9390E2C-0C7D-4CE4-9EDE-DDC867E57F7C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4A0F7AE-90E5-429D-94C7-CEF924483DC2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975E2EAA-30F6-4FD9-AD9B-7853CD78081E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527C85E-1B82-4FE6-BBB7-5F2120F9A818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B55D4A9-FB64-4681-89C3-FE7FC1BA5D7D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0CF25C3-5B20-4C65-97E6-2FCBDCF69FA5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5C2C835-ACA7-4713-BA24-2EC3F725F54B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D839F09-6869-4782-997A-C1DB13D3FAFD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3EAC811-8309-4A43-8AAB-7D47E24129FF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B8AA284-744C-4339-8893-D6368FD10AAE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C865B7A3-B595-43E8-9EBD-1FED225C9FCB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BD1848C6-7FFC-4763-9871-A8C7CE2CBD6C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397BA53C-5927-4890-95E0-16501B2A2A63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3C9EF25D-B45E-483F-A696-70FB19DAB924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2AC84430-0710-42C3-979B-215E8CEF9C69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42A3273-E3DC-4FAE-9AFF-EC913E562EE9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90D7267-1414-4CB3-9CEF-BEBE0366111F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0F39874A-9569-4901-8D42-9F6951FAB3F9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B56393A6-A398-46C6-84A8-A69133016DD7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CC240AB8-C073-4DBB-B4F1-A7BAF3CDDD94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256CA01-A592-4EFF-B363-73DF3F9E94E9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0841B5E-00CD-4F84-848E-6459D72CA08D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9BA4167D-13BE-4368-9C93-86A0A7BA3944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4CD57581-16D5-457C-AB8A-C39E91AF7848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9A128766-36EC-4898-BC9F-3A0ED7FC0E84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3894E878-CEB4-4E65-853B-05717F1F47A5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64463117-BF45-4116-9B90-88E469EA87AD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811966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Full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Picture Placeholder 56">
            <a:extLst>
              <a:ext uri="{FF2B5EF4-FFF2-40B4-BE49-F238E27FC236}">
                <a16:creationId xmlns:a16="http://schemas.microsoft.com/office/drawing/2014/main" id="{2410F133-604A-4AC7-8A06-35B16808E8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459602" y="0"/>
            <a:ext cx="8732399" cy="6858000"/>
          </a:xfrm>
          <a:custGeom>
            <a:avLst/>
            <a:gdLst>
              <a:gd name="connsiteX0" fmla="*/ 343919 w 8732399"/>
              <a:gd name="connsiteY0" fmla="*/ 0 h 6858000"/>
              <a:gd name="connsiteX1" fmla="*/ 8732399 w 8732399"/>
              <a:gd name="connsiteY1" fmla="*/ 0 h 6858000"/>
              <a:gd name="connsiteX2" fmla="*/ 8732399 w 8732399"/>
              <a:gd name="connsiteY2" fmla="*/ 6858000 h 6858000"/>
              <a:gd name="connsiteX3" fmla="*/ 0 w 8732399"/>
              <a:gd name="connsiteY3" fmla="*/ 6858000 h 6858000"/>
              <a:gd name="connsiteX4" fmla="*/ 177693 w 8732399"/>
              <a:gd name="connsiteY4" fmla="*/ 6768713 h 6858000"/>
              <a:gd name="connsiteX5" fmla="*/ 2063325 w 8732399"/>
              <a:gd name="connsiteY5" fmla="*/ 3899618 h 6858000"/>
              <a:gd name="connsiteX6" fmla="*/ 2077959 w 8732399"/>
              <a:gd name="connsiteY6" fmla="*/ 3618494 h 6858000"/>
              <a:gd name="connsiteX7" fmla="*/ 2077954 w 8732399"/>
              <a:gd name="connsiteY7" fmla="*/ 3617951 h 6858000"/>
              <a:gd name="connsiteX8" fmla="*/ 2077959 w 8732399"/>
              <a:gd name="connsiteY8" fmla="*/ 3617865 h 6858000"/>
              <a:gd name="connsiteX9" fmla="*/ 2076397 w 8732399"/>
              <a:gd name="connsiteY9" fmla="*/ 3429041 h 6858000"/>
              <a:gd name="connsiteX10" fmla="*/ 2075650 w 8732399"/>
              <a:gd name="connsiteY10" fmla="*/ 3338309 h 6858000"/>
              <a:gd name="connsiteX11" fmla="*/ 404439 w 8732399"/>
              <a:gd name="connsiteY11" fmla="*/ 3993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732399" h="6858000">
                <a:moveTo>
                  <a:pt x="343919" y="0"/>
                </a:moveTo>
                <a:lnTo>
                  <a:pt x="8732399" y="0"/>
                </a:lnTo>
                <a:lnTo>
                  <a:pt x="8732399" y="6858000"/>
                </a:lnTo>
                <a:lnTo>
                  <a:pt x="0" y="6858000"/>
                </a:lnTo>
                <a:lnTo>
                  <a:pt x="177693" y="6768713"/>
                </a:lnTo>
                <a:cubicBezTo>
                  <a:pt x="1141742" y="6254472"/>
                  <a:pt x="1951349" y="5360222"/>
                  <a:pt x="2063325" y="3899618"/>
                </a:cubicBezTo>
                <a:cubicBezTo>
                  <a:pt x="2071055" y="3805858"/>
                  <a:pt x="2075919" y="3712098"/>
                  <a:pt x="2077959" y="3618494"/>
                </a:cubicBezTo>
                <a:lnTo>
                  <a:pt x="2077954" y="3617951"/>
                </a:lnTo>
                <a:lnTo>
                  <a:pt x="2077959" y="3617865"/>
                </a:lnTo>
                <a:lnTo>
                  <a:pt x="2076397" y="3429041"/>
                </a:lnTo>
                <a:lnTo>
                  <a:pt x="2075650" y="3338309"/>
                </a:lnTo>
                <a:cubicBezTo>
                  <a:pt x="2025731" y="2034428"/>
                  <a:pt x="1430533" y="791870"/>
                  <a:pt x="404439" y="39934"/>
                </a:cubicBezTo>
                <a:close/>
              </a:path>
            </a:pathLst>
          </a:custGeom>
          <a:solidFill>
            <a:srgbClr val="D9D9D9"/>
          </a:solidFill>
        </p:spPr>
        <p:txBody>
          <a:bodyPr wrap="square" lIns="4663440" t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full slide image is 1280 x 7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683E8B-89CE-4EF5-BBB9-62368C3820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660503"/>
            <a:ext cx="4389120" cy="2391042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99B91ED-E0FA-43C7-8B4E-31F9017845E6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609630" y="457200"/>
            <a:ext cx="2286000" cy="880288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9AB0108-0379-4A18-900E-6A61DF3018CE}"/>
                </a:ext>
              </a:extLst>
            </p:cNvPr>
            <p:cNvSpPr/>
            <p:nvPr/>
          </p:nvSpPr>
          <p:spPr bwMode="black"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F2F77B2-9024-4ACC-A728-CA3AB71F5A8E}"/>
                </a:ext>
              </a:extLst>
            </p:cNvPr>
            <p:cNvSpPr/>
            <p:nvPr/>
          </p:nvSpPr>
          <p:spPr bwMode="black"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0BB7A39-4E40-4061-A76F-7B79D98B54EE}"/>
                </a:ext>
              </a:extLst>
            </p:cNvPr>
            <p:cNvSpPr/>
            <p:nvPr/>
          </p:nvSpPr>
          <p:spPr bwMode="black"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5441B9D-EA57-4F40-8DCE-CBEF348C3A0F}"/>
                </a:ext>
              </a:extLst>
            </p:cNvPr>
            <p:cNvSpPr/>
            <p:nvPr/>
          </p:nvSpPr>
          <p:spPr bwMode="black"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9AE4E4D0-FF92-495C-9CD5-354ED8923672}"/>
                </a:ext>
              </a:extLst>
            </p:cNvPr>
            <p:cNvSpPr/>
            <p:nvPr/>
          </p:nvSpPr>
          <p:spPr bwMode="black"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D4AF130-6E23-4412-BC70-EE04DCC1545D}"/>
                </a:ext>
              </a:extLst>
            </p:cNvPr>
            <p:cNvSpPr/>
            <p:nvPr/>
          </p:nvSpPr>
          <p:spPr bwMode="black"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2ABE821-58B4-49BB-A652-52A61F3BD10D}"/>
                </a:ext>
              </a:extLst>
            </p:cNvPr>
            <p:cNvSpPr/>
            <p:nvPr/>
          </p:nvSpPr>
          <p:spPr bwMode="black"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0D66007-2868-471F-B969-3FB8E82DCC4E}"/>
                </a:ext>
              </a:extLst>
            </p:cNvPr>
            <p:cNvSpPr/>
            <p:nvPr/>
          </p:nvSpPr>
          <p:spPr bwMode="black"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6270846-6F4C-40AA-99D4-EF9934A7E399}"/>
                </a:ext>
              </a:extLst>
            </p:cNvPr>
            <p:cNvSpPr/>
            <p:nvPr/>
          </p:nvSpPr>
          <p:spPr bwMode="black"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703D0E3-2D30-4032-9E53-A7EB9F4BC9C3}"/>
                </a:ext>
              </a:extLst>
            </p:cNvPr>
            <p:cNvSpPr/>
            <p:nvPr/>
          </p:nvSpPr>
          <p:spPr bwMode="black"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FD40A0A-73C4-4955-9FF6-0EEB215FD392}"/>
                </a:ext>
              </a:extLst>
            </p:cNvPr>
            <p:cNvSpPr/>
            <p:nvPr/>
          </p:nvSpPr>
          <p:spPr bwMode="black"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904D811-319A-4186-8A59-457C07D35712}"/>
                </a:ext>
              </a:extLst>
            </p:cNvPr>
            <p:cNvSpPr/>
            <p:nvPr/>
          </p:nvSpPr>
          <p:spPr bwMode="black"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70FC748-AD59-44E9-9226-9F3F398D3C6A}"/>
                </a:ext>
              </a:extLst>
            </p:cNvPr>
            <p:cNvSpPr/>
            <p:nvPr/>
          </p:nvSpPr>
          <p:spPr bwMode="black"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67A6B2FE-A112-480D-A8E6-6ED513559C90}"/>
                </a:ext>
              </a:extLst>
            </p:cNvPr>
            <p:cNvSpPr/>
            <p:nvPr/>
          </p:nvSpPr>
          <p:spPr bwMode="black"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DBBC33B-5E76-47D0-9997-B175DC5CA88D}"/>
                </a:ext>
              </a:extLst>
            </p:cNvPr>
            <p:cNvSpPr/>
            <p:nvPr/>
          </p:nvSpPr>
          <p:spPr bwMode="black"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F5FE826-C991-4781-9C3E-F5243696119B}"/>
                </a:ext>
              </a:extLst>
            </p:cNvPr>
            <p:cNvSpPr/>
            <p:nvPr/>
          </p:nvSpPr>
          <p:spPr bwMode="black"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EFB7C3C-C9B9-4A7C-9802-BE61D791106C}"/>
                </a:ext>
              </a:extLst>
            </p:cNvPr>
            <p:cNvSpPr/>
            <p:nvPr/>
          </p:nvSpPr>
          <p:spPr bwMode="black"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CE6058B8-6C4B-4DD3-9D56-2A32C09E480C}"/>
                </a:ext>
              </a:extLst>
            </p:cNvPr>
            <p:cNvSpPr/>
            <p:nvPr/>
          </p:nvSpPr>
          <p:spPr bwMode="black"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7BDDCE3B-CBF0-46A0-95E3-BE2D1DB5CC39}"/>
                </a:ext>
              </a:extLst>
            </p:cNvPr>
            <p:cNvSpPr/>
            <p:nvPr/>
          </p:nvSpPr>
          <p:spPr bwMode="black"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CA898F72-C445-4743-97BA-4379F1696CC7}"/>
                </a:ext>
              </a:extLst>
            </p:cNvPr>
            <p:cNvSpPr/>
            <p:nvPr/>
          </p:nvSpPr>
          <p:spPr bwMode="black"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FC0A55B-CEB1-43A3-BD42-9118CCCC4997}"/>
                </a:ext>
              </a:extLst>
            </p:cNvPr>
            <p:cNvSpPr/>
            <p:nvPr/>
          </p:nvSpPr>
          <p:spPr bwMode="black"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B50D7FF-ABF7-48B0-B01A-BDAB3E56A59C}"/>
                </a:ext>
              </a:extLst>
            </p:cNvPr>
            <p:cNvSpPr/>
            <p:nvPr/>
          </p:nvSpPr>
          <p:spPr bwMode="black"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5498461-453E-4B01-AC09-28EB4FE30933}"/>
                </a:ext>
              </a:extLst>
            </p:cNvPr>
            <p:cNvSpPr/>
            <p:nvPr/>
          </p:nvSpPr>
          <p:spPr bwMode="black"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29CBDCEB-800E-4D28-B2C3-1A925BFB4697}"/>
                </a:ext>
              </a:extLst>
            </p:cNvPr>
            <p:cNvSpPr/>
            <p:nvPr/>
          </p:nvSpPr>
          <p:spPr bwMode="black"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81C4C5D3-38A9-48A3-A737-2E1782DEC6C3}"/>
                </a:ext>
              </a:extLst>
            </p:cNvPr>
            <p:cNvSpPr/>
            <p:nvPr/>
          </p:nvSpPr>
          <p:spPr bwMode="black"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CC67A3C2-5E36-485E-BD0C-74020928665D}"/>
                </a:ext>
              </a:extLst>
            </p:cNvPr>
            <p:cNvSpPr/>
            <p:nvPr/>
          </p:nvSpPr>
          <p:spPr bwMode="black"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EED642CE-A789-4786-8A92-D88EC62AC133}"/>
                </a:ext>
              </a:extLst>
            </p:cNvPr>
            <p:cNvSpPr/>
            <p:nvPr/>
          </p:nvSpPr>
          <p:spPr bwMode="black"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4386D89-2FDC-4706-8B37-36CF6ABF07FB}"/>
                </a:ext>
              </a:extLst>
            </p:cNvPr>
            <p:cNvSpPr/>
            <p:nvPr/>
          </p:nvSpPr>
          <p:spPr bwMode="black"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FE86223-C5DA-4CB7-B13B-0B51B75F54C4}"/>
                </a:ext>
              </a:extLst>
            </p:cNvPr>
            <p:cNvSpPr/>
            <p:nvPr/>
          </p:nvSpPr>
          <p:spPr bwMode="black"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423558B8-06E0-4621-852F-9D8F09A23F14}"/>
                </a:ext>
              </a:extLst>
            </p:cNvPr>
            <p:cNvSpPr/>
            <p:nvPr/>
          </p:nvSpPr>
          <p:spPr bwMode="black"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96A1217-0C47-4B68-B46A-6D7E7E1D3BBD}"/>
                </a:ext>
              </a:extLst>
            </p:cNvPr>
            <p:cNvSpPr/>
            <p:nvPr/>
          </p:nvSpPr>
          <p:spPr bwMode="black"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CAD3D5E-D368-4C1C-96EE-A63B27AC18E9}"/>
                </a:ext>
              </a:extLst>
            </p:cNvPr>
            <p:cNvSpPr/>
            <p:nvPr/>
          </p:nvSpPr>
          <p:spPr bwMode="black"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48589BCD-A0C1-497B-8D9B-7071336DC859}"/>
                </a:ext>
              </a:extLst>
            </p:cNvPr>
            <p:cNvSpPr/>
            <p:nvPr/>
          </p:nvSpPr>
          <p:spPr bwMode="black"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8DFF6291-0096-416B-8932-CFAEE8C24CC3}"/>
                </a:ext>
              </a:extLst>
            </p:cNvPr>
            <p:cNvSpPr/>
            <p:nvPr/>
          </p:nvSpPr>
          <p:spPr bwMode="black"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9F0A9BCD-4E63-42B7-9992-63F009834CC8}"/>
                </a:ext>
              </a:extLst>
            </p:cNvPr>
            <p:cNvSpPr/>
            <p:nvPr/>
          </p:nvSpPr>
          <p:spPr bwMode="black"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D45F9331-6EB0-4EF1-AF1B-D8101C2D5B8D}"/>
                </a:ext>
              </a:extLst>
            </p:cNvPr>
            <p:cNvSpPr/>
            <p:nvPr/>
          </p:nvSpPr>
          <p:spPr bwMode="black"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DE7CE7BB-5D54-49B3-B53E-541559A726B8}"/>
                </a:ext>
              </a:extLst>
            </p:cNvPr>
            <p:cNvSpPr/>
            <p:nvPr/>
          </p:nvSpPr>
          <p:spPr bwMode="black"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E0134D3C-A529-412E-B918-F35B50DB4607}"/>
                </a:ext>
              </a:extLst>
            </p:cNvPr>
            <p:cNvSpPr/>
            <p:nvPr/>
          </p:nvSpPr>
          <p:spPr bwMode="black"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06216BF-A380-4FA9-9B4A-C9DC258CCF12}"/>
                </a:ext>
              </a:extLst>
            </p:cNvPr>
            <p:cNvSpPr/>
            <p:nvPr/>
          </p:nvSpPr>
          <p:spPr bwMode="black"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D3FA18A3-B765-448E-A96D-70ECA09B74C4}"/>
                </a:ext>
              </a:extLst>
            </p:cNvPr>
            <p:cNvSpPr/>
            <p:nvPr/>
          </p:nvSpPr>
          <p:spPr bwMode="black"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C909F6E8-DEAA-40C5-A466-3C2C305FF26A}"/>
                </a:ext>
              </a:extLst>
            </p:cNvPr>
            <p:cNvSpPr/>
            <p:nvPr/>
          </p:nvSpPr>
          <p:spPr bwMode="black"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EC730DF2-B7B8-470D-B166-19B7C7F51A75}"/>
                </a:ext>
              </a:extLst>
            </p:cNvPr>
            <p:cNvSpPr/>
            <p:nvPr/>
          </p:nvSpPr>
          <p:spPr bwMode="black"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 Placeholder 53">
            <a:extLst>
              <a:ext uri="{FF2B5EF4-FFF2-40B4-BE49-F238E27FC236}">
                <a16:creationId xmlns:a16="http://schemas.microsoft.com/office/drawing/2014/main" id="{6C6F15D6-83AC-4099-9946-CE8B5A1B72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1333" y="4370504"/>
            <a:ext cx="4389120" cy="73152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Subtitle or Presenter Name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16355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Circle Pict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655B1FCA-4D49-4122-B6E9-D550AA0C5E7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2"/>
            <a:ext cx="5266036" cy="6857999"/>
          </a:xfrm>
          <a:custGeom>
            <a:avLst/>
            <a:gdLst>
              <a:gd name="connsiteX0" fmla="*/ 0 w 5266036"/>
              <a:gd name="connsiteY0" fmla="*/ 0 h 6857999"/>
              <a:gd name="connsiteX1" fmla="*/ 3014696 w 5266036"/>
              <a:gd name="connsiteY1" fmla="*/ 0 h 6857999"/>
              <a:gd name="connsiteX2" fmla="*/ 3040982 w 5266036"/>
              <a:gd name="connsiteY2" fmla="*/ 11408 h 6857999"/>
              <a:gd name="connsiteX3" fmla="*/ 5250901 w 5266036"/>
              <a:gd name="connsiteY3" fmla="*/ 4085922 h 6857999"/>
              <a:gd name="connsiteX4" fmla="*/ 3435696 w 5266036"/>
              <a:gd name="connsiteY4" fmla="*/ 6839477 h 6857999"/>
              <a:gd name="connsiteX5" fmla="*/ 3398838 w 5266036"/>
              <a:gd name="connsiteY5" fmla="*/ 6857999 h 6857999"/>
              <a:gd name="connsiteX6" fmla="*/ 0 w 5266036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66036" h="6857999">
                <a:moveTo>
                  <a:pt x="0" y="0"/>
                </a:moveTo>
                <a:lnTo>
                  <a:pt x="3014696" y="0"/>
                </a:lnTo>
                <a:lnTo>
                  <a:pt x="3040982" y="11408"/>
                </a:lnTo>
                <a:cubicBezTo>
                  <a:pt x="4562919" y="717837"/>
                  <a:pt x="5390071" y="2397951"/>
                  <a:pt x="5250901" y="4085922"/>
                </a:cubicBezTo>
                <a:cubicBezTo>
                  <a:pt x="5138669" y="5484335"/>
                  <a:pt x="4361602" y="6343612"/>
                  <a:pt x="3435696" y="6839477"/>
                </a:cubicBezTo>
                <a:lnTo>
                  <a:pt x="3398838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tIns="365760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half slide image is 640 x 720 pixels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6608E2E-E744-4878-A234-60F6B6711C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3306349"/>
            <a:ext cx="5715000" cy="73152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Subtitle or Presenter Nam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534CB02-81D9-4803-9899-8E6A2EABA9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457200"/>
            <a:ext cx="5715000" cy="2565401"/>
          </a:xfrm>
        </p:spPr>
        <p:txBody>
          <a:bodyPr/>
          <a:lstStyle>
            <a:lvl1pPr>
              <a:lnSpc>
                <a:spcPct val="82000"/>
              </a:lnSpc>
              <a:defRPr sz="6600" b="0"/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A6D84BC-9F4C-46D1-BCFD-02C11A706D43}"/>
              </a:ext>
            </a:extLst>
          </p:cNvPr>
          <p:cNvGrpSpPr>
            <a:grpSpLocks noChangeAspect="1"/>
          </p:cNvGrpSpPr>
          <p:nvPr/>
        </p:nvGrpSpPr>
        <p:grpSpPr>
          <a:xfrm>
            <a:off x="9544152" y="5543531"/>
            <a:ext cx="2286000" cy="880288"/>
            <a:chOff x="2078951" y="1888610"/>
            <a:chExt cx="8030200" cy="3092248"/>
          </a:xfrm>
          <a:solidFill>
            <a:srgbClr val="4F2170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272DA5A-B0A1-4433-AF19-58D29499701D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10AB75D-54FA-4127-838D-A2CDC911B648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73C4E44-0B9D-4D7D-A72A-E10AA3E25788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F17AEE1-933D-430A-938B-044F9EEF7E0F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A198EB9-1147-497F-9629-D20241548224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489DA5D-3FDF-41B6-8FEC-3BAA766E6DD2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7AA4C2C-CCD9-4698-B061-F47DE3A46C84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899E50A-6EE7-43FA-8BC5-A3FC97DE7DC4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AB6D96F-3061-42BC-92D0-1BF63F8246F4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6E90DD0-D326-4354-B19D-6B25CA8E122A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C8EBEE1-EF8C-4C52-8690-44C2ACEA5D70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0406D85-B240-4DDD-A872-237D9A7B6040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4692158-F77E-4CC1-B129-4C7D59571AEE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0135833-3309-460C-8E4A-15D74B05AF6B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5215576-30F2-4AAD-8485-216D0761A724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97F4014-0506-40C3-9D6E-9D29B34F6404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2CECD138-51CC-425A-86A7-D780954B759C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672872F-0F50-4B3B-9CEE-35C229AA0CF9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04A581DD-06BD-44EA-9E2D-8FB253851F92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8E29341-2391-4754-93F4-DE7EF2D3370D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95B7127F-7A53-40C2-B41D-3D96503E3CC7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14B5140-BD02-4841-AF70-6D377E4DF2E9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16C21D7B-C520-4401-BFFD-43EA75B9B3F0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DB9B60B4-35FC-49B0-906A-7C704B6B94BA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550272F-F181-4670-9AB4-62C5CF01BC3A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F128CAF-7E33-41B3-941E-1DA081A62D07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C35D844-DD99-4858-9C8F-7E64319ECEC1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B5B50CFE-2A9A-43B6-BAED-D4D319AF496E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A3220ED-525E-42D0-945D-DABC984A9613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F9C0273-E1F4-49D7-992B-B560253BF396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C93ECA97-B97C-4583-903C-CA4913633E3F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27E45CBE-6678-447C-B516-5E394D02935C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891440AF-BE0A-4FCF-8580-12C0D6978EDB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2824A636-A433-4E44-BCE1-4D747AEE8B2B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BC039864-996D-45FB-8953-B06D02EC1B41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E252413E-95D4-436B-9CDD-1C43CDFDF645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788C5136-65D1-40F1-A383-12AEB2FDD611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9724F851-AB55-47D5-B0E8-62214C52C678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100ABB2F-82B3-4313-9667-9D4CAE736D8E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BF1535FC-5A93-427B-B4B5-A62EC2FC69C2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88832EF-632C-43A0-AFE1-06D043A20CAF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872BE12F-3FBC-4635-99C7-4788DC937AE2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0908225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Fun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655B1FCA-4D49-4122-B6E9-D550AA0C5E7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2"/>
            <a:ext cx="5266036" cy="6857999"/>
          </a:xfrm>
          <a:custGeom>
            <a:avLst/>
            <a:gdLst>
              <a:gd name="connsiteX0" fmla="*/ 0 w 5266036"/>
              <a:gd name="connsiteY0" fmla="*/ 0 h 6857999"/>
              <a:gd name="connsiteX1" fmla="*/ 3014696 w 5266036"/>
              <a:gd name="connsiteY1" fmla="*/ 0 h 6857999"/>
              <a:gd name="connsiteX2" fmla="*/ 3040982 w 5266036"/>
              <a:gd name="connsiteY2" fmla="*/ 11408 h 6857999"/>
              <a:gd name="connsiteX3" fmla="*/ 5250901 w 5266036"/>
              <a:gd name="connsiteY3" fmla="*/ 4085922 h 6857999"/>
              <a:gd name="connsiteX4" fmla="*/ 3435696 w 5266036"/>
              <a:gd name="connsiteY4" fmla="*/ 6839477 h 6857999"/>
              <a:gd name="connsiteX5" fmla="*/ 3398838 w 5266036"/>
              <a:gd name="connsiteY5" fmla="*/ 6857999 h 6857999"/>
              <a:gd name="connsiteX6" fmla="*/ 0 w 5266036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66036" h="6857999">
                <a:moveTo>
                  <a:pt x="0" y="0"/>
                </a:moveTo>
                <a:lnTo>
                  <a:pt x="3014696" y="0"/>
                </a:lnTo>
                <a:lnTo>
                  <a:pt x="3040982" y="11408"/>
                </a:lnTo>
                <a:cubicBezTo>
                  <a:pt x="4562919" y="717837"/>
                  <a:pt x="5390071" y="2397951"/>
                  <a:pt x="5250901" y="4085922"/>
                </a:cubicBezTo>
                <a:cubicBezTo>
                  <a:pt x="5138669" y="5484335"/>
                  <a:pt x="4361602" y="6343612"/>
                  <a:pt x="3435696" y="6839477"/>
                </a:cubicBezTo>
                <a:lnTo>
                  <a:pt x="3398838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tIns="365760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half slide image is 640 x 720 pixels)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6608E2E-E744-4878-A234-60F6B6711C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3306349"/>
            <a:ext cx="5715000" cy="73152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Subtitle or Presenter Nam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534CB02-81D9-4803-9899-8E6A2EABA9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457200"/>
            <a:ext cx="5715000" cy="2565401"/>
          </a:xfrm>
        </p:spPr>
        <p:txBody>
          <a:bodyPr/>
          <a:lstStyle>
            <a:lvl1pPr>
              <a:lnSpc>
                <a:spcPct val="82000"/>
              </a:lnSpc>
              <a:defRPr sz="6600" b="0"/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A6D84BC-9F4C-46D1-BCFD-02C11A706D43}"/>
              </a:ext>
            </a:extLst>
          </p:cNvPr>
          <p:cNvGrpSpPr>
            <a:grpSpLocks noChangeAspect="1"/>
          </p:cNvGrpSpPr>
          <p:nvPr/>
        </p:nvGrpSpPr>
        <p:grpSpPr>
          <a:xfrm>
            <a:off x="7025923" y="5543531"/>
            <a:ext cx="2286000" cy="880288"/>
            <a:chOff x="2078951" y="1888610"/>
            <a:chExt cx="8030200" cy="3092248"/>
          </a:xfrm>
          <a:solidFill>
            <a:srgbClr val="4F2170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272DA5A-B0A1-4433-AF19-58D29499701D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10AB75D-54FA-4127-838D-A2CDC911B648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73C4E44-0B9D-4D7D-A72A-E10AA3E25788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F17AEE1-933D-430A-938B-044F9EEF7E0F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A198EB9-1147-497F-9629-D20241548224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489DA5D-3FDF-41B6-8FEC-3BAA766E6DD2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7AA4C2C-CCD9-4698-B061-F47DE3A46C84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899E50A-6EE7-43FA-8BC5-A3FC97DE7DC4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AB6D96F-3061-42BC-92D0-1BF63F8246F4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6E90DD0-D326-4354-B19D-6B25CA8E122A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C8EBEE1-EF8C-4C52-8690-44C2ACEA5D70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0406D85-B240-4DDD-A872-237D9A7B6040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4692158-F77E-4CC1-B129-4C7D59571AEE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0135833-3309-460C-8E4A-15D74B05AF6B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5215576-30F2-4AAD-8485-216D0761A724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97F4014-0506-40C3-9D6E-9D29B34F6404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2CECD138-51CC-425A-86A7-D780954B759C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672872F-0F50-4B3B-9CEE-35C229AA0CF9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04A581DD-06BD-44EA-9E2D-8FB253851F92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8E29341-2391-4754-93F4-DE7EF2D3370D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95B7127F-7A53-40C2-B41D-3D96503E3CC7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14B5140-BD02-4841-AF70-6D377E4DF2E9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16C21D7B-C520-4401-BFFD-43EA75B9B3F0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DB9B60B4-35FC-49B0-906A-7C704B6B94BA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550272F-F181-4670-9AB4-62C5CF01BC3A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F128CAF-7E33-41B3-941E-1DA081A62D07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C35D844-DD99-4858-9C8F-7E64319ECEC1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B5B50CFE-2A9A-43B6-BAED-D4D319AF496E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A3220ED-525E-42D0-945D-DABC984A9613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F9C0273-E1F4-49D7-992B-B560253BF396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C93ECA97-B97C-4583-903C-CA4913633E3F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27E45CBE-6678-447C-B516-5E394D02935C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891440AF-BE0A-4FCF-8580-12C0D6978EDB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2824A636-A433-4E44-BCE1-4D747AEE8B2B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BC039864-996D-45FB-8953-B06D02EC1B41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E252413E-95D4-436B-9CDD-1C43CDFDF645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788C5136-65D1-40F1-A383-12AEB2FDD611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9724F851-AB55-47D5-B0E8-62214C52C678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100ABB2F-82B3-4313-9667-9D4CAE736D8E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BF1535FC-5A93-427B-B4B5-A62EC2FC69C2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88832EF-632C-43A0-AFE1-06D043A20CAF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872BE12F-3FBC-4635-99C7-4788DC937AE2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54" name="Graphic 53">
            <a:extLst>
              <a:ext uri="{FF2B5EF4-FFF2-40B4-BE49-F238E27FC236}">
                <a16:creationId xmlns:a16="http://schemas.microsoft.com/office/drawing/2014/main" id="{7044E344-4143-45A0-BB19-DE4ABD7362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16080" y="5240354"/>
            <a:ext cx="45719" cy="1348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89950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or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CA58538C-6DCE-48AB-8A34-6553092FE476}"/>
              </a:ext>
            </a:extLst>
          </p:cNvPr>
          <p:cNvGrpSpPr/>
          <p:nvPr/>
        </p:nvGrpSpPr>
        <p:grpSpPr bwMode="ltGray">
          <a:xfrm>
            <a:off x="0" y="1"/>
            <a:ext cx="5266036" cy="6858000"/>
            <a:chOff x="0" y="1"/>
            <a:chExt cx="5266036" cy="6858000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84F7992-9D3F-4C17-B64D-6183DCA4456E}"/>
                </a:ext>
              </a:extLst>
            </p:cNvPr>
            <p:cNvSpPr/>
            <p:nvPr/>
          </p:nvSpPr>
          <p:spPr bwMode="ltGray">
            <a:xfrm>
              <a:off x="0" y="1"/>
              <a:ext cx="5266036" cy="6858000"/>
            </a:xfrm>
            <a:custGeom>
              <a:avLst/>
              <a:gdLst>
                <a:gd name="connsiteX0" fmla="*/ 0 w 5266036"/>
                <a:gd name="connsiteY0" fmla="*/ 0 h 6858000"/>
                <a:gd name="connsiteX1" fmla="*/ 3014696 w 5266036"/>
                <a:gd name="connsiteY1" fmla="*/ 0 h 6858000"/>
                <a:gd name="connsiteX2" fmla="*/ 3040982 w 5266036"/>
                <a:gd name="connsiteY2" fmla="*/ 11408 h 6858000"/>
                <a:gd name="connsiteX3" fmla="*/ 5250901 w 5266036"/>
                <a:gd name="connsiteY3" fmla="*/ 4085922 h 6858000"/>
                <a:gd name="connsiteX4" fmla="*/ 3435696 w 5266036"/>
                <a:gd name="connsiteY4" fmla="*/ 6839477 h 6858000"/>
                <a:gd name="connsiteX5" fmla="*/ 3398836 w 5266036"/>
                <a:gd name="connsiteY5" fmla="*/ 6858000 h 6858000"/>
                <a:gd name="connsiteX6" fmla="*/ 0 w 5266036"/>
                <a:gd name="connsiteY6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66036" h="6858000">
                  <a:moveTo>
                    <a:pt x="0" y="0"/>
                  </a:moveTo>
                  <a:lnTo>
                    <a:pt x="3014696" y="0"/>
                  </a:lnTo>
                  <a:lnTo>
                    <a:pt x="3040982" y="11408"/>
                  </a:lnTo>
                  <a:cubicBezTo>
                    <a:pt x="4562919" y="717837"/>
                    <a:pt x="5390071" y="2397951"/>
                    <a:pt x="5250901" y="4085922"/>
                  </a:cubicBezTo>
                  <a:cubicBezTo>
                    <a:pt x="5138669" y="5484335"/>
                    <a:pt x="4361602" y="6343612"/>
                    <a:pt x="3435696" y="6839477"/>
                  </a:cubicBezTo>
                  <a:lnTo>
                    <a:pt x="3398836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4F2170"/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768B0534-2EEE-4824-8F44-ACC22A3132AF}"/>
                </a:ext>
              </a:extLst>
            </p:cNvPr>
            <p:cNvSpPr/>
            <p:nvPr/>
          </p:nvSpPr>
          <p:spPr bwMode="ltGray">
            <a:xfrm>
              <a:off x="1" y="99439"/>
              <a:ext cx="287275" cy="1443098"/>
            </a:xfrm>
            <a:custGeom>
              <a:avLst/>
              <a:gdLst>
                <a:gd name="connsiteX0" fmla="*/ 94635 w 287275"/>
                <a:gd name="connsiteY0" fmla="*/ 646457 h 1443098"/>
                <a:gd name="connsiteX1" fmla="*/ 110030 w 287275"/>
                <a:gd name="connsiteY1" fmla="*/ 646457 h 1443098"/>
                <a:gd name="connsiteX2" fmla="*/ 176725 w 287275"/>
                <a:gd name="connsiteY2" fmla="*/ 1205691 h 1443098"/>
                <a:gd name="connsiteX3" fmla="*/ 17148 w 287275"/>
                <a:gd name="connsiteY3" fmla="*/ 1435626 h 1443098"/>
                <a:gd name="connsiteX4" fmla="*/ 0 w 287275"/>
                <a:gd name="connsiteY4" fmla="*/ 1443098 h 1443098"/>
                <a:gd name="connsiteX5" fmla="*/ 0 w 287275"/>
                <a:gd name="connsiteY5" fmla="*/ 675806 h 1443098"/>
                <a:gd name="connsiteX6" fmla="*/ 79246 w 287275"/>
                <a:gd name="connsiteY6" fmla="*/ 0 h 1443098"/>
                <a:gd name="connsiteX7" fmla="*/ 161336 w 287275"/>
                <a:gd name="connsiteY7" fmla="*/ 10261 h 1443098"/>
                <a:gd name="connsiteX8" fmla="*/ 145941 w 287275"/>
                <a:gd name="connsiteY8" fmla="*/ 287314 h 1443098"/>
                <a:gd name="connsiteX9" fmla="*/ 62169 w 287275"/>
                <a:gd name="connsiteY9" fmla="*/ 305030 h 1443098"/>
                <a:gd name="connsiteX10" fmla="*/ 0 w 287275"/>
                <a:gd name="connsiteY10" fmla="*/ 311825 h 1443098"/>
                <a:gd name="connsiteX11" fmla="*/ 0 w 287275"/>
                <a:gd name="connsiteY11" fmla="*/ 20391 h 1443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7275" h="1443098">
                  <a:moveTo>
                    <a:pt x="94635" y="646457"/>
                  </a:moveTo>
                  <a:cubicBezTo>
                    <a:pt x="99769" y="646457"/>
                    <a:pt x="104897" y="646457"/>
                    <a:pt x="110030" y="646457"/>
                  </a:cubicBezTo>
                  <a:cubicBezTo>
                    <a:pt x="438389" y="692630"/>
                    <a:pt x="217770" y="1000466"/>
                    <a:pt x="176725" y="1205691"/>
                  </a:cubicBezTo>
                  <a:cubicBezTo>
                    <a:pt x="145302" y="1376283"/>
                    <a:pt x="141374" y="1381895"/>
                    <a:pt x="17148" y="1435626"/>
                  </a:cubicBezTo>
                  <a:lnTo>
                    <a:pt x="0" y="1443098"/>
                  </a:lnTo>
                  <a:lnTo>
                    <a:pt x="0" y="675806"/>
                  </a:lnTo>
                  <a:close/>
                  <a:moveTo>
                    <a:pt x="79246" y="0"/>
                  </a:moveTo>
                  <a:cubicBezTo>
                    <a:pt x="99769" y="0"/>
                    <a:pt x="120291" y="5128"/>
                    <a:pt x="161336" y="10261"/>
                  </a:cubicBezTo>
                  <a:cubicBezTo>
                    <a:pt x="325515" y="92351"/>
                    <a:pt x="274209" y="246269"/>
                    <a:pt x="145941" y="287314"/>
                  </a:cubicBezTo>
                  <a:cubicBezTo>
                    <a:pt x="116441" y="296292"/>
                    <a:pt x="88864" y="301422"/>
                    <a:pt x="62169" y="305030"/>
                  </a:cubicBezTo>
                  <a:lnTo>
                    <a:pt x="0" y="311825"/>
                  </a:lnTo>
                  <a:lnTo>
                    <a:pt x="0" y="20391"/>
                  </a:lnTo>
                  <a:close/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89E5AB32-14B9-4441-BD18-CA3B7FA72F4A}"/>
                </a:ext>
              </a:extLst>
            </p:cNvPr>
            <p:cNvSpPr/>
            <p:nvPr/>
          </p:nvSpPr>
          <p:spPr bwMode="ltGray">
            <a:xfrm>
              <a:off x="0" y="3622695"/>
              <a:ext cx="911379" cy="2599608"/>
            </a:xfrm>
            <a:custGeom>
              <a:avLst/>
              <a:gdLst>
                <a:gd name="connsiteX0" fmla="*/ 0 w 911379"/>
                <a:gd name="connsiteY0" fmla="*/ 3000131 h 3315846"/>
                <a:gd name="connsiteX1" fmla="*/ 9176 w 911379"/>
                <a:gd name="connsiteY1" fmla="*/ 3027252 h 3315846"/>
                <a:gd name="connsiteX2" fmla="*/ 27935 w 911379"/>
                <a:gd name="connsiteY2" fmla="*/ 3315846 h 3315846"/>
                <a:gd name="connsiteX3" fmla="*/ 17673 w 911379"/>
                <a:gd name="connsiteY3" fmla="*/ 3315846 h 3315846"/>
                <a:gd name="connsiteX4" fmla="*/ 0 w 911379"/>
                <a:gd name="connsiteY4" fmla="*/ 3309186 h 3315846"/>
                <a:gd name="connsiteX5" fmla="*/ 0 w 911379"/>
                <a:gd name="connsiteY5" fmla="*/ 0 h 3315846"/>
                <a:gd name="connsiteX6" fmla="*/ 63852 w 911379"/>
                <a:gd name="connsiteY6" fmla="*/ 32258 h 3315846"/>
                <a:gd name="connsiteX7" fmla="*/ 253681 w 911379"/>
                <a:gd name="connsiteY7" fmla="*/ 140003 h 3315846"/>
                <a:gd name="connsiteX8" fmla="*/ 376816 w 911379"/>
                <a:gd name="connsiteY8" fmla="*/ 432445 h 3315846"/>
                <a:gd name="connsiteX9" fmla="*/ 587173 w 911379"/>
                <a:gd name="connsiteY9" fmla="*/ 545318 h 3315846"/>
                <a:gd name="connsiteX10" fmla="*/ 900137 w 911379"/>
                <a:gd name="connsiteY10" fmla="*/ 919855 h 3315846"/>
                <a:gd name="connsiteX11" fmla="*/ 664129 w 911379"/>
                <a:gd name="connsiteY11" fmla="*/ 1284126 h 3315846"/>
                <a:gd name="connsiteX12" fmla="*/ 566651 w 911379"/>
                <a:gd name="connsiteY12" fmla="*/ 1684313 h 3315846"/>
                <a:gd name="connsiteX13" fmla="*/ 304987 w 911379"/>
                <a:gd name="connsiteY13" fmla="*/ 2002411 h 3315846"/>
                <a:gd name="connsiteX14" fmla="*/ 63852 w 911379"/>
                <a:gd name="connsiteY14" fmla="*/ 2489821 h 3315846"/>
                <a:gd name="connsiteX15" fmla="*/ 0 w 911379"/>
                <a:gd name="connsiteY15" fmla="*/ 2599608 h 3315846"/>
                <a:gd name="connsiteX0" fmla="*/ 0 w 911379"/>
                <a:gd name="connsiteY0" fmla="*/ 3000131 h 3315846"/>
                <a:gd name="connsiteX1" fmla="*/ 9176 w 911379"/>
                <a:gd name="connsiteY1" fmla="*/ 3027252 h 3315846"/>
                <a:gd name="connsiteX2" fmla="*/ 27935 w 911379"/>
                <a:gd name="connsiteY2" fmla="*/ 3315846 h 3315846"/>
                <a:gd name="connsiteX3" fmla="*/ 17673 w 911379"/>
                <a:gd name="connsiteY3" fmla="*/ 3315846 h 3315846"/>
                <a:gd name="connsiteX4" fmla="*/ 0 w 911379"/>
                <a:gd name="connsiteY4" fmla="*/ 3000131 h 3315846"/>
                <a:gd name="connsiteX5" fmla="*/ 0 w 911379"/>
                <a:gd name="connsiteY5" fmla="*/ 0 h 3315846"/>
                <a:gd name="connsiteX6" fmla="*/ 63852 w 911379"/>
                <a:gd name="connsiteY6" fmla="*/ 32258 h 3315846"/>
                <a:gd name="connsiteX7" fmla="*/ 253681 w 911379"/>
                <a:gd name="connsiteY7" fmla="*/ 140003 h 3315846"/>
                <a:gd name="connsiteX8" fmla="*/ 376816 w 911379"/>
                <a:gd name="connsiteY8" fmla="*/ 432445 h 3315846"/>
                <a:gd name="connsiteX9" fmla="*/ 587173 w 911379"/>
                <a:gd name="connsiteY9" fmla="*/ 545318 h 3315846"/>
                <a:gd name="connsiteX10" fmla="*/ 900137 w 911379"/>
                <a:gd name="connsiteY10" fmla="*/ 919855 h 3315846"/>
                <a:gd name="connsiteX11" fmla="*/ 664129 w 911379"/>
                <a:gd name="connsiteY11" fmla="*/ 1284126 h 3315846"/>
                <a:gd name="connsiteX12" fmla="*/ 566651 w 911379"/>
                <a:gd name="connsiteY12" fmla="*/ 1684313 h 3315846"/>
                <a:gd name="connsiteX13" fmla="*/ 304987 w 911379"/>
                <a:gd name="connsiteY13" fmla="*/ 2002411 h 3315846"/>
                <a:gd name="connsiteX14" fmla="*/ 63852 w 911379"/>
                <a:gd name="connsiteY14" fmla="*/ 2489821 h 3315846"/>
                <a:gd name="connsiteX15" fmla="*/ 0 w 911379"/>
                <a:gd name="connsiteY15" fmla="*/ 2599608 h 3315846"/>
                <a:gd name="connsiteX16" fmla="*/ 0 w 911379"/>
                <a:gd name="connsiteY16" fmla="*/ 0 h 3315846"/>
                <a:gd name="connsiteX0" fmla="*/ 0 w 911379"/>
                <a:gd name="connsiteY0" fmla="*/ 3000131 h 3315846"/>
                <a:gd name="connsiteX1" fmla="*/ 9176 w 911379"/>
                <a:gd name="connsiteY1" fmla="*/ 3027252 h 3315846"/>
                <a:gd name="connsiteX2" fmla="*/ 27935 w 911379"/>
                <a:gd name="connsiteY2" fmla="*/ 3315846 h 3315846"/>
                <a:gd name="connsiteX3" fmla="*/ 0 w 911379"/>
                <a:gd name="connsiteY3" fmla="*/ 3000131 h 3315846"/>
                <a:gd name="connsiteX4" fmla="*/ 0 w 911379"/>
                <a:gd name="connsiteY4" fmla="*/ 0 h 3315846"/>
                <a:gd name="connsiteX5" fmla="*/ 63852 w 911379"/>
                <a:gd name="connsiteY5" fmla="*/ 32258 h 3315846"/>
                <a:gd name="connsiteX6" fmla="*/ 253681 w 911379"/>
                <a:gd name="connsiteY6" fmla="*/ 140003 h 3315846"/>
                <a:gd name="connsiteX7" fmla="*/ 376816 w 911379"/>
                <a:gd name="connsiteY7" fmla="*/ 432445 h 3315846"/>
                <a:gd name="connsiteX8" fmla="*/ 587173 w 911379"/>
                <a:gd name="connsiteY8" fmla="*/ 545318 h 3315846"/>
                <a:gd name="connsiteX9" fmla="*/ 900137 w 911379"/>
                <a:gd name="connsiteY9" fmla="*/ 919855 h 3315846"/>
                <a:gd name="connsiteX10" fmla="*/ 664129 w 911379"/>
                <a:gd name="connsiteY10" fmla="*/ 1284126 h 3315846"/>
                <a:gd name="connsiteX11" fmla="*/ 566651 w 911379"/>
                <a:gd name="connsiteY11" fmla="*/ 1684313 h 3315846"/>
                <a:gd name="connsiteX12" fmla="*/ 304987 w 911379"/>
                <a:gd name="connsiteY12" fmla="*/ 2002411 h 3315846"/>
                <a:gd name="connsiteX13" fmla="*/ 63852 w 911379"/>
                <a:gd name="connsiteY13" fmla="*/ 2489821 h 3315846"/>
                <a:gd name="connsiteX14" fmla="*/ 0 w 911379"/>
                <a:gd name="connsiteY14" fmla="*/ 2599608 h 3315846"/>
                <a:gd name="connsiteX15" fmla="*/ 0 w 911379"/>
                <a:gd name="connsiteY15" fmla="*/ 0 h 3315846"/>
                <a:gd name="connsiteX0" fmla="*/ 0 w 911379"/>
                <a:gd name="connsiteY0" fmla="*/ 3000131 h 3027252"/>
                <a:gd name="connsiteX1" fmla="*/ 9176 w 911379"/>
                <a:gd name="connsiteY1" fmla="*/ 3027252 h 3027252"/>
                <a:gd name="connsiteX2" fmla="*/ 0 w 911379"/>
                <a:gd name="connsiteY2" fmla="*/ 3000131 h 3027252"/>
                <a:gd name="connsiteX3" fmla="*/ 0 w 911379"/>
                <a:gd name="connsiteY3" fmla="*/ 0 h 3027252"/>
                <a:gd name="connsiteX4" fmla="*/ 63852 w 911379"/>
                <a:gd name="connsiteY4" fmla="*/ 32258 h 3027252"/>
                <a:gd name="connsiteX5" fmla="*/ 253681 w 911379"/>
                <a:gd name="connsiteY5" fmla="*/ 140003 h 3027252"/>
                <a:gd name="connsiteX6" fmla="*/ 376816 w 911379"/>
                <a:gd name="connsiteY6" fmla="*/ 432445 h 3027252"/>
                <a:gd name="connsiteX7" fmla="*/ 587173 w 911379"/>
                <a:gd name="connsiteY7" fmla="*/ 545318 h 3027252"/>
                <a:gd name="connsiteX8" fmla="*/ 900137 w 911379"/>
                <a:gd name="connsiteY8" fmla="*/ 919855 h 3027252"/>
                <a:gd name="connsiteX9" fmla="*/ 664129 w 911379"/>
                <a:gd name="connsiteY9" fmla="*/ 1284126 h 3027252"/>
                <a:gd name="connsiteX10" fmla="*/ 566651 w 911379"/>
                <a:gd name="connsiteY10" fmla="*/ 1684313 h 3027252"/>
                <a:gd name="connsiteX11" fmla="*/ 304987 w 911379"/>
                <a:gd name="connsiteY11" fmla="*/ 2002411 h 3027252"/>
                <a:gd name="connsiteX12" fmla="*/ 63852 w 911379"/>
                <a:gd name="connsiteY12" fmla="*/ 2489821 h 3027252"/>
                <a:gd name="connsiteX13" fmla="*/ 0 w 911379"/>
                <a:gd name="connsiteY13" fmla="*/ 2599608 h 3027252"/>
                <a:gd name="connsiteX14" fmla="*/ 0 w 911379"/>
                <a:gd name="connsiteY14" fmla="*/ 0 h 3027252"/>
                <a:gd name="connsiteX0" fmla="*/ 0 w 911379"/>
                <a:gd name="connsiteY0" fmla="*/ 0 h 2599608"/>
                <a:gd name="connsiteX1" fmla="*/ 63852 w 911379"/>
                <a:gd name="connsiteY1" fmla="*/ 32258 h 2599608"/>
                <a:gd name="connsiteX2" fmla="*/ 253681 w 911379"/>
                <a:gd name="connsiteY2" fmla="*/ 140003 h 2599608"/>
                <a:gd name="connsiteX3" fmla="*/ 376816 w 911379"/>
                <a:gd name="connsiteY3" fmla="*/ 432445 h 2599608"/>
                <a:gd name="connsiteX4" fmla="*/ 587173 w 911379"/>
                <a:gd name="connsiteY4" fmla="*/ 545318 h 2599608"/>
                <a:gd name="connsiteX5" fmla="*/ 900137 w 911379"/>
                <a:gd name="connsiteY5" fmla="*/ 919855 h 2599608"/>
                <a:gd name="connsiteX6" fmla="*/ 664129 w 911379"/>
                <a:gd name="connsiteY6" fmla="*/ 1284126 h 2599608"/>
                <a:gd name="connsiteX7" fmla="*/ 566651 w 911379"/>
                <a:gd name="connsiteY7" fmla="*/ 1684313 h 2599608"/>
                <a:gd name="connsiteX8" fmla="*/ 304987 w 911379"/>
                <a:gd name="connsiteY8" fmla="*/ 2002411 h 2599608"/>
                <a:gd name="connsiteX9" fmla="*/ 63852 w 911379"/>
                <a:gd name="connsiteY9" fmla="*/ 2489821 h 2599608"/>
                <a:gd name="connsiteX10" fmla="*/ 0 w 911379"/>
                <a:gd name="connsiteY10" fmla="*/ 2599608 h 2599608"/>
                <a:gd name="connsiteX11" fmla="*/ 0 w 911379"/>
                <a:gd name="connsiteY11" fmla="*/ 0 h 2599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11379" h="2599608">
                  <a:moveTo>
                    <a:pt x="0" y="0"/>
                  </a:moveTo>
                  <a:lnTo>
                    <a:pt x="63852" y="32258"/>
                  </a:lnTo>
                  <a:cubicBezTo>
                    <a:pt x="140808" y="68175"/>
                    <a:pt x="192114" y="57913"/>
                    <a:pt x="253681" y="140003"/>
                  </a:cubicBezTo>
                  <a:cubicBezTo>
                    <a:pt x="320382" y="232354"/>
                    <a:pt x="289598" y="340094"/>
                    <a:pt x="376816" y="432445"/>
                  </a:cubicBezTo>
                  <a:cubicBezTo>
                    <a:pt x="433255" y="494012"/>
                    <a:pt x="520473" y="504273"/>
                    <a:pt x="587173" y="545318"/>
                  </a:cubicBezTo>
                  <a:cubicBezTo>
                    <a:pt x="720569" y="627408"/>
                    <a:pt x="966838" y="724892"/>
                    <a:pt x="900137" y="919855"/>
                  </a:cubicBezTo>
                  <a:cubicBezTo>
                    <a:pt x="843703" y="1089163"/>
                    <a:pt x="623085" y="1058379"/>
                    <a:pt x="664129" y="1284126"/>
                  </a:cubicBezTo>
                  <a:cubicBezTo>
                    <a:pt x="700046" y="1509872"/>
                    <a:pt x="828309" y="1550917"/>
                    <a:pt x="566651" y="1684313"/>
                  </a:cubicBezTo>
                  <a:cubicBezTo>
                    <a:pt x="366555" y="1786925"/>
                    <a:pt x="366555" y="1812581"/>
                    <a:pt x="304987" y="2002411"/>
                  </a:cubicBezTo>
                  <a:cubicBezTo>
                    <a:pt x="253681" y="2166590"/>
                    <a:pt x="156202" y="2341031"/>
                    <a:pt x="63852" y="2489821"/>
                  </a:cubicBezTo>
                  <a:lnTo>
                    <a:pt x="0" y="25996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DD488622-94FE-4C3B-93ED-066BAA75BF59}"/>
                </a:ext>
              </a:extLst>
            </p:cNvPr>
            <p:cNvSpPr/>
            <p:nvPr/>
          </p:nvSpPr>
          <p:spPr bwMode="ltGray">
            <a:xfrm>
              <a:off x="266515" y="81480"/>
              <a:ext cx="1128733" cy="1128733"/>
            </a:xfrm>
            <a:custGeom>
              <a:avLst/>
              <a:gdLst>
                <a:gd name="connsiteX0" fmla="*/ 92869 w 209550"/>
                <a:gd name="connsiteY0" fmla="*/ 7144 h 209550"/>
                <a:gd name="connsiteX1" fmla="*/ 92869 w 209550"/>
                <a:gd name="connsiteY1" fmla="*/ 7144 h 209550"/>
                <a:gd name="connsiteX2" fmla="*/ 7144 w 209550"/>
                <a:gd name="connsiteY2" fmla="*/ 29051 h 209550"/>
                <a:gd name="connsiteX3" fmla="*/ 7144 w 209550"/>
                <a:gd name="connsiteY3" fmla="*/ 30004 h 209550"/>
                <a:gd name="connsiteX4" fmla="*/ 16669 w 209550"/>
                <a:gd name="connsiteY4" fmla="*/ 42386 h 209550"/>
                <a:gd name="connsiteX5" fmla="*/ 25241 w 209550"/>
                <a:gd name="connsiteY5" fmla="*/ 41434 h 209550"/>
                <a:gd name="connsiteX6" fmla="*/ 63341 w 209550"/>
                <a:gd name="connsiteY6" fmla="*/ 165259 h 209550"/>
                <a:gd name="connsiteX7" fmla="*/ 88106 w 209550"/>
                <a:gd name="connsiteY7" fmla="*/ 202406 h 209550"/>
                <a:gd name="connsiteX8" fmla="*/ 105251 w 209550"/>
                <a:gd name="connsiteY8" fmla="*/ 193834 h 209550"/>
                <a:gd name="connsiteX9" fmla="*/ 128111 w 209550"/>
                <a:gd name="connsiteY9" fmla="*/ 149066 h 209550"/>
                <a:gd name="connsiteX10" fmla="*/ 165259 w 209550"/>
                <a:gd name="connsiteY10" fmla="*/ 120491 h 209550"/>
                <a:gd name="connsiteX11" fmla="*/ 92869 w 209550"/>
                <a:gd name="connsiteY11" fmla="*/ 7144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9550" h="209550">
                  <a:moveTo>
                    <a:pt x="92869" y="7144"/>
                  </a:moveTo>
                  <a:cubicBezTo>
                    <a:pt x="91916" y="7144"/>
                    <a:pt x="91916" y="7144"/>
                    <a:pt x="92869" y="7144"/>
                  </a:cubicBezTo>
                  <a:cubicBezTo>
                    <a:pt x="63341" y="12859"/>
                    <a:pt x="34766" y="20479"/>
                    <a:pt x="7144" y="29051"/>
                  </a:cubicBezTo>
                  <a:cubicBezTo>
                    <a:pt x="7144" y="29051"/>
                    <a:pt x="7144" y="30004"/>
                    <a:pt x="7144" y="30004"/>
                  </a:cubicBezTo>
                  <a:lnTo>
                    <a:pt x="16669" y="42386"/>
                  </a:lnTo>
                  <a:cubicBezTo>
                    <a:pt x="19526" y="41434"/>
                    <a:pt x="22384" y="41434"/>
                    <a:pt x="25241" y="41434"/>
                  </a:cubicBezTo>
                  <a:cubicBezTo>
                    <a:pt x="74771" y="41434"/>
                    <a:pt x="57626" y="134779"/>
                    <a:pt x="63341" y="165259"/>
                  </a:cubicBezTo>
                  <a:cubicBezTo>
                    <a:pt x="67151" y="183356"/>
                    <a:pt x="74771" y="202406"/>
                    <a:pt x="88106" y="202406"/>
                  </a:cubicBezTo>
                  <a:cubicBezTo>
                    <a:pt x="92869" y="202406"/>
                    <a:pt x="98584" y="199549"/>
                    <a:pt x="105251" y="193834"/>
                  </a:cubicBezTo>
                  <a:cubicBezTo>
                    <a:pt x="115729" y="183356"/>
                    <a:pt x="116681" y="162401"/>
                    <a:pt x="128111" y="149066"/>
                  </a:cubicBezTo>
                  <a:cubicBezTo>
                    <a:pt x="138589" y="136684"/>
                    <a:pt x="152876" y="130969"/>
                    <a:pt x="165259" y="120491"/>
                  </a:cubicBezTo>
                  <a:cubicBezTo>
                    <a:pt x="265271" y="38576"/>
                    <a:pt x="172879" y="7144"/>
                    <a:pt x="92869" y="7144"/>
                  </a:cubicBezTo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C0FA815-C9EC-4D30-BDA4-05095D08506E}"/>
                </a:ext>
              </a:extLst>
            </p:cNvPr>
            <p:cNvSpPr/>
            <p:nvPr/>
          </p:nvSpPr>
          <p:spPr bwMode="ltGray">
            <a:xfrm>
              <a:off x="1807406" y="19914"/>
              <a:ext cx="3232281" cy="5848895"/>
            </a:xfrm>
            <a:custGeom>
              <a:avLst/>
              <a:gdLst>
                <a:gd name="connsiteX0" fmla="*/ 227806 w 600075"/>
                <a:gd name="connsiteY0" fmla="*/ 7144 h 1085850"/>
                <a:gd name="connsiteX1" fmla="*/ 219234 w 600075"/>
                <a:gd name="connsiteY1" fmla="*/ 18574 h 1085850"/>
                <a:gd name="connsiteX2" fmla="*/ 183039 w 600075"/>
                <a:gd name="connsiteY2" fmla="*/ 66199 h 1085850"/>
                <a:gd name="connsiteX3" fmla="*/ 161131 w 600075"/>
                <a:gd name="connsiteY3" fmla="*/ 73819 h 1085850"/>
                <a:gd name="connsiteX4" fmla="*/ 130651 w 600075"/>
                <a:gd name="connsiteY4" fmla="*/ 63341 h 1085850"/>
                <a:gd name="connsiteX5" fmla="*/ 105886 w 600075"/>
                <a:gd name="connsiteY5" fmla="*/ 57626 h 1085850"/>
                <a:gd name="connsiteX6" fmla="*/ 83979 w 600075"/>
                <a:gd name="connsiteY6" fmla="*/ 113824 h 1085850"/>
                <a:gd name="connsiteX7" fmla="*/ 104934 w 600075"/>
                <a:gd name="connsiteY7" fmla="*/ 173831 h 1085850"/>
                <a:gd name="connsiteX8" fmla="*/ 124936 w 600075"/>
                <a:gd name="connsiteY8" fmla="*/ 167164 h 1085850"/>
                <a:gd name="connsiteX9" fmla="*/ 156369 w 600075"/>
                <a:gd name="connsiteY9" fmla="*/ 135731 h 1085850"/>
                <a:gd name="connsiteX10" fmla="*/ 172561 w 600075"/>
                <a:gd name="connsiteY10" fmla="*/ 151924 h 1085850"/>
                <a:gd name="connsiteX11" fmla="*/ 157321 w 600075"/>
                <a:gd name="connsiteY11" fmla="*/ 202406 h 1085850"/>
                <a:gd name="connsiteX12" fmla="*/ 71596 w 600075"/>
                <a:gd name="connsiteY12" fmla="*/ 252889 h 1085850"/>
                <a:gd name="connsiteX13" fmla="*/ 68739 w 600075"/>
                <a:gd name="connsiteY13" fmla="*/ 294799 h 1085850"/>
                <a:gd name="connsiteX14" fmla="*/ 43021 w 600075"/>
                <a:gd name="connsiteY14" fmla="*/ 356711 h 1085850"/>
                <a:gd name="connsiteX15" fmla="*/ 62071 w 600075"/>
                <a:gd name="connsiteY15" fmla="*/ 370999 h 1085850"/>
                <a:gd name="connsiteX16" fmla="*/ 131604 w 600075"/>
                <a:gd name="connsiteY16" fmla="*/ 313849 h 1085850"/>
                <a:gd name="connsiteX17" fmla="*/ 167799 w 600075"/>
                <a:gd name="connsiteY17" fmla="*/ 295751 h 1085850"/>
                <a:gd name="connsiteX18" fmla="*/ 199231 w 600075"/>
                <a:gd name="connsiteY18" fmla="*/ 308134 h 1085850"/>
                <a:gd name="connsiteX19" fmla="*/ 237331 w 600075"/>
                <a:gd name="connsiteY19" fmla="*/ 320516 h 1085850"/>
                <a:gd name="connsiteX20" fmla="*/ 242094 w 600075"/>
                <a:gd name="connsiteY20" fmla="*/ 320516 h 1085850"/>
                <a:gd name="connsiteX21" fmla="*/ 270669 w 600075"/>
                <a:gd name="connsiteY21" fmla="*/ 291941 h 1085850"/>
                <a:gd name="connsiteX22" fmla="*/ 287814 w 600075"/>
                <a:gd name="connsiteY22" fmla="*/ 270034 h 1085850"/>
                <a:gd name="connsiteX23" fmla="*/ 290671 w 600075"/>
                <a:gd name="connsiteY23" fmla="*/ 270034 h 1085850"/>
                <a:gd name="connsiteX24" fmla="*/ 321151 w 600075"/>
                <a:gd name="connsiteY24" fmla="*/ 304324 h 1085850"/>
                <a:gd name="connsiteX25" fmla="*/ 292576 w 600075"/>
                <a:gd name="connsiteY25" fmla="*/ 355759 h 1085850"/>
                <a:gd name="connsiteX26" fmla="*/ 326866 w 600075"/>
                <a:gd name="connsiteY26" fmla="*/ 416719 h 1085850"/>
                <a:gd name="connsiteX27" fmla="*/ 291624 w 600075"/>
                <a:gd name="connsiteY27" fmla="*/ 428149 h 1085850"/>
                <a:gd name="connsiteX28" fmla="*/ 232569 w 600075"/>
                <a:gd name="connsiteY28" fmla="*/ 418624 h 1085850"/>
                <a:gd name="connsiteX29" fmla="*/ 225901 w 600075"/>
                <a:gd name="connsiteY29" fmla="*/ 418624 h 1085850"/>
                <a:gd name="connsiteX30" fmla="*/ 217329 w 600075"/>
                <a:gd name="connsiteY30" fmla="*/ 418624 h 1085850"/>
                <a:gd name="connsiteX31" fmla="*/ 208756 w 600075"/>
                <a:gd name="connsiteY31" fmla="*/ 418624 h 1085850"/>
                <a:gd name="connsiteX32" fmla="*/ 191611 w 600075"/>
                <a:gd name="connsiteY32" fmla="*/ 415766 h 1085850"/>
                <a:gd name="connsiteX33" fmla="*/ 156369 w 600075"/>
                <a:gd name="connsiteY33" fmla="*/ 390049 h 1085850"/>
                <a:gd name="connsiteX34" fmla="*/ 151606 w 600075"/>
                <a:gd name="connsiteY34" fmla="*/ 390049 h 1085850"/>
                <a:gd name="connsiteX35" fmla="*/ 68739 w 600075"/>
                <a:gd name="connsiteY35" fmla="*/ 433864 h 1085850"/>
                <a:gd name="connsiteX36" fmla="*/ 18256 w 600075"/>
                <a:gd name="connsiteY36" fmla="*/ 501491 h 1085850"/>
                <a:gd name="connsiteX37" fmla="*/ 35401 w 600075"/>
                <a:gd name="connsiteY37" fmla="*/ 668179 h 1085850"/>
                <a:gd name="connsiteX38" fmla="*/ 82074 w 600075"/>
                <a:gd name="connsiteY38" fmla="*/ 683419 h 1085850"/>
                <a:gd name="connsiteX39" fmla="*/ 130651 w 600075"/>
                <a:gd name="connsiteY39" fmla="*/ 678656 h 1085850"/>
                <a:gd name="connsiteX40" fmla="*/ 162084 w 600075"/>
                <a:gd name="connsiteY40" fmla="*/ 676751 h 1085850"/>
                <a:gd name="connsiteX41" fmla="*/ 207804 w 600075"/>
                <a:gd name="connsiteY41" fmla="*/ 731044 h 1085850"/>
                <a:gd name="connsiteX42" fmla="*/ 214471 w 600075"/>
                <a:gd name="connsiteY42" fmla="*/ 812006 h 1085850"/>
                <a:gd name="connsiteX43" fmla="*/ 233521 w 600075"/>
                <a:gd name="connsiteY43" fmla="*/ 892016 h 1085850"/>
                <a:gd name="connsiteX44" fmla="*/ 202089 w 600075"/>
                <a:gd name="connsiteY44" fmla="*/ 1046321 h 1085850"/>
                <a:gd name="connsiteX45" fmla="*/ 223044 w 600075"/>
                <a:gd name="connsiteY45" fmla="*/ 1084421 h 1085850"/>
                <a:gd name="connsiteX46" fmla="*/ 256381 w 600075"/>
                <a:gd name="connsiteY46" fmla="*/ 1060609 h 1085850"/>
                <a:gd name="connsiteX47" fmla="*/ 335439 w 600075"/>
                <a:gd name="connsiteY47" fmla="*/ 977741 h 1085850"/>
                <a:gd name="connsiteX48" fmla="*/ 402114 w 600075"/>
                <a:gd name="connsiteY48" fmla="*/ 823436 h 1085850"/>
                <a:gd name="connsiteX49" fmla="*/ 404971 w 600075"/>
                <a:gd name="connsiteY49" fmla="*/ 746284 h 1085850"/>
                <a:gd name="connsiteX50" fmla="*/ 446881 w 600075"/>
                <a:gd name="connsiteY50" fmla="*/ 645319 h 1085850"/>
                <a:gd name="connsiteX51" fmla="*/ 434499 w 600075"/>
                <a:gd name="connsiteY51" fmla="*/ 600551 h 1085850"/>
                <a:gd name="connsiteX52" fmla="*/ 444024 w 600075"/>
                <a:gd name="connsiteY52" fmla="*/ 549116 h 1085850"/>
                <a:gd name="connsiteX53" fmla="*/ 466884 w 600075"/>
                <a:gd name="connsiteY53" fmla="*/ 499586 h 1085850"/>
                <a:gd name="connsiteX54" fmla="*/ 431641 w 600075"/>
                <a:gd name="connsiteY54" fmla="*/ 443389 h 1085850"/>
                <a:gd name="connsiteX55" fmla="*/ 446881 w 600075"/>
                <a:gd name="connsiteY55" fmla="*/ 440531 h 1085850"/>
                <a:gd name="connsiteX56" fmla="*/ 528796 w 600075"/>
                <a:gd name="connsiteY56" fmla="*/ 591979 h 1085850"/>
                <a:gd name="connsiteX57" fmla="*/ 551656 w 600075"/>
                <a:gd name="connsiteY57" fmla="*/ 634841 h 1085850"/>
                <a:gd name="connsiteX58" fmla="*/ 570706 w 600075"/>
                <a:gd name="connsiteY58" fmla="*/ 602456 h 1085850"/>
                <a:gd name="connsiteX59" fmla="*/ 592614 w 600075"/>
                <a:gd name="connsiteY59" fmla="*/ 519589 h 1085850"/>
                <a:gd name="connsiteX60" fmla="*/ 563086 w 600075"/>
                <a:gd name="connsiteY60" fmla="*/ 356711 h 1085850"/>
                <a:gd name="connsiteX61" fmla="*/ 450691 w 600075"/>
                <a:gd name="connsiteY61" fmla="*/ 161449 h 1085850"/>
                <a:gd name="connsiteX62" fmla="*/ 227806 w 600075"/>
                <a:gd name="connsiteY62" fmla="*/ 7144 h 108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600075" h="1085850">
                  <a:moveTo>
                    <a:pt x="227806" y="7144"/>
                  </a:moveTo>
                  <a:lnTo>
                    <a:pt x="219234" y="18574"/>
                  </a:lnTo>
                  <a:cubicBezTo>
                    <a:pt x="223044" y="42386"/>
                    <a:pt x="201136" y="56674"/>
                    <a:pt x="183039" y="66199"/>
                  </a:cubicBezTo>
                  <a:cubicBezTo>
                    <a:pt x="172561" y="70961"/>
                    <a:pt x="165894" y="73819"/>
                    <a:pt x="161131" y="73819"/>
                  </a:cubicBezTo>
                  <a:cubicBezTo>
                    <a:pt x="153511" y="73819"/>
                    <a:pt x="147796" y="69056"/>
                    <a:pt x="130651" y="63341"/>
                  </a:cubicBezTo>
                  <a:cubicBezTo>
                    <a:pt x="120174" y="59531"/>
                    <a:pt x="111601" y="57626"/>
                    <a:pt x="105886" y="57626"/>
                  </a:cubicBezTo>
                  <a:cubicBezTo>
                    <a:pt x="83026" y="57626"/>
                    <a:pt x="83979" y="81439"/>
                    <a:pt x="83979" y="113824"/>
                  </a:cubicBezTo>
                  <a:cubicBezTo>
                    <a:pt x="83979" y="136684"/>
                    <a:pt x="82074" y="173831"/>
                    <a:pt x="104934" y="173831"/>
                  </a:cubicBezTo>
                  <a:cubicBezTo>
                    <a:pt x="109696" y="173831"/>
                    <a:pt x="116364" y="171926"/>
                    <a:pt x="124936" y="167164"/>
                  </a:cubicBezTo>
                  <a:cubicBezTo>
                    <a:pt x="136366" y="160496"/>
                    <a:pt x="144939" y="135731"/>
                    <a:pt x="156369" y="135731"/>
                  </a:cubicBezTo>
                  <a:cubicBezTo>
                    <a:pt x="161131" y="135731"/>
                    <a:pt x="166846" y="140494"/>
                    <a:pt x="172561" y="151924"/>
                  </a:cubicBezTo>
                  <a:cubicBezTo>
                    <a:pt x="182086" y="169069"/>
                    <a:pt x="167799" y="191929"/>
                    <a:pt x="157321" y="202406"/>
                  </a:cubicBezTo>
                  <a:cubicBezTo>
                    <a:pt x="128746" y="229076"/>
                    <a:pt x="83979" y="207169"/>
                    <a:pt x="71596" y="252889"/>
                  </a:cubicBezTo>
                  <a:cubicBezTo>
                    <a:pt x="67786" y="266224"/>
                    <a:pt x="73501" y="281464"/>
                    <a:pt x="68739" y="294799"/>
                  </a:cubicBezTo>
                  <a:cubicBezTo>
                    <a:pt x="63024" y="310991"/>
                    <a:pt x="31591" y="335756"/>
                    <a:pt x="43021" y="356711"/>
                  </a:cubicBezTo>
                  <a:cubicBezTo>
                    <a:pt x="48736" y="367189"/>
                    <a:pt x="55404" y="370999"/>
                    <a:pt x="62071" y="370999"/>
                  </a:cubicBezTo>
                  <a:cubicBezTo>
                    <a:pt x="86836" y="370999"/>
                    <a:pt x="118269" y="325279"/>
                    <a:pt x="131604" y="313849"/>
                  </a:cubicBezTo>
                  <a:cubicBezTo>
                    <a:pt x="146844" y="300514"/>
                    <a:pt x="158274" y="295751"/>
                    <a:pt x="167799" y="295751"/>
                  </a:cubicBezTo>
                  <a:cubicBezTo>
                    <a:pt x="179229" y="295751"/>
                    <a:pt x="187801" y="301466"/>
                    <a:pt x="199231" y="308134"/>
                  </a:cubicBezTo>
                  <a:cubicBezTo>
                    <a:pt x="209709" y="313849"/>
                    <a:pt x="221139" y="320516"/>
                    <a:pt x="237331" y="320516"/>
                  </a:cubicBezTo>
                  <a:cubicBezTo>
                    <a:pt x="239236" y="320516"/>
                    <a:pt x="240189" y="320516"/>
                    <a:pt x="242094" y="320516"/>
                  </a:cubicBezTo>
                  <a:cubicBezTo>
                    <a:pt x="268764" y="318611"/>
                    <a:pt x="259239" y="310039"/>
                    <a:pt x="270669" y="291941"/>
                  </a:cubicBezTo>
                  <a:cubicBezTo>
                    <a:pt x="277336" y="280511"/>
                    <a:pt x="270669" y="270034"/>
                    <a:pt x="287814" y="270034"/>
                  </a:cubicBezTo>
                  <a:cubicBezTo>
                    <a:pt x="288766" y="270034"/>
                    <a:pt x="289719" y="270034"/>
                    <a:pt x="290671" y="270034"/>
                  </a:cubicBezTo>
                  <a:cubicBezTo>
                    <a:pt x="301149" y="270986"/>
                    <a:pt x="318294" y="294799"/>
                    <a:pt x="321151" y="304324"/>
                  </a:cubicBezTo>
                  <a:cubicBezTo>
                    <a:pt x="327819" y="333851"/>
                    <a:pt x="303054" y="334804"/>
                    <a:pt x="292576" y="355759"/>
                  </a:cubicBezTo>
                  <a:cubicBezTo>
                    <a:pt x="276384" y="391954"/>
                    <a:pt x="313531" y="391001"/>
                    <a:pt x="326866" y="416719"/>
                  </a:cubicBezTo>
                  <a:cubicBezTo>
                    <a:pt x="315436" y="425291"/>
                    <a:pt x="304006" y="428149"/>
                    <a:pt x="291624" y="428149"/>
                  </a:cubicBezTo>
                  <a:cubicBezTo>
                    <a:pt x="272574" y="428149"/>
                    <a:pt x="252571" y="420529"/>
                    <a:pt x="232569" y="418624"/>
                  </a:cubicBezTo>
                  <a:cubicBezTo>
                    <a:pt x="230664" y="418624"/>
                    <a:pt x="227806" y="418624"/>
                    <a:pt x="225901" y="418624"/>
                  </a:cubicBezTo>
                  <a:cubicBezTo>
                    <a:pt x="223044" y="418624"/>
                    <a:pt x="220186" y="418624"/>
                    <a:pt x="217329" y="418624"/>
                  </a:cubicBezTo>
                  <a:cubicBezTo>
                    <a:pt x="214471" y="418624"/>
                    <a:pt x="211614" y="418624"/>
                    <a:pt x="208756" y="418624"/>
                  </a:cubicBezTo>
                  <a:cubicBezTo>
                    <a:pt x="203041" y="418624"/>
                    <a:pt x="197326" y="417671"/>
                    <a:pt x="191611" y="415766"/>
                  </a:cubicBezTo>
                  <a:cubicBezTo>
                    <a:pt x="174466" y="408146"/>
                    <a:pt x="183039" y="392906"/>
                    <a:pt x="156369" y="390049"/>
                  </a:cubicBezTo>
                  <a:cubicBezTo>
                    <a:pt x="154464" y="390049"/>
                    <a:pt x="152559" y="390049"/>
                    <a:pt x="151606" y="390049"/>
                  </a:cubicBezTo>
                  <a:cubicBezTo>
                    <a:pt x="120174" y="390049"/>
                    <a:pt x="96361" y="420529"/>
                    <a:pt x="68739" y="433864"/>
                  </a:cubicBezTo>
                  <a:cubicBezTo>
                    <a:pt x="31591" y="451961"/>
                    <a:pt x="23019" y="463391"/>
                    <a:pt x="18256" y="501491"/>
                  </a:cubicBezTo>
                  <a:cubicBezTo>
                    <a:pt x="11589" y="551974"/>
                    <a:pt x="-10319" y="627221"/>
                    <a:pt x="35401" y="668179"/>
                  </a:cubicBezTo>
                  <a:cubicBezTo>
                    <a:pt x="48736" y="680561"/>
                    <a:pt x="64929" y="683419"/>
                    <a:pt x="82074" y="683419"/>
                  </a:cubicBezTo>
                  <a:cubicBezTo>
                    <a:pt x="98266" y="683419"/>
                    <a:pt x="114459" y="680561"/>
                    <a:pt x="130651" y="678656"/>
                  </a:cubicBezTo>
                  <a:cubicBezTo>
                    <a:pt x="142081" y="677704"/>
                    <a:pt x="152559" y="676751"/>
                    <a:pt x="162084" y="676751"/>
                  </a:cubicBezTo>
                  <a:cubicBezTo>
                    <a:pt x="193516" y="676751"/>
                    <a:pt x="208756" y="687229"/>
                    <a:pt x="207804" y="731044"/>
                  </a:cubicBezTo>
                  <a:cubicBezTo>
                    <a:pt x="207804" y="758666"/>
                    <a:pt x="204946" y="786289"/>
                    <a:pt x="214471" y="812006"/>
                  </a:cubicBezTo>
                  <a:cubicBezTo>
                    <a:pt x="223996" y="840581"/>
                    <a:pt x="236379" y="860584"/>
                    <a:pt x="233521" y="892016"/>
                  </a:cubicBezTo>
                  <a:cubicBezTo>
                    <a:pt x="228759" y="947261"/>
                    <a:pt x="196374" y="987266"/>
                    <a:pt x="202089" y="1046321"/>
                  </a:cubicBezTo>
                  <a:cubicBezTo>
                    <a:pt x="204946" y="1072039"/>
                    <a:pt x="211614" y="1084421"/>
                    <a:pt x="223044" y="1084421"/>
                  </a:cubicBezTo>
                  <a:cubicBezTo>
                    <a:pt x="231616" y="1084421"/>
                    <a:pt x="243046" y="1075849"/>
                    <a:pt x="256381" y="1060609"/>
                  </a:cubicBezTo>
                  <a:cubicBezTo>
                    <a:pt x="281146" y="1031081"/>
                    <a:pt x="309721" y="1006316"/>
                    <a:pt x="335439" y="977741"/>
                  </a:cubicBezTo>
                  <a:cubicBezTo>
                    <a:pt x="367824" y="942499"/>
                    <a:pt x="395446" y="870109"/>
                    <a:pt x="402114" y="823436"/>
                  </a:cubicBezTo>
                  <a:cubicBezTo>
                    <a:pt x="404971" y="797719"/>
                    <a:pt x="399256" y="771049"/>
                    <a:pt x="404971" y="746284"/>
                  </a:cubicBezTo>
                  <a:cubicBezTo>
                    <a:pt x="411639" y="709136"/>
                    <a:pt x="441166" y="680561"/>
                    <a:pt x="446881" y="645319"/>
                  </a:cubicBezTo>
                  <a:cubicBezTo>
                    <a:pt x="451644" y="617696"/>
                    <a:pt x="440214" y="623411"/>
                    <a:pt x="434499" y="600551"/>
                  </a:cubicBezTo>
                  <a:cubicBezTo>
                    <a:pt x="429736" y="583406"/>
                    <a:pt x="437356" y="563404"/>
                    <a:pt x="444024" y="549116"/>
                  </a:cubicBezTo>
                  <a:cubicBezTo>
                    <a:pt x="451644" y="532924"/>
                    <a:pt x="469741" y="519589"/>
                    <a:pt x="466884" y="499586"/>
                  </a:cubicBezTo>
                  <a:cubicBezTo>
                    <a:pt x="464026" y="477679"/>
                    <a:pt x="435451" y="464344"/>
                    <a:pt x="431641" y="443389"/>
                  </a:cubicBezTo>
                  <a:cubicBezTo>
                    <a:pt x="436404" y="441484"/>
                    <a:pt x="442119" y="440531"/>
                    <a:pt x="446881" y="440531"/>
                  </a:cubicBezTo>
                  <a:cubicBezTo>
                    <a:pt x="497364" y="440531"/>
                    <a:pt x="524034" y="557689"/>
                    <a:pt x="528796" y="591979"/>
                  </a:cubicBezTo>
                  <a:cubicBezTo>
                    <a:pt x="532606" y="618649"/>
                    <a:pt x="542131" y="634841"/>
                    <a:pt x="551656" y="634841"/>
                  </a:cubicBezTo>
                  <a:cubicBezTo>
                    <a:pt x="559276" y="634841"/>
                    <a:pt x="565944" y="625316"/>
                    <a:pt x="570706" y="602456"/>
                  </a:cubicBezTo>
                  <a:cubicBezTo>
                    <a:pt x="576421" y="572929"/>
                    <a:pt x="584994" y="546259"/>
                    <a:pt x="592614" y="519589"/>
                  </a:cubicBezTo>
                  <a:cubicBezTo>
                    <a:pt x="611664" y="448151"/>
                    <a:pt x="594519" y="416719"/>
                    <a:pt x="563086" y="356711"/>
                  </a:cubicBezTo>
                  <a:cubicBezTo>
                    <a:pt x="529749" y="293846"/>
                    <a:pt x="494506" y="219551"/>
                    <a:pt x="450691" y="161449"/>
                  </a:cubicBezTo>
                  <a:cubicBezTo>
                    <a:pt x="393541" y="91916"/>
                    <a:pt x="300196" y="51911"/>
                    <a:pt x="227806" y="7144"/>
                  </a:cubicBezTo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F4D19D0-5A2E-4607-8554-BC7B192680F6}"/>
                </a:ext>
              </a:extLst>
            </p:cNvPr>
            <p:cNvSpPr/>
            <p:nvPr/>
          </p:nvSpPr>
          <p:spPr bwMode="ltGray">
            <a:xfrm>
              <a:off x="3991507" y="4180841"/>
              <a:ext cx="1128733" cy="2206164"/>
            </a:xfrm>
            <a:custGeom>
              <a:avLst/>
              <a:gdLst>
                <a:gd name="connsiteX0" fmla="*/ 192849 w 209550"/>
                <a:gd name="connsiteY0" fmla="*/ 7144 h 409575"/>
                <a:gd name="connsiteX1" fmla="*/ 161417 w 209550"/>
                <a:gd name="connsiteY1" fmla="*/ 45244 h 409575"/>
                <a:gd name="connsiteX2" fmla="*/ 154749 w 209550"/>
                <a:gd name="connsiteY2" fmla="*/ 99536 h 409575"/>
                <a:gd name="connsiteX3" fmla="*/ 120459 w 209550"/>
                <a:gd name="connsiteY3" fmla="*/ 171926 h 409575"/>
                <a:gd name="connsiteX4" fmla="*/ 74739 w 209550"/>
                <a:gd name="connsiteY4" fmla="*/ 258604 h 409575"/>
                <a:gd name="connsiteX5" fmla="*/ 10921 w 209550"/>
                <a:gd name="connsiteY5" fmla="*/ 329089 h 409575"/>
                <a:gd name="connsiteX6" fmla="*/ 9969 w 209550"/>
                <a:gd name="connsiteY6" fmla="*/ 395764 h 409575"/>
                <a:gd name="connsiteX7" fmla="*/ 22351 w 209550"/>
                <a:gd name="connsiteY7" fmla="*/ 407194 h 409575"/>
                <a:gd name="connsiteX8" fmla="*/ 28066 w 209550"/>
                <a:gd name="connsiteY8" fmla="*/ 405289 h 409575"/>
                <a:gd name="connsiteX9" fmla="*/ 42354 w 209550"/>
                <a:gd name="connsiteY9" fmla="*/ 391954 h 409575"/>
                <a:gd name="connsiteX10" fmla="*/ 69976 w 209550"/>
                <a:gd name="connsiteY10" fmla="*/ 351949 h 409575"/>
                <a:gd name="connsiteX11" fmla="*/ 163321 w 209550"/>
                <a:gd name="connsiteY11" fmla="*/ 190024 h 409575"/>
                <a:gd name="connsiteX12" fmla="*/ 199517 w 209550"/>
                <a:gd name="connsiteY12" fmla="*/ 19526 h 409575"/>
                <a:gd name="connsiteX13" fmla="*/ 192849 w 209550"/>
                <a:gd name="connsiteY13" fmla="*/ 7144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9550" h="409575">
                  <a:moveTo>
                    <a:pt x="192849" y="7144"/>
                  </a:moveTo>
                  <a:cubicBezTo>
                    <a:pt x="187134" y="24289"/>
                    <a:pt x="168084" y="30004"/>
                    <a:pt x="161417" y="45244"/>
                  </a:cubicBezTo>
                  <a:cubicBezTo>
                    <a:pt x="156654" y="58579"/>
                    <a:pt x="157606" y="84296"/>
                    <a:pt x="154749" y="99536"/>
                  </a:cubicBezTo>
                  <a:cubicBezTo>
                    <a:pt x="149034" y="131921"/>
                    <a:pt x="137604" y="144304"/>
                    <a:pt x="120459" y="171926"/>
                  </a:cubicBezTo>
                  <a:cubicBezTo>
                    <a:pt x="102361" y="199549"/>
                    <a:pt x="96646" y="233839"/>
                    <a:pt x="74739" y="258604"/>
                  </a:cubicBezTo>
                  <a:cubicBezTo>
                    <a:pt x="53784" y="282416"/>
                    <a:pt x="19494" y="295751"/>
                    <a:pt x="10921" y="329089"/>
                  </a:cubicBezTo>
                  <a:cubicBezTo>
                    <a:pt x="7111" y="341471"/>
                    <a:pt x="5206" y="383381"/>
                    <a:pt x="9969" y="395764"/>
                  </a:cubicBezTo>
                  <a:cubicBezTo>
                    <a:pt x="13779" y="403384"/>
                    <a:pt x="17589" y="407194"/>
                    <a:pt x="22351" y="407194"/>
                  </a:cubicBezTo>
                  <a:cubicBezTo>
                    <a:pt x="24256" y="407194"/>
                    <a:pt x="26161" y="406241"/>
                    <a:pt x="28066" y="405289"/>
                  </a:cubicBezTo>
                  <a:cubicBezTo>
                    <a:pt x="32829" y="401479"/>
                    <a:pt x="37591" y="396716"/>
                    <a:pt x="42354" y="391954"/>
                  </a:cubicBezTo>
                  <a:cubicBezTo>
                    <a:pt x="52831" y="379571"/>
                    <a:pt x="62356" y="362426"/>
                    <a:pt x="69976" y="351949"/>
                  </a:cubicBezTo>
                  <a:cubicBezTo>
                    <a:pt x="106171" y="300514"/>
                    <a:pt x="131889" y="243364"/>
                    <a:pt x="163321" y="190024"/>
                  </a:cubicBezTo>
                  <a:cubicBezTo>
                    <a:pt x="195706" y="135731"/>
                    <a:pt x="218567" y="82391"/>
                    <a:pt x="199517" y="19526"/>
                  </a:cubicBezTo>
                  <a:lnTo>
                    <a:pt x="192849" y="7144"/>
                  </a:lnTo>
                  <a:close/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7B06B57-87F2-4999-9051-9130D4219140}"/>
                </a:ext>
              </a:extLst>
            </p:cNvPr>
            <p:cNvSpPr/>
            <p:nvPr/>
          </p:nvSpPr>
          <p:spPr bwMode="ltGray">
            <a:xfrm>
              <a:off x="3811259" y="4868343"/>
              <a:ext cx="359144" cy="718287"/>
            </a:xfrm>
            <a:custGeom>
              <a:avLst/>
              <a:gdLst>
                <a:gd name="connsiteX0" fmla="*/ 68197 w 66675"/>
                <a:gd name="connsiteY0" fmla="*/ 7144 h 133350"/>
                <a:gd name="connsiteX1" fmla="*/ 55814 w 66675"/>
                <a:gd name="connsiteY1" fmla="*/ 26194 h 133350"/>
                <a:gd name="connsiteX2" fmla="*/ 8189 w 66675"/>
                <a:gd name="connsiteY2" fmla="*/ 133826 h 133350"/>
                <a:gd name="connsiteX3" fmla="*/ 68197 w 66675"/>
                <a:gd name="connsiteY3" fmla="*/ 7144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133350">
                  <a:moveTo>
                    <a:pt x="68197" y="7144"/>
                  </a:moveTo>
                  <a:lnTo>
                    <a:pt x="55814" y="26194"/>
                  </a:lnTo>
                  <a:cubicBezTo>
                    <a:pt x="46289" y="54769"/>
                    <a:pt x="-383" y="106204"/>
                    <a:pt x="8189" y="133826"/>
                  </a:cubicBezTo>
                  <a:cubicBezTo>
                    <a:pt x="66292" y="124301"/>
                    <a:pt x="68197" y="53816"/>
                    <a:pt x="68197" y="7144"/>
                  </a:cubicBezTo>
                </a:path>
              </a:pathLst>
            </a:custGeom>
            <a:solidFill>
              <a:srgbClr val="724D8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6E1C2E2-BB89-4D6F-9E26-4819552D2F46}"/>
              </a:ext>
            </a:extLst>
          </p:cNvPr>
          <p:cNvGrpSpPr>
            <a:grpSpLocks noChangeAspect="1"/>
          </p:cNvGrpSpPr>
          <p:nvPr/>
        </p:nvGrpSpPr>
        <p:grpSpPr>
          <a:xfrm>
            <a:off x="1075883" y="5227486"/>
            <a:ext cx="2286000" cy="880288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51AEA87-C235-450A-AFCD-D7D7402D584D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5CE8A05-C7FA-4C3B-8336-544EA5285D5A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BA579D5-98DD-4625-9DD5-1FCE1B6ABB39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AE511275-1C6B-4F4E-8A9B-E40DF8FAEF2B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38331E1-8771-498E-825A-8979204BF675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E0F7623-F722-46A3-8DCD-E4C303E014A0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92D88A5-EFC5-4878-92A8-90872B618E80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2C98FC1-954B-4A65-A246-E2EB71113B59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E73EAB4-BAF9-4B68-B129-BC041994C622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9538EBC-4DC7-4383-9295-D6A8D0233665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DA212C6-92C7-4E68-89C9-A94713A119D9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552029A9-C9A8-49B6-B3B4-DDB77AA1AAB4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9F85ABB-A50C-40B7-AC49-BB3E72D927CF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2DD841B-152A-4831-B1D2-6E495BE1B1B6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F594510-C333-4EE6-9A81-F5B5D6794F1E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A809C24-BB35-4731-AFC5-357428D0ACB1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A77C51A-62BE-45E9-AE30-EEEE66586901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BDEFB69-A427-4EE9-9048-F231BA101167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6719ABB-E490-4463-9FFA-AE200A2AD7A1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879D5D20-EE89-4A8B-9699-D9683301D220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3FD26498-FDBF-440C-8464-BDE4887B9840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38BDF441-371D-4336-BFE3-6AB3A6129E34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8BAD5CD-434F-4D77-8BD2-26C750766026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02F9BDB-7819-4E53-AED0-AEFFFB5D36A6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FE22129-481A-4C11-B764-0A44426B8CBA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56673DCB-4EF6-4931-8C51-40ABA4BC6E47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9AE53901-D870-4D3D-ABDA-84C6C826D55A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7B70687E-1688-4C6E-AD4E-6AF6091422E5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C91D8D8-0C05-411F-B7B8-8CA246B7B429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C9E9740-267B-494C-8D33-85F618C926FA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34A535C0-EFC9-4E88-9ED6-FA4561E43589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BCA09B03-C6FB-46E6-AB89-1A6C42A51B45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036A51AB-A18D-4440-9151-7933E6130ED3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4BC48AB-7E8A-4959-9518-594EE8ED2EBA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2F7B36F4-4E99-4CE6-BA86-BFDECD3FB1EA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6BF9BE4F-4C44-4FF7-A214-ED9C63856F18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7F22B60-EF17-465C-8727-A1F0ACE58BA8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E1B18E76-E2CA-4B40-93A3-5CA062AC31EB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34815080-B3AE-49B7-AE41-2545F7485078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8F114B3A-7B5E-4A7A-BD2A-B116B303AE1B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536130B-73EE-4E3D-9780-9C55A1656313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0FD41130-7459-4A04-89E6-B467E7827050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0129EEC-9B42-496F-A2D1-85996ED46E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457200"/>
            <a:ext cx="5715000" cy="2565401"/>
          </a:xfrm>
        </p:spPr>
        <p:txBody>
          <a:bodyPr anchor="b"/>
          <a:lstStyle>
            <a:lvl1pPr algn="l">
              <a:lnSpc>
                <a:spcPct val="82000"/>
              </a:lnSpc>
              <a:defRPr sz="6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FC3C0E5-30C1-434C-9ECA-434F7A55C4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0" y="3306349"/>
            <a:ext cx="5715000" cy="73152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or Presenter Name</a:t>
            </a:r>
          </a:p>
        </p:txBody>
      </p:sp>
    </p:spTree>
    <p:extLst>
      <p:ext uri="{BB962C8B-B14F-4D97-AF65-F5344CB8AC3E}">
        <p14:creationId xmlns:p14="http://schemas.microsoft.com/office/powerpoint/2010/main" val="225150255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Circ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71D965E-4C58-47A3-8D87-9119AC8962E8}"/>
              </a:ext>
            </a:extLst>
          </p:cNvPr>
          <p:cNvSpPr/>
          <p:nvPr/>
        </p:nvSpPr>
        <p:spPr bwMode="white">
          <a:xfrm>
            <a:off x="1" y="0"/>
            <a:ext cx="5538665" cy="6858000"/>
          </a:xfrm>
          <a:custGeom>
            <a:avLst/>
            <a:gdLst>
              <a:gd name="connsiteX0" fmla="*/ 0 w 5538665"/>
              <a:gd name="connsiteY0" fmla="*/ 0 h 6853445"/>
              <a:gd name="connsiteX1" fmla="*/ 3789661 w 5538665"/>
              <a:gd name="connsiteY1" fmla="*/ 0 h 6853445"/>
              <a:gd name="connsiteX2" fmla="*/ 3864039 w 5538665"/>
              <a:gd name="connsiteY2" fmla="*/ 48915 h 6853445"/>
              <a:gd name="connsiteX3" fmla="*/ 5522925 w 5538665"/>
              <a:gd name="connsiteY3" fmla="*/ 3895777 h 6853445"/>
              <a:gd name="connsiteX4" fmla="*/ 3442584 w 5538665"/>
              <a:gd name="connsiteY4" fmla="*/ 6852853 h 6853445"/>
              <a:gd name="connsiteX5" fmla="*/ 3441243 w 5538665"/>
              <a:gd name="connsiteY5" fmla="*/ 6853445 h 6853445"/>
              <a:gd name="connsiteX6" fmla="*/ 0 w 5538665"/>
              <a:gd name="connsiteY6" fmla="*/ 6853445 h 6853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38665" h="6853445">
                <a:moveTo>
                  <a:pt x="0" y="0"/>
                </a:moveTo>
                <a:lnTo>
                  <a:pt x="3789661" y="0"/>
                </a:lnTo>
                <a:lnTo>
                  <a:pt x="3864039" y="48915"/>
                </a:lnTo>
                <a:cubicBezTo>
                  <a:pt x="5036717" y="905415"/>
                  <a:pt x="5646593" y="2400600"/>
                  <a:pt x="5522925" y="3895777"/>
                </a:cubicBezTo>
                <a:cubicBezTo>
                  <a:pt x="5403483" y="5448579"/>
                  <a:pt x="4490294" y="6359136"/>
                  <a:pt x="3442584" y="6852853"/>
                </a:cubicBezTo>
                <a:lnTo>
                  <a:pt x="3441243" y="6853445"/>
                </a:lnTo>
                <a:lnTo>
                  <a:pt x="0" y="6853445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0008707-373C-4868-B058-05072F020C5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459602" y="0"/>
            <a:ext cx="8732399" cy="6858000"/>
          </a:xfrm>
          <a:custGeom>
            <a:avLst/>
            <a:gdLst>
              <a:gd name="connsiteX0" fmla="*/ 343919 w 8732399"/>
              <a:gd name="connsiteY0" fmla="*/ 0 h 6858000"/>
              <a:gd name="connsiteX1" fmla="*/ 8732399 w 8732399"/>
              <a:gd name="connsiteY1" fmla="*/ 0 h 6858000"/>
              <a:gd name="connsiteX2" fmla="*/ 8732399 w 8732399"/>
              <a:gd name="connsiteY2" fmla="*/ 6858000 h 6858000"/>
              <a:gd name="connsiteX3" fmla="*/ 0 w 8732399"/>
              <a:gd name="connsiteY3" fmla="*/ 6858000 h 6858000"/>
              <a:gd name="connsiteX4" fmla="*/ 177693 w 8732399"/>
              <a:gd name="connsiteY4" fmla="*/ 6768713 h 6858000"/>
              <a:gd name="connsiteX5" fmla="*/ 2063325 w 8732399"/>
              <a:gd name="connsiteY5" fmla="*/ 3899618 h 6858000"/>
              <a:gd name="connsiteX6" fmla="*/ 2077959 w 8732399"/>
              <a:gd name="connsiteY6" fmla="*/ 3618494 h 6858000"/>
              <a:gd name="connsiteX7" fmla="*/ 2077954 w 8732399"/>
              <a:gd name="connsiteY7" fmla="*/ 3617951 h 6858000"/>
              <a:gd name="connsiteX8" fmla="*/ 2077959 w 8732399"/>
              <a:gd name="connsiteY8" fmla="*/ 3617865 h 6858000"/>
              <a:gd name="connsiteX9" fmla="*/ 2076397 w 8732399"/>
              <a:gd name="connsiteY9" fmla="*/ 3429041 h 6858000"/>
              <a:gd name="connsiteX10" fmla="*/ 2075650 w 8732399"/>
              <a:gd name="connsiteY10" fmla="*/ 3338309 h 6858000"/>
              <a:gd name="connsiteX11" fmla="*/ 404439 w 8732399"/>
              <a:gd name="connsiteY11" fmla="*/ 3993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732399" h="6858000">
                <a:moveTo>
                  <a:pt x="343919" y="0"/>
                </a:moveTo>
                <a:lnTo>
                  <a:pt x="8732399" y="0"/>
                </a:lnTo>
                <a:lnTo>
                  <a:pt x="8732399" y="6858000"/>
                </a:lnTo>
                <a:lnTo>
                  <a:pt x="0" y="6858000"/>
                </a:lnTo>
                <a:lnTo>
                  <a:pt x="177693" y="6768713"/>
                </a:lnTo>
                <a:cubicBezTo>
                  <a:pt x="1141742" y="6254472"/>
                  <a:pt x="1951349" y="5360222"/>
                  <a:pt x="2063325" y="3899618"/>
                </a:cubicBezTo>
                <a:cubicBezTo>
                  <a:pt x="2071055" y="3805858"/>
                  <a:pt x="2075919" y="3712098"/>
                  <a:pt x="2077959" y="3618494"/>
                </a:cubicBezTo>
                <a:lnTo>
                  <a:pt x="2077954" y="3617951"/>
                </a:lnTo>
                <a:lnTo>
                  <a:pt x="2077959" y="3617865"/>
                </a:lnTo>
                <a:lnTo>
                  <a:pt x="2076397" y="3429041"/>
                </a:lnTo>
                <a:lnTo>
                  <a:pt x="2075650" y="3338309"/>
                </a:lnTo>
                <a:cubicBezTo>
                  <a:pt x="2025731" y="2034428"/>
                  <a:pt x="1430533" y="791870"/>
                  <a:pt x="404439" y="39934"/>
                </a:cubicBezTo>
                <a:close/>
              </a:path>
            </a:pathLst>
          </a:custGeom>
          <a:solidFill>
            <a:srgbClr val="D9D9D9"/>
          </a:solidFill>
        </p:spPr>
        <p:txBody>
          <a:bodyPr wrap="square" lIns="4663440" tIns="0" r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full slide image is 1280 x 7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6AAFD9-7181-4BA5-A2B7-821424B513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914400"/>
            <a:ext cx="4389120" cy="2476500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53">
            <a:extLst>
              <a:ext uri="{FF2B5EF4-FFF2-40B4-BE49-F238E27FC236}">
                <a16:creationId xmlns:a16="http://schemas.microsoft.com/office/drawing/2014/main" id="{D275F703-BAB3-4AC2-B21C-F4D222E298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1333" y="3714750"/>
            <a:ext cx="4389120" cy="7810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Subtitle text (optional)</a:t>
            </a:r>
          </a:p>
        </p:txBody>
      </p:sp>
    </p:spTree>
    <p:extLst>
      <p:ext uri="{BB962C8B-B14F-4D97-AF65-F5344CB8AC3E}">
        <p14:creationId xmlns:p14="http://schemas.microsoft.com/office/powerpoint/2010/main" val="34466155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Arrow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930312BD-1466-44B1-91B9-A5BC6B67C99E}"/>
              </a:ext>
            </a:extLst>
          </p:cNvPr>
          <p:cNvSpPr/>
          <p:nvPr/>
        </p:nvSpPr>
        <p:spPr bwMode="white">
          <a:xfrm>
            <a:off x="0" y="271458"/>
            <a:ext cx="5590219" cy="6586542"/>
          </a:xfrm>
          <a:custGeom>
            <a:avLst/>
            <a:gdLst>
              <a:gd name="connsiteX0" fmla="*/ 2744145 w 5590219"/>
              <a:gd name="connsiteY0" fmla="*/ 2926 h 6586542"/>
              <a:gd name="connsiteX1" fmla="*/ 3035619 w 5590219"/>
              <a:gd name="connsiteY1" fmla="*/ 174376 h 6586542"/>
              <a:gd name="connsiteX2" fmla="*/ 4835835 w 5590219"/>
              <a:gd name="connsiteY2" fmla="*/ 1820293 h 6586542"/>
              <a:gd name="connsiteX3" fmla="*/ 5487345 w 5590219"/>
              <a:gd name="connsiteY3" fmla="*/ 2591825 h 6586542"/>
              <a:gd name="connsiteX4" fmla="*/ 5555925 w 5590219"/>
              <a:gd name="connsiteY4" fmla="*/ 2900435 h 6586542"/>
              <a:gd name="connsiteX5" fmla="*/ 5573079 w 5590219"/>
              <a:gd name="connsiteY5" fmla="*/ 3929133 h 6586542"/>
              <a:gd name="connsiteX6" fmla="*/ 5573079 w 5590219"/>
              <a:gd name="connsiteY6" fmla="*/ 4649221 h 6586542"/>
              <a:gd name="connsiteX7" fmla="*/ 5573079 w 5590219"/>
              <a:gd name="connsiteY7" fmla="*/ 6295138 h 6586542"/>
              <a:gd name="connsiteX8" fmla="*/ 5558606 w 5590219"/>
              <a:gd name="connsiteY8" fmla="*/ 6557937 h 6586542"/>
              <a:gd name="connsiteX9" fmla="*/ 5548028 w 5590219"/>
              <a:gd name="connsiteY9" fmla="*/ 6586542 h 6586542"/>
              <a:gd name="connsiteX10" fmla="*/ 0 w 5590219"/>
              <a:gd name="connsiteY10" fmla="*/ 6586542 h 6586542"/>
              <a:gd name="connsiteX11" fmla="*/ 0 w 5590219"/>
              <a:gd name="connsiteY11" fmla="*/ 2276131 h 6586542"/>
              <a:gd name="connsiteX12" fmla="*/ 37381 w 5590219"/>
              <a:gd name="connsiteY12" fmla="*/ 2238202 h 6586542"/>
              <a:gd name="connsiteX13" fmla="*/ 343844 w 5590219"/>
              <a:gd name="connsiteY13" fmla="*/ 1991742 h 6586542"/>
              <a:gd name="connsiteX14" fmla="*/ 1972629 w 5590219"/>
              <a:gd name="connsiteY14" fmla="*/ 448695 h 6586542"/>
              <a:gd name="connsiteX15" fmla="*/ 2744145 w 5590219"/>
              <a:gd name="connsiteY15" fmla="*/ 2926 h 6586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90219" h="6586542">
                <a:moveTo>
                  <a:pt x="2744145" y="2926"/>
                </a:moveTo>
                <a:cubicBezTo>
                  <a:pt x="2847015" y="20080"/>
                  <a:pt x="2967039" y="105796"/>
                  <a:pt x="3035619" y="174376"/>
                </a:cubicBezTo>
                <a:cubicBezTo>
                  <a:pt x="3841425" y="808749"/>
                  <a:pt x="4287195" y="1254518"/>
                  <a:pt x="4835835" y="1820293"/>
                </a:cubicBezTo>
                <a:cubicBezTo>
                  <a:pt x="5024439" y="2008896"/>
                  <a:pt x="5384475" y="2351796"/>
                  <a:pt x="5487345" y="2591825"/>
                </a:cubicBezTo>
                <a:cubicBezTo>
                  <a:pt x="5521635" y="2694695"/>
                  <a:pt x="5538789" y="2797565"/>
                  <a:pt x="5555925" y="2900435"/>
                </a:cubicBezTo>
                <a:cubicBezTo>
                  <a:pt x="5607369" y="3260470"/>
                  <a:pt x="5590215" y="3551944"/>
                  <a:pt x="5573079" y="3929133"/>
                </a:cubicBezTo>
                <a:cubicBezTo>
                  <a:pt x="5573079" y="4134872"/>
                  <a:pt x="5573079" y="4443482"/>
                  <a:pt x="5573079" y="4649221"/>
                </a:cubicBezTo>
                <a:cubicBezTo>
                  <a:pt x="5555925" y="5283576"/>
                  <a:pt x="5573079" y="5626476"/>
                  <a:pt x="5573079" y="6295138"/>
                </a:cubicBezTo>
                <a:cubicBezTo>
                  <a:pt x="5573079" y="6385143"/>
                  <a:pt x="5582718" y="6475157"/>
                  <a:pt x="5558606" y="6557937"/>
                </a:cubicBezTo>
                <a:lnTo>
                  <a:pt x="5548028" y="6586542"/>
                </a:lnTo>
                <a:lnTo>
                  <a:pt x="0" y="6586542"/>
                </a:lnTo>
                <a:lnTo>
                  <a:pt x="0" y="2276131"/>
                </a:lnTo>
                <a:lnTo>
                  <a:pt x="37381" y="2238202"/>
                </a:lnTo>
                <a:cubicBezTo>
                  <a:pt x="138109" y="2146047"/>
                  <a:pt x="249551" y="2077467"/>
                  <a:pt x="343844" y="1991742"/>
                </a:cubicBezTo>
                <a:cubicBezTo>
                  <a:pt x="858194" y="1443103"/>
                  <a:pt x="1406835" y="945908"/>
                  <a:pt x="1972629" y="448695"/>
                </a:cubicBezTo>
                <a:cubicBezTo>
                  <a:pt x="2195505" y="242956"/>
                  <a:pt x="2452689" y="-31364"/>
                  <a:pt x="2744145" y="2926"/>
                </a:cubicBez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DC7C04E-5ED8-4EA9-8321-1C3F398CE0C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1" cy="6858000"/>
          </a:xfrm>
          <a:custGeom>
            <a:avLst/>
            <a:gdLst>
              <a:gd name="connsiteX0" fmla="*/ 0 w 12192001"/>
              <a:gd name="connsiteY0" fmla="*/ 0 h 6858000"/>
              <a:gd name="connsiteX1" fmla="*/ 12192001 w 12192001"/>
              <a:gd name="connsiteY1" fmla="*/ 0 h 6858000"/>
              <a:gd name="connsiteX2" fmla="*/ 12192001 w 12192001"/>
              <a:gd name="connsiteY2" fmla="*/ 6858000 h 6858000"/>
              <a:gd name="connsiteX3" fmla="*/ 5548029 w 12192001"/>
              <a:gd name="connsiteY3" fmla="*/ 6858000 h 6858000"/>
              <a:gd name="connsiteX4" fmla="*/ 5558606 w 12192001"/>
              <a:gd name="connsiteY4" fmla="*/ 6829395 h 6858000"/>
              <a:gd name="connsiteX5" fmla="*/ 5573080 w 12192001"/>
              <a:gd name="connsiteY5" fmla="*/ 6566596 h 6858000"/>
              <a:gd name="connsiteX6" fmla="*/ 5573080 w 12192001"/>
              <a:gd name="connsiteY6" fmla="*/ 4920679 h 6858000"/>
              <a:gd name="connsiteX7" fmla="*/ 5573080 w 12192001"/>
              <a:gd name="connsiteY7" fmla="*/ 4200591 h 6858000"/>
              <a:gd name="connsiteX8" fmla="*/ 5555925 w 12192001"/>
              <a:gd name="connsiteY8" fmla="*/ 3171893 h 6858000"/>
              <a:gd name="connsiteX9" fmla="*/ 5487345 w 12192001"/>
              <a:gd name="connsiteY9" fmla="*/ 2863283 h 6858000"/>
              <a:gd name="connsiteX10" fmla="*/ 4835835 w 12192001"/>
              <a:gd name="connsiteY10" fmla="*/ 2091751 h 6858000"/>
              <a:gd name="connsiteX11" fmla="*/ 3035619 w 12192001"/>
              <a:gd name="connsiteY11" fmla="*/ 445834 h 6858000"/>
              <a:gd name="connsiteX12" fmla="*/ 2744145 w 12192001"/>
              <a:gd name="connsiteY12" fmla="*/ 274384 h 6858000"/>
              <a:gd name="connsiteX13" fmla="*/ 1972629 w 12192001"/>
              <a:gd name="connsiteY13" fmla="*/ 720153 h 6858000"/>
              <a:gd name="connsiteX14" fmla="*/ 343844 w 12192001"/>
              <a:gd name="connsiteY14" fmla="*/ 2263200 h 6858000"/>
              <a:gd name="connsiteX15" fmla="*/ 37381 w 12192001"/>
              <a:gd name="connsiteY15" fmla="*/ 2509660 h 6858000"/>
              <a:gd name="connsiteX16" fmla="*/ 0 w 12192001"/>
              <a:gd name="connsiteY16" fmla="*/ 254758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2001" h="6858000">
                <a:moveTo>
                  <a:pt x="0" y="0"/>
                </a:moveTo>
                <a:lnTo>
                  <a:pt x="12192001" y="0"/>
                </a:lnTo>
                <a:lnTo>
                  <a:pt x="12192001" y="6858000"/>
                </a:lnTo>
                <a:lnTo>
                  <a:pt x="5548029" y="6858000"/>
                </a:lnTo>
                <a:lnTo>
                  <a:pt x="5558606" y="6829395"/>
                </a:lnTo>
                <a:cubicBezTo>
                  <a:pt x="5582718" y="6746615"/>
                  <a:pt x="5573080" y="6656601"/>
                  <a:pt x="5573080" y="6566596"/>
                </a:cubicBezTo>
                <a:cubicBezTo>
                  <a:pt x="5573080" y="5897934"/>
                  <a:pt x="5555925" y="5555034"/>
                  <a:pt x="5573080" y="4920679"/>
                </a:cubicBezTo>
                <a:cubicBezTo>
                  <a:pt x="5573080" y="4714940"/>
                  <a:pt x="5573080" y="4406330"/>
                  <a:pt x="5573080" y="4200591"/>
                </a:cubicBezTo>
                <a:cubicBezTo>
                  <a:pt x="5590215" y="3823402"/>
                  <a:pt x="5607369" y="3531928"/>
                  <a:pt x="5555925" y="3171893"/>
                </a:cubicBezTo>
                <a:cubicBezTo>
                  <a:pt x="5538789" y="3069023"/>
                  <a:pt x="5521636" y="2966153"/>
                  <a:pt x="5487345" y="2863283"/>
                </a:cubicBezTo>
                <a:cubicBezTo>
                  <a:pt x="5384475" y="2623254"/>
                  <a:pt x="5024439" y="2280354"/>
                  <a:pt x="4835835" y="2091751"/>
                </a:cubicBezTo>
                <a:cubicBezTo>
                  <a:pt x="4287195" y="1525976"/>
                  <a:pt x="3841425" y="1080207"/>
                  <a:pt x="3035619" y="445834"/>
                </a:cubicBezTo>
                <a:cubicBezTo>
                  <a:pt x="2967039" y="377254"/>
                  <a:pt x="2847015" y="291538"/>
                  <a:pt x="2744145" y="274384"/>
                </a:cubicBezTo>
                <a:cubicBezTo>
                  <a:pt x="2452689" y="240094"/>
                  <a:pt x="2195505" y="514414"/>
                  <a:pt x="1972629" y="720153"/>
                </a:cubicBezTo>
                <a:cubicBezTo>
                  <a:pt x="1406835" y="1217366"/>
                  <a:pt x="858194" y="1714561"/>
                  <a:pt x="343844" y="2263200"/>
                </a:cubicBezTo>
                <a:cubicBezTo>
                  <a:pt x="249551" y="2348925"/>
                  <a:pt x="138109" y="2417505"/>
                  <a:pt x="37381" y="2509660"/>
                </a:cubicBezTo>
                <a:lnTo>
                  <a:pt x="0" y="254758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6400800" t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full slide image is 1280 x 7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6AAFD9-7181-4BA5-A2B7-821424B513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2476500"/>
            <a:ext cx="4695825" cy="2463800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53">
            <a:extLst>
              <a:ext uri="{FF2B5EF4-FFF2-40B4-BE49-F238E27FC236}">
                <a16:creationId xmlns:a16="http://schemas.microsoft.com/office/drawing/2014/main" id="{D275F703-BAB3-4AC2-B21C-F4D222E298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1332" y="5297713"/>
            <a:ext cx="4684090" cy="73152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Subtitle text (optional)</a:t>
            </a:r>
          </a:p>
        </p:txBody>
      </p:sp>
    </p:spTree>
    <p:extLst>
      <p:ext uri="{BB962C8B-B14F-4D97-AF65-F5344CB8AC3E}">
        <p14:creationId xmlns:p14="http://schemas.microsoft.com/office/powerpoint/2010/main" val="37681513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Arrow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930312BD-1466-44B1-91B9-A5BC6B67C99E}"/>
              </a:ext>
            </a:extLst>
          </p:cNvPr>
          <p:cNvSpPr/>
          <p:nvPr/>
        </p:nvSpPr>
        <p:spPr bwMode="white">
          <a:xfrm>
            <a:off x="0" y="271458"/>
            <a:ext cx="5590219" cy="6586542"/>
          </a:xfrm>
          <a:custGeom>
            <a:avLst/>
            <a:gdLst>
              <a:gd name="connsiteX0" fmla="*/ 2744145 w 5590219"/>
              <a:gd name="connsiteY0" fmla="*/ 2926 h 6586542"/>
              <a:gd name="connsiteX1" fmla="*/ 3035619 w 5590219"/>
              <a:gd name="connsiteY1" fmla="*/ 174376 h 6586542"/>
              <a:gd name="connsiteX2" fmla="*/ 4835835 w 5590219"/>
              <a:gd name="connsiteY2" fmla="*/ 1820293 h 6586542"/>
              <a:gd name="connsiteX3" fmla="*/ 5487345 w 5590219"/>
              <a:gd name="connsiteY3" fmla="*/ 2591825 h 6586542"/>
              <a:gd name="connsiteX4" fmla="*/ 5555925 w 5590219"/>
              <a:gd name="connsiteY4" fmla="*/ 2900435 h 6586542"/>
              <a:gd name="connsiteX5" fmla="*/ 5573079 w 5590219"/>
              <a:gd name="connsiteY5" fmla="*/ 3929133 h 6586542"/>
              <a:gd name="connsiteX6" fmla="*/ 5573079 w 5590219"/>
              <a:gd name="connsiteY6" fmla="*/ 4649221 h 6586542"/>
              <a:gd name="connsiteX7" fmla="*/ 5573079 w 5590219"/>
              <a:gd name="connsiteY7" fmla="*/ 6295138 h 6586542"/>
              <a:gd name="connsiteX8" fmla="*/ 5558606 w 5590219"/>
              <a:gd name="connsiteY8" fmla="*/ 6557937 h 6586542"/>
              <a:gd name="connsiteX9" fmla="*/ 5548028 w 5590219"/>
              <a:gd name="connsiteY9" fmla="*/ 6586542 h 6586542"/>
              <a:gd name="connsiteX10" fmla="*/ 0 w 5590219"/>
              <a:gd name="connsiteY10" fmla="*/ 6586542 h 6586542"/>
              <a:gd name="connsiteX11" fmla="*/ 0 w 5590219"/>
              <a:gd name="connsiteY11" fmla="*/ 2276131 h 6586542"/>
              <a:gd name="connsiteX12" fmla="*/ 37381 w 5590219"/>
              <a:gd name="connsiteY12" fmla="*/ 2238202 h 6586542"/>
              <a:gd name="connsiteX13" fmla="*/ 343844 w 5590219"/>
              <a:gd name="connsiteY13" fmla="*/ 1991742 h 6586542"/>
              <a:gd name="connsiteX14" fmla="*/ 1972629 w 5590219"/>
              <a:gd name="connsiteY14" fmla="*/ 448695 h 6586542"/>
              <a:gd name="connsiteX15" fmla="*/ 2744145 w 5590219"/>
              <a:gd name="connsiteY15" fmla="*/ 2926 h 6586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90219" h="6586542">
                <a:moveTo>
                  <a:pt x="2744145" y="2926"/>
                </a:moveTo>
                <a:cubicBezTo>
                  <a:pt x="2847015" y="20080"/>
                  <a:pt x="2967039" y="105796"/>
                  <a:pt x="3035619" y="174376"/>
                </a:cubicBezTo>
                <a:cubicBezTo>
                  <a:pt x="3841425" y="808749"/>
                  <a:pt x="4287195" y="1254518"/>
                  <a:pt x="4835835" y="1820293"/>
                </a:cubicBezTo>
                <a:cubicBezTo>
                  <a:pt x="5024439" y="2008896"/>
                  <a:pt x="5384475" y="2351796"/>
                  <a:pt x="5487345" y="2591825"/>
                </a:cubicBezTo>
                <a:cubicBezTo>
                  <a:pt x="5521635" y="2694695"/>
                  <a:pt x="5538789" y="2797565"/>
                  <a:pt x="5555925" y="2900435"/>
                </a:cubicBezTo>
                <a:cubicBezTo>
                  <a:pt x="5607369" y="3260470"/>
                  <a:pt x="5590215" y="3551944"/>
                  <a:pt x="5573079" y="3929133"/>
                </a:cubicBezTo>
                <a:cubicBezTo>
                  <a:pt x="5573079" y="4134872"/>
                  <a:pt x="5573079" y="4443482"/>
                  <a:pt x="5573079" y="4649221"/>
                </a:cubicBezTo>
                <a:cubicBezTo>
                  <a:pt x="5555925" y="5283576"/>
                  <a:pt x="5573079" y="5626476"/>
                  <a:pt x="5573079" y="6295138"/>
                </a:cubicBezTo>
                <a:cubicBezTo>
                  <a:pt x="5573079" y="6385143"/>
                  <a:pt x="5582718" y="6475157"/>
                  <a:pt x="5558606" y="6557937"/>
                </a:cubicBezTo>
                <a:lnTo>
                  <a:pt x="5548028" y="6586542"/>
                </a:lnTo>
                <a:lnTo>
                  <a:pt x="0" y="6586542"/>
                </a:lnTo>
                <a:lnTo>
                  <a:pt x="0" y="2276131"/>
                </a:lnTo>
                <a:lnTo>
                  <a:pt x="37381" y="2238202"/>
                </a:lnTo>
                <a:cubicBezTo>
                  <a:pt x="138109" y="2146047"/>
                  <a:pt x="249551" y="2077467"/>
                  <a:pt x="343844" y="1991742"/>
                </a:cubicBezTo>
                <a:cubicBezTo>
                  <a:pt x="858194" y="1443103"/>
                  <a:pt x="1406835" y="945908"/>
                  <a:pt x="1972629" y="448695"/>
                </a:cubicBezTo>
                <a:cubicBezTo>
                  <a:pt x="2195505" y="242956"/>
                  <a:pt x="2452689" y="-31364"/>
                  <a:pt x="2744145" y="2926"/>
                </a:cubicBezTo>
                <a:close/>
              </a:path>
            </a:pathLst>
          </a:custGeom>
          <a:solidFill>
            <a:schemeClr val="accent3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DC7C04E-5ED8-4EA9-8321-1C3F398CE0C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1" cy="6858000"/>
          </a:xfrm>
          <a:custGeom>
            <a:avLst/>
            <a:gdLst>
              <a:gd name="connsiteX0" fmla="*/ 0 w 12192001"/>
              <a:gd name="connsiteY0" fmla="*/ 0 h 6858000"/>
              <a:gd name="connsiteX1" fmla="*/ 12192001 w 12192001"/>
              <a:gd name="connsiteY1" fmla="*/ 0 h 6858000"/>
              <a:gd name="connsiteX2" fmla="*/ 12192001 w 12192001"/>
              <a:gd name="connsiteY2" fmla="*/ 6858000 h 6858000"/>
              <a:gd name="connsiteX3" fmla="*/ 5548029 w 12192001"/>
              <a:gd name="connsiteY3" fmla="*/ 6858000 h 6858000"/>
              <a:gd name="connsiteX4" fmla="*/ 5558606 w 12192001"/>
              <a:gd name="connsiteY4" fmla="*/ 6829395 h 6858000"/>
              <a:gd name="connsiteX5" fmla="*/ 5573080 w 12192001"/>
              <a:gd name="connsiteY5" fmla="*/ 6566596 h 6858000"/>
              <a:gd name="connsiteX6" fmla="*/ 5573080 w 12192001"/>
              <a:gd name="connsiteY6" fmla="*/ 4920679 h 6858000"/>
              <a:gd name="connsiteX7" fmla="*/ 5573080 w 12192001"/>
              <a:gd name="connsiteY7" fmla="*/ 4200591 h 6858000"/>
              <a:gd name="connsiteX8" fmla="*/ 5555925 w 12192001"/>
              <a:gd name="connsiteY8" fmla="*/ 3171893 h 6858000"/>
              <a:gd name="connsiteX9" fmla="*/ 5487345 w 12192001"/>
              <a:gd name="connsiteY9" fmla="*/ 2863283 h 6858000"/>
              <a:gd name="connsiteX10" fmla="*/ 4835835 w 12192001"/>
              <a:gd name="connsiteY10" fmla="*/ 2091751 h 6858000"/>
              <a:gd name="connsiteX11" fmla="*/ 3035619 w 12192001"/>
              <a:gd name="connsiteY11" fmla="*/ 445834 h 6858000"/>
              <a:gd name="connsiteX12" fmla="*/ 2744145 w 12192001"/>
              <a:gd name="connsiteY12" fmla="*/ 274384 h 6858000"/>
              <a:gd name="connsiteX13" fmla="*/ 1972629 w 12192001"/>
              <a:gd name="connsiteY13" fmla="*/ 720153 h 6858000"/>
              <a:gd name="connsiteX14" fmla="*/ 343844 w 12192001"/>
              <a:gd name="connsiteY14" fmla="*/ 2263200 h 6858000"/>
              <a:gd name="connsiteX15" fmla="*/ 37381 w 12192001"/>
              <a:gd name="connsiteY15" fmla="*/ 2509660 h 6858000"/>
              <a:gd name="connsiteX16" fmla="*/ 0 w 12192001"/>
              <a:gd name="connsiteY16" fmla="*/ 254758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2001" h="6858000">
                <a:moveTo>
                  <a:pt x="0" y="0"/>
                </a:moveTo>
                <a:lnTo>
                  <a:pt x="12192001" y="0"/>
                </a:lnTo>
                <a:lnTo>
                  <a:pt x="12192001" y="6858000"/>
                </a:lnTo>
                <a:lnTo>
                  <a:pt x="5548029" y="6858000"/>
                </a:lnTo>
                <a:lnTo>
                  <a:pt x="5558606" y="6829395"/>
                </a:lnTo>
                <a:cubicBezTo>
                  <a:pt x="5582718" y="6746615"/>
                  <a:pt x="5573080" y="6656601"/>
                  <a:pt x="5573080" y="6566596"/>
                </a:cubicBezTo>
                <a:cubicBezTo>
                  <a:pt x="5573080" y="5897934"/>
                  <a:pt x="5555925" y="5555034"/>
                  <a:pt x="5573080" y="4920679"/>
                </a:cubicBezTo>
                <a:cubicBezTo>
                  <a:pt x="5573080" y="4714940"/>
                  <a:pt x="5573080" y="4406330"/>
                  <a:pt x="5573080" y="4200591"/>
                </a:cubicBezTo>
                <a:cubicBezTo>
                  <a:pt x="5590215" y="3823402"/>
                  <a:pt x="5607369" y="3531928"/>
                  <a:pt x="5555925" y="3171893"/>
                </a:cubicBezTo>
                <a:cubicBezTo>
                  <a:pt x="5538789" y="3069023"/>
                  <a:pt x="5521636" y="2966153"/>
                  <a:pt x="5487345" y="2863283"/>
                </a:cubicBezTo>
                <a:cubicBezTo>
                  <a:pt x="5384475" y="2623254"/>
                  <a:pt x="5024439" y="2280354"/>
                  <a:pt x="4835835" y="2091751"/>
                </a:cubicBezTo>
                <a:cubicBezTo>
                  <a:pt x="4287195" y="1525976"/>
                  <a:pt x="3841425" y="1080207"/>
                  <a:pt x="3035619" y="445834"/>
                </a:cubicBezTo>
                <a:cubicBezTo>
                  <a:pt x="2967039" y="377254"/>
                  <a:pt x="2847015" y="291538"/>
                  <a:pt x="2744145" y="274384"/>
                </a:cubicBezTo>
                <a:cubicBezTo>
                  <a:pt x="2452689" y="240094"/>
                  <a:pt x="2195505" y="514414"/>
                  <a:pt x="1972629" y="720153"/>
                </a:cubicBezTo>
                <a:cubicBezTo>
                  <a:pt x="1406835" y="1217366"/>
                  <a:pt x="858194" y="1714561"/>
                  <a:pt x="343844" y="2263200"/>
                </a:cubicBezTo>
                <a:cubicBezTo>
                  <a:pt x="249551" y="2348925"/>
                  <a:pt x="138109" y="2417505"/>
                  <a:pt x="37381" y="2509660"/>
                </a:cubicBezTo>
                <a:lnTo>
                  <a:pt x="0" y="254758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6400800" t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full slide image is 1280 x 7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6AAFD9-7181-4BA5-A2B7-821424B513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2476500"/>
            <a:ext cx="4695825" cy="2463800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53">
            <a:extLst>
              <a:ext uri="{FF2B5EF4-FFF2-40B4-BE49-F238E27FC236}">
                <a16:creationId xmlns:a16="http://schemas.microsoft.com/office/drawing/2014/main" id="{D275F703-BAB3-4AC2-B21C-F4D222E298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1332" y="5297713"/>
            <a:ext cx="4684090" cy="73152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Subtitle text (optional)</a:t>
            </a:r>
          </a:p>
        </p:txBody>
      </p:sp>
    </p:spTree>
    <p:extLst>
      <p:ext uri="{BB962C8B-B14F-4D97-AF65-F5344CB8AC3E}">
        <p14:creationId xmlns:p14="http://schemas.microsoft.com/office/powerpoint/2010/main" val="1077886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Hexago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4730513-B885-49F0-9C17-F45E71DFE844}"/>
              </a:ext>
            </a:extLst>
          </p:cNvPr>
          <p:cNvSpPr/>
          <p:nvPr/>
        </p:nvSpPr>
        <p:spPr bwMode="white">
          <a:xfrm>
            <a:off x="0" y="0"/>
            <a:ext cx="6003366" cy="6105046"/>
          </a:xfrm>
          <a:custGeom>
            <a:avLst/>
            <a:gdLst>
              <a:gd name="connsiteX0" fmla="*/ 0 w 6003366"/>
              <a:gd name="connsiteY0" fmla="*/ 0 h 6105046"/>
              <a:gd name="connsiteX1" fmla="*/ 4639238 w 6003366"/>
              <a:gd name="connsiteY1" fmla="*/ 0 h 6105046"/>
              <a:gd name="connsiteX2" fmla="*/ 4663657 w 6003366"/>
              <a:gd name="connsiteY2" fmla="*/ 38495 h 6105046"/>
              <a:gd name="connsiteX3" fmla="*/ 5718321 w 6003366"/>
              <a:gd name="connsiteY3" fmla="*/ 1734501 h 6105046"/>
              <a:gd name="connsiteX4" fmla="*/ 6003366 w 6003366"/>
              <a:gd name="connsiteY4" fmla="*/ 2432867 h 6105046"/>
              <a:gd name="connsiteX5" fmla="*/ 5775330 w 6003366"/>
              <a:gd name="connsiteY5" fmla="*/ 3131218 h 6105046"/>
              <a:gd name="connsiteX6" fmla="*/ 4449866 w 6003366"/>
              <a:gd name="connsiteY6" fmla="*/ 5696617 h 6105046"/>
              <a:gd name="connsiteX7" fmla="*/ 4250335 w 6003366"/>
              <a:gd name="connsiteY7" fmla="*/ 5981661 h 6105046"/>
              <a:gd name="connsiteX8" fmla="*/ 3780019 w 6003366"/>
              <a:gd name="connsiteY8" fmla="*/ 6095679 h 6105046"/>
              <a:gd name="connsiteX9" fmla="*/ 1171855 w 6003366"/>
              <a:gd name="connsiteY9" fmla="*/ 6081434 h 6105046"/>
              <a:gd name="connsiteX10" fmla="*/ 459244 w 6003366"/>
              <a:gd name="connsiteY10" fmla="*/ 5967416 h 6105046"/>
              <a:gd name="connsiteX11" fmla="*/ 58904 w 6003366"/>
              <a:gd name="connsiteY11" fmla="*/ 5687075 h 6105046"/>
              <a:gd name="connsiteX12" fmla="*/ 0 w 6003366"/>
              <a:gd name="connsiteY12" fmla="*/ 5620135 h 6105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03366" h="6105046">
                <a:moveTo>
                  <a:pt x="0" y="0"/>
                </a:moveTo>
                <a:lnTo>
                  <a:pt x="4639238" y="0"/>
                </a:lnTo>
                <a:lnTo>
                  <a:pt x="4663657" y="38495"/>
                </a:lnTo>
                <a:cubicBezTo>
                  <a:pt x="5019955" y="608583"/>
                  <a:pt x="5362008" y="1164412"/>
                  <a:pt x="5718321" y="1734501"/>
                </a:cubicBezTo>
                <a:cubicBezTo>
                  <a:pt x="5860843" y="1948291"/>
                  <a:pt x="5989106" y="2176327"/>
                  <a:pt x="6003366" y="2432867"/>
                </a:cubicBezTo>
                <a:cubicBezTo>
                  <a:pt x="6003366" y="2675147"/>
                  <a:pt x="5889348" y="2917442"/>
                  <a:pt x="5775330" y="3131218"/>
                </a:cubicBezTo>
                <a:cubicBezTo>
                  <a:pt x="5333504" y="3986351"/>
                  <a:pt x="4891692" y="4841484"/>
                  <a:pt x="4449866" y="5696617"/>
                </a:cubicBezTo>
                <a:cubicBezTo>
                  <a:pt x="4392857" y="5810634"/>
                  <a:pt x="4335848" y="5910407"/>
                  <a:pt x="4250335" y="5981661"/>
                </a:cubicBezTo>
                <a:cubicBezTo>
                  <a:pt x="4122072" y="6081434"/>
                  <a:pt x="3951046" y="6095679"/>
                  <a:pt x="3780019" y="6095679"/>
                </a:cubicBezTo>
                <a:cubicBezTo>
                  <a:pt x="2910626" y="6109938"/>
                  <a:pt x="2041248" y="6109938"/>
                  <a:pt x="1171855" y="6081434"/>
                </a:cubicBezTo>
                <a:cubicBezTo>
                  <a:pt x="929574" y="6067174"/>
                  <a:pt x="687279" y="6067174"/>
                  <a:pt x="459244" y="5967416"/>
                </a:cubicBezTo>
                <a:cubicBezTo>
                  <a:pt x="304254" y="5903281"/>
                  <a:pt x="173312" y="5805074"/>
                  <a:pt x="58904" y="5687075"/>
                </a:cubicBezTo>
                <a:lnTo>
                  <a:pt x="0" y="5620135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C95E134-4758-4A15-97D4-E85BCD1919D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1" cy="6858000"/>
          </a:xfrm>
          <a:custGeom>
            <a:avLst/>
            <a:gdLst>
              <a:gd name="connsiteX0" fmla="*/ 4639238 w 12192001"/>
              <a:gd name="connsiteY0" fmla="*/ 0 h 6858000"/>
              <a:gd name="connsiteX1" fmla="*/ 12192001 w 12192001"/>
              <a:gd name="connsiteY1" fmla="*/ 0 h 6858000"/>
              <a:gd name="connsiteX2" fmla="*/ 12192001 w 12192001"/>
              <a:gd name="connsiteY2" fmla="*/ 6858000 h 6858000"/>
              <a:gd name="connsiteX3" fmla="*/ 0 w 12192001"/>
              <a:gd name="connsiteY3" fmla="*/ 6858000 h 6858000"/>
              <a:gd name="connsiteX4" fmla="*/ 0 w 12192001"/>
              <a:gd name="connsiteY4" fmla="*/ 5620135 h 6858000"/>
              <a:gd name="connsiteX5" fmla="*/ 58904 w 12192001"/>
              <a:gd name="connsiteY5" fmla="*/ 5687075 h 6858000"/>
              <a:gd name="connsiteX6" fmla="*/ 459244 w 12192001"/>
              <a:gd name="connsiteY6" fmla="*/ 5967416 h 6858000"/>
              <a:gd name="connsiteX7" fmla="*/ 1171855 w 12192001"/>
              <a:gd name="connsiteY7" fmla="*/ 6081434 h 6858000"/>
              <a:gd name="connsiteX8" fmla="*/ 3780019 w 12192001"/>
              <a:gd name="connsiteY8" fmla="*/ 6095679 h 6858000"/>
              <a:gd name="connsiteX9" fmla="*/ 4250335 w 12192001"/>
              <a:gd name="connsiteY9" fmla="*/ 5981661 h 6858000"/>
              <a:gd name="connsiteX10" fmla="*/ 4449866 w 12192001"/>
              <a:gd name="connsiteY10" fmla="*/ 5696617 h 6858000"/>
              <a:gd name="connsiteX11" fmla="*/ 5775330 w 12192001"/>
              <a:gd name="connsiteY11" fmla="*/ 3131218 h 6858000"/>
              <a:gd name="connsiteX12" fmla="*/ 6003366 w 12192001"/>
              <a:gd name="connsiteY12" fmla="*/ 2432867 h 6858000"/>
              <a:gd name="connsiteX13" fmla="*/ 5718321 w 12192001"/>
              <a:gd name="connsiteY13" fmla="*/ 1734501 h 6858000"/>
              <a:gd name="connsiteX14" fmla="*/ 4663657 w 12192001"/>
              <a:gd name="connsiteY14" fmla="*/ 3849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1" h="6858000">
                <a:moveTo>
                  <a:pt x="4639238" y="0"/>
                </a:moveTo>
                <a:lnTo>
                  <a:pt x="12192001" y="0"/>
                </a:lnTo>
                <a:lnTo>
                  <a:pt x="12192001" y="6858000"/>
                </a:lnTo>
                <a:lnTo>
                  <a:pt x="0" y="6858000"/>
                </a:lnTo>
                <a:lnTo>
                  <a:pt x="0" y="5620135"/>
                </a:lnTo>
                <a:lnTo>
                  <a:pt x="58904" y="5687075"/>
                </a:lnTo>
                <a:cubicBezTo>
                  <a:pt x="173312" y="5805074"/>
                  <a:pt x="304254" y="5903281"/>
                  <a:pt x="459244" y="5967416"/>
                </a:cubicBezTo>
                <a:cubicBezTo>
                  <a:pt x="687279" y="6067174"/>
                  <a:pt x="929574" y="6067174"/>
                  <a:pt x="1171855" y="6081434"/>
                </a:cubicBezTo>
                <a:cubicBezTo>
                  <a:pt x="2041248" y="6109938"/>
                  <a:pt x="2910626" y="6109938"/>
                  <a:pt x="3780019" y="6095679"/>
                </a:cubicBezTo>
                <a:cubicBezTo>
                  <a:pt x="3951046" y="6095679"/>
                  <a:pt x="4122072" y="6081434"/>
                  <a:pt x="4250335" y="5981661"/>
                </a:cubicBezTo>
                <a:cubicBezTo>
                  <a:pt x="4335848" y="5910407"/>
                  <a:pt x="4392857" y="5810634"/>
                  <a:pt x="4449866" y="5696617"/>
                </a:cubicBezTo>
                <a:cubicBezTo>
                  <a:pt x="4891692" y="4841484"/>
                  <a:pt x="5333504" y="3986351"/>
                  <a:pt x="5775330" y="3131218"/>
                </a:cubicBezTo>
                <a:cubicBezTo>
                  <a:pt x="5889348" y="2917442"/>
                  <a:pt x="6003366" y="2675147"/>
                  <a:pt x="6003366" y="2432867"/>
                </a:cubicBezTo>
                <a:cubicBezTo>
                  <a:pt x="5989106" y="2176327"/>
                  <a:pt x="5860843" y="1948291"/>
                  <a:pt x="5718321" y="1734501"/>
                </a:cubicBezTo>
                <a:cubicBezTo>
                  <a:pt x="5362008" y="1164412"/>
                  <a:pt x="5019956" y="608583"/>
                  <a:pt x="4663657" y="38495"/>
                </a:cubicBezTo>
                <a:close/>
              </a:path>
            </a:pathLst>
          </a:custGeom>
          <a:solidFill>
            <a:srgbClr val="D9D9D9"/>
          </a:solidFill>
        </p:spPr>
        <p:txBody>
          <a:bodyPr wrap="square" lIns="6400800" t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full slide image is 1280 x 7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6AAFD9-7181-4BA5-A2B7-821424B513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914400"/>
            <a:ext cx="4670401" cy="2400300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53">
            <a:extLst>
              <a:ext uri="{FF2B5EF4-FFF2-40B4-BE49-F238E27FC236}">
                <a16:creationId xmlns:a16="http://schemas.microsoft.com/office/drawing/2014/main" id="{D275F703-BAB3-4AC2-B21C-F4D222E298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672" y="3659413"/>
            <a:ext cx="4365357" cy="73152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Subtitle text (optional)</a:t>
            </a:r>
          </a:p>
        </p:txBody>
      </p:sp>
    </p:spTree>
    <p:extLst>
      <p:ext uri="{BB962C8B-B14F-4D97-AF65-F5344CB8AC3E}">
        <p14:creationId xmlns:p14="http://schemas.microsoft.com/office/powerpoint/2010/main" val="19049914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AA6159-B06A-4786-B440-2BBF2AD8C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914400"/>
            <a:ext cx="7353300" cy="3467100"/>
          </a:xfrm>
        </p:spPr>
        <p:txBody>
          <a:bodyPr anchor="b"/>
          <a:lstStyle>
            <a:lvl1pPr>
              <a:lnSpc>
                <a:spcPct val="82000"/>
              </a:lnSpc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1094D5-7DA6-4745-8DC9-C1C7B6A3584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601" y="4726213"/>
            <a:ext cx="7353300" cy="73152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 text (optional)</a:t>
            </a:r>
          </a:p>
        </p:txBody>
      </p:sp>
    </p:spTree>
    <p:extLst>
      <p:ext uri="{BB962C8B-B14F-4D97-AF65-F5344CB8AC3E}">
        <p14:creationId xmlns:p14="http://schemas.microsoft.com/office/powerpoint/2010/main" val="20637750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ircle Number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5429212D-B00C-4BBB-BB9D-1666236C692B}"/>
              </a:ext>
            </a:extLst>
          </p:cNvPr>
          <p:cNvSpPr/>
          <p:nvPr/>
        </p:nvSpPr>
        <p:spPr bwMode="lt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990842 h 6858000"/>
              <a:gd name="connsiteX5" fmla="*/ 150975 w 12192000"/>
              <a:gd name="connsiteY5" fmla="*/ 5998474 h 6858000"/>
              <a:gd name="connsiteX6" fmla="*/ 5193108 w 12192000"/>
              <a:gd name="connsiteY6" fmla="*/ 6001978 h 6858000"/>
              <a:gd name="connsiteX7" fmla="*/ 8558788 w 12192000"/>
              <a:gd name="connsiteY7" fmla="*/ 6014203 h 6858000"/>
              <a:gd name="connsiteX8" fmla="*/ 11288459 w 12192000"/>
              <a:gd name="connsiteY8" fmla="*/ 6050854 h 6858000"/>
              <a:gd name="connsiteX9" fmla="*/ 11871493 w 12192000"/>
              <a:gd name="connsiteY9" fmla="*/ 5281048 h 6858000"/>
              <a:gd name="connsiteX10" fmla="*/ 11897981 w 12192000"/>
              <a:gd name="connsiteY10" fmla="*/ 3643667 h 6858000"/>
              <a:gd name="connsiteX11" fmla="*/ 11924496 w 12192000"/>
              <a:gd name="connsiteY11" fmla="*/ 2409516 h 6858000"/>
              <a:gd name="connsiteX12" fmla="*/ 11924496 w 12192000"/>
              <a:gd name="connsiteY12" fmla="*/ 1554168 h 6858000"/>
              <a:gd name="connsiteX13" fmla="*/ 11844978 w 12192000"/>
              <a:gd name="connsiteY13" fmla="*/ 491099 h 6858000"/>
              <a:gd name="connsiteX14" fmla="*/ 10943926 w 12192000"/>
              <a:gd name="connsiteY14" fmla="*/ 295591 h 6858000"/>
              <a:gd name="connsiteX15" fmla="*/ 10016386 w 12192000"/>
              <a:gd name="connsiteY15" fmla="*/ 283365 h 6858000"/>
              <a:gd name="connsiteX16" fmla="*/ 9062331 w 12192000"/>
              <a:gd name="connsiteY16" fmla="*/ 222275 h 6858000"/>
              <a:gd name="connsiteX17" fmla="*/ 1906918 w 12192000"/>
              <a:gd name="connsiteY17" fmla="*/ 271152 h 6858000"/>
              <a:gd name="connsiteX18" fmla="*/ 581842 w 12192000"/>
              <a:gd name="connsiteY18" fmla="*/ 332242 h 6858000"/>
              <a:gd name="connsiteX19" fmla="*/ 39127 w 12192000"/>
              <a:gd name="connsiteY19" fmla="*/ 367898 h 6858000"/>
              <a:gd name="connsiteX20" fmla="*/ 0 w 12192000"/>
              <a:gd name="connsiteY20" fmla="*/ 37256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990842"/>
                </a:lnTo>
                <a:lnTo>
                  <a:pt x="150975" y="5998474"/>
                </a:lnTo>
                <a:cubicBezTo>
                  <a:pt x="1703185" y="6058110"/>
                  <a:pt x="3407556" y="6001978"/>
                  <a:pt x="5193108" y="6001978"/>
                </a:cubicBezTo>
                <a:cubicBezTo>
                  <a:pt x="6226654" y="6001978"/>
                  <a:pt x="7551730" y="6026417"/>
                  <a:pt x="8558788" y="6014203"/>
                </a:cubicBezTo>
                <a:cubicBezTo>
                  <a:pt x="8876806" y="6001978"/>
                  <a:pt x="10970441" y="6050854"/>
                  <a:pt x="11288459" y="6050854"/>
                </a:cubicBezTo>
                <a:cubicBezTo>
                  <a:pt x="11977499" y="6050854"/>
                  <a:pt x="11871493" y="5659839"/>
                  <a:pt x="11871493" y="5281048"/>
                </a:cubicBezTo>
                <a:cubicBezTo>
                  <a:pt x="11844978" y="4731174"/>
                  <a:pt x="11950984" y="4193527"/>
                  <a:pt x="11897981" y="3643667"/>
                </a:cubicBezTo>
                <a:cubicBezTo>
                  <a:pt x="11871493" y="3240426"/>
                  <a:pt x="11950984" y="2812758"/>
                  <a:pt x="11924496" y="2409516"/>
                </a:cubicBezTo>
                <a:cubicBezTo>
                  <a:pt x="11897981" y="2128479"/>
                  <a:pt x="11950984" y="1835217"/>
                  <a:pt x="11924496" y="1554168"/>
                </a:cubicBezTo>
                <a:cubicBezTo>
                  <a:pt x="11897981" y="1273131"/>
                  <a:pt x="11950984" y="857677"/>
                  <a:pt x="11844978" y="491099"/>
                </a:cubicBezTo>
                <a:cubicBezTo>
                  <a:pt x="11791974" y="344467"/>
                  <a:pt x="11314947" y="320030"/>
                  <a:pt x="10943926" y="295591"/>
                </a:cubicBezTo>
                <a:cubicBezTo>
                  <a:pt x="10731913" y="283365"/>
                  <a:pt x="10334404" y="307804"/>
                  <a:pt x="10016386" y="283365"/>
                </a:cubicBezTo>
                <a:cubicBezTo>
                  <a:pt x="9777858" y="258927"/>
                  <a:pt x="9327346" y="222275"/>
                  <a:pt x="9062331" y="222275"/>
                </a:cubicBezTo>
                <a:cubicBezTo>
                  <a:pt x="6359175" y="185611"/>
                  <a:pt x="5034099" y="258927"/>
                  <a:pt x="1906918" y="271152"/>
                </a:cubicBezTo>
                <a:cubicBezTo>
                  <a:pt x="1615388" y="271152"/>
                  <a:pt x="1217879" y="271152"/>
                  <a:pt x="581842" y="332242"/>
                </a:cubicBezTo>
                <a:cubicBezTo>
                  <a:pt x="363204" y="350571"/>
                  <a:pt x="185559" y="355153"/>
                  <a:pt x="39127" y="367898"/>
                </a:cubicBezTo>
                <a:lnTo>
                  <a:pt x="0" y="372567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4F0FFF-5D36-4549-8268-45CFD8189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2" y="429065"/>
            <a:ext cx="11294180" cy="4853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2CAF28-BA8C-48BC-AC7B-67ED87054B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EB1475D-EF5B-48A6-8CCB-3BD08F726926}" type="datetimeFigureOut">
              <a:rPr lang="en-US"/>
              <a:pPr/>
              <a:t>6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DD4960-69A7-4E3C-9AD4-21496392E0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74DF74-F5E9-4644-AFC4-45DD819ED1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565A54F4-DB31-4FC5-B748-3F06867349C3}" type="slidenum">
              <a:rPr lang="en-US"/>
              <a:pPr/>
              <a:t>‹#›</a:t>
            </a:fld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FD305FA-3E8C-4125-9A77-5EC36A2132EA}"/>
              </a:ext>
            </a:extLst>
          </p:cNvPr>
          <p:cNvGrpSpPr>
            <a:grpSpLocks noChangeAspect="1"/>
          </p:cNvGrpSpPr>
          <p:nvPr/>
        </p:nvGrpSpPr>
        <p:grpSpPr>
          <a:xfrm>
            <a:off x="10676779" y="6205751"/>
            <a:ext cx="1143000" cy="440144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155931C-326F-4267-9BC5-89EB4D2E96F6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72C407B-D3EF-4996-A77D-4376FAEF30F9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75D4722-DDE2-4E36-ADA4-6B4FF78954BA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BE1D7AF-956D-4A32-B45C-0B84DA0E4E1A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E905069-5A9F-4256-9865-26C748322AAC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21AE7A8-58AC-45E5-8868-AE57A64019A6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4DFD2FB-510C-4156-98D8-02939396C287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AA471C0-6209-4B7B-901C-48CCE2BC7D52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431BB416-75D8-47BF-9E4E-9027F57E85DD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AEB78440-7F62-4D79-9483-861B628F32D2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C9D7D0A-4F73-4194-9757-8A00A890A672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C5246292-11FA-4726-9072-DDDA78218BFC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9ACEC316-BA5C-440C-89BF-6FE143520B34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435751A7-0636-4A94-82A5-061081DF9E1F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8B40D30E-3FD1-4BB4-B9AC-09DA2F2D5CE1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9B44342E-62F3-4A6E-9AEC-F34D3436B671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9857CCB-8FF9-4139-8A9B-3C59A36A0348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FC1A0A4-BD0A-43E3-AA8C-35E9A0DA95ED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4DC71C56-C4F6-45F5-9717-6FFB05DFB38A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669EF73-3FE0-4CA9-8956-AE8D9E8EF522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9566FE17-6DFB-4B41-9F21-2F7F40BFEFCB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52296D45-E00F-46CB-8C2E-441F3F4EEBB8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D99CC68-D3E2-4B92-ADB7-0C09AF4A4A84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8D9F3B7D-3D0E-46E7-8821-91592A37E87D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56789F94-77D1-419E-9CB0-17B670111926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9E33C35F-2A47-43BD-A69C-C7EEB1924394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F2F4E1C-4B0E-4041-AFAD-37EBA7110ECE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3BD4128C-C42F-4336-BDBD-E914A28EFC6F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C6CA1296-E56E-4964-A66F-3EB3E89A1239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92FBFDE-3137-468A-8F8D-05A481D5D8C8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5C916629-4CAD-4AF4-9647-09F37B1F9C13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634B62B-26FD-4099-9C72-DED3E7F20DC3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25DE5C31-EDDF-4BF1-8681-14E1D78A16D0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AA123048-4C12-46AC-9243-BF2263C43BE6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D2174A2-CA7D-446C-AD8A-8C4DE990DD26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6A074F1E-F61E-4BB1-A6F8-4B878375C02B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A7E978CE-B7FC-4134-A0E0-BB1C5A9FD982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8D2DE57F-1699-43AB-8646-668F794713B2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8E0DB68-7257-4198-9DF3-32DE34D75DCC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57C41A0D-C2E3-4D53-84BE-98D0A1FDB835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F0CBCB5D-8273-445A-953A-CC3C6A32C121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B3252F-B372-453C-853F-96C6D6241684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53" name="Text Placeholder 53">
            <a:extLst>
              <a:ext uri="{FF2B5EF4-FFF2-40B4-BE49-F238E27FC236}">
                <a16:creationId xmlns:a16="http://schemas.microsoft.com/office/drawing/2014/main" id="{A06BB12E-B6C0-430E-92B2-14BF001693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1551" y="1444711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Type first item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669D2195-8E5A-403C-9846-2544DFFAF2B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1418375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59" name="Text Placeholder 53">
            <a:extLst>
              <a:ext uri="{FF2B5EF4-FFF2-40B4-BE49-F238E27FC236}">
                <a16:creationId xmlns:a16="http://schemas.microsoft.com/office/drawing/2014/main" id="{A7B5E7A9-B9DF-45F8-A739-FC8A9096C7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1551" y="2107168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Type next item</a:t>
            </a:r>
          </a:p>
        </p:txBody>
      </p:sp>
      <p:sp>
        <p:nvSpPr>
          <p:cNvPr id="60" name="Text Placeholder 59">
            <a:extLst>
              <a:ext uri="{FF2B5EF4-FFF2-40B4-BE49-F238E27FC236}">
                <a16:creationId xmlns:a16="http://schemas.microsoft.com/office/drawing/2014/main" id="{A21D3DEF-A031-45FE-89E2-41EF0AF9C9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1" y="2080832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1" name="Text Placeholder 53">
            <a:extLst>
              <a:ext uri="{FF2B5EF4-FFF2-40B4-BE49-F238E27FC236}">
                <a16:creationId xmlns:a16="http://schemas.microsoft.com/office/drawing/2014/main" id="{843991E2-821D-4ADE-B4B2-D73D36D98AD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1551" y="2774943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Type next item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CCF9AAF0-8A4F-48C4-AC54-27C04E20141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1001" y="2748607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3" name="Text Placeholder 53">
            <a:extLst>
              <a:ext uri="{FF2B5EF4-FFF2-40B4-BE49-F238E27FC236}">
                <a16:creationId xmlns:a16="http://schemas.microsoft.com/office/drawing/2014/main" id="{5235ED59-3C41-47EE-B906-51D1E578E39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1551" y="3469143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Type next item</a:t>
            </a:r>
          </a:p>
        </p:txBody>
      </p:sp>
      <p:sp>
        <p:nvSpPr>
          <p:cNvPr id="64" name="Text Placeholder 63">
            <a:extLst>
              <a:ext uri="{FF2B5EF4-FFF2-40B4-BE49-F238E27FC236}">
                <a16:creationId xmlns:a16="http://schemas.microsoft.com/office/drawing/2014/main" id="{4280E422-A0A9-40DF-9122-00AD1444FB5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001" y="3442807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5" name="Text Placeholder 53">
            <a:extLst>
              <a:ext uri="{FF2B5EF4-FFF2-40B4-BE49-F238E27FC236}">
                <a16:creationId xmlns:a16="http://schemas.microsoft.com/office/drawing/2014/main" id="{AECA80CA-9F74-4096-9C45-C057913B58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71551" y="4126468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Type next item</a:t>
            </a:r>
          </a:p>
        </p:txBody>
      </p:sp>
      <p:sp>
        <p:nvSpPr>
          <p:cNvPr id="66" name="Text Placeholder 65">
            <a:extLst>
              <a:ext uri="{FF2B5EF4-FFF2-40B4-BE49-F238E27FC236}">
                <a16:creationId xmlns:a16="http://schemas.microsoft.com/office/drawing/2014/main" id="{B6CAD1F9-5950-4D84-A97B-25108B12772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1001" y="4100132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7" name="Text Placeholder 53">
            <a:extLst>
              <a:ext uri="{FF2B5EF4-FFF2-40B4-BE49-F238E27FC236}">
                <a16:creationId xmlns:a16="http://schemas.microsoft.com/office/drawing/2014/main" id="{A4C226B7-27E7-48B6-9ACD-14E208CD447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1551" y="4792261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Type next item</a:t>
            </a:r>
          </a:p>
        </p:txBody>
      </p:sp>
      <p:sp>
        <p:nvSpPr>
          <p:cNvPr id="68" name="Text Placeholder 67">
            <a:extLst>
              <a:ext uri="{FF2B5EF4-FFF2-40B4-BE49-F238E27FC236}">
                <a16:creationId xmlns:a16="http://schemas.microsoft.com/office/drawing/2014/main" id="{D0EA1119-3409-4D86-8187-1CFFEF0DF14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1001" y="4765925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69" name="Text Placeholder 53">
            <a:extLst>
              <a:ext uri="{FF2B5EF4-FFF2-40B4-BE49-F238E27FC236}">
                <a16:creationId xmlns:a16="http://schemas.microsoft.com/office/drawing/2014/main" id="{DF220140-A17A-47FD-96A9-63441622845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845301" y="1444711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ircle fill color can be changed</a:t>
            </a:r>
          </a:p>
        </p:txBody>
      </p:sp>
      <p:sp>
        <p:nvSpPr>
          <p:cNvPr id="70" name="Text Placeholder 69">
            <a:extLst>
              <a:ext uri="{FF2B5EF4-FFF2-40B4-BE49-F238E27FC236}">
                <a16:creationId xmlns:a16="http://schemas.microsoft.com/office/drawing/2014/main" id="{D5C5A157-E82E-413B-BB5A-5BB8F6F13C7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54751" y="1418375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71" name="Text Placeholder 53">
            <a:extLst>
              <a:ext uri="{FF2B5EF4-FFF2-40B4-BE49-F238E27FC236}">
                <a16:creationId xmlns:a16="http://schemas.microsoft.com/office/drawing/2014/main" id="{BD21E496-D37E-4761-8172-822F85DCF01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45301" y="2107168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ircle fill color can be changed</a:t>
            </a:r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E0EF41A7-D380-4CC9-9EC8-D362F1F0B13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54751" y="2080832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73" name="Text Placeholder 53">
            <a:extLst>
              <a:ext uri="{FF2B5EF4-FFF2-40B4-BE49-F238E27FC236}">
                <a16:creationId xmlns:a16="http://schemas.microsoft.com/office/drawing/2014/main" id="{4F469721-F9C8-4264-985A-69119F52CAC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845301" y="2774943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ircle fill color can be changed</a:t>
            </a:r>
          </a:p>
        </p:txBody>
      </p:sp>
      <p:sp>
        <p:nvSpPr>
          <p:cNvPr id="74" name="Text Placeholder 73">
            <a:extLst>
              <a:ext uri="{FF2B5EF4-FFF2-40B4-BE49-F238E27FC236}">
                <a16:creationId xmlns:a16="http://schemas.microsoft.com/office/drawing/2014/main" id="{FECC6C45-1A8B-4F2F-B1E3-9FE603D3F2B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54751" y="2748607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75" name="Text Placeholder 53">
            <a:extLst>
              <a:ext uri="{FF2B5EF4-FFF2-40B4-BE49-F238E27FC236}">
                <a16:creationId xmlns:a16="http://schemas.microsoft.com/office/drawing/2014/main" id="{9C294EA6-0710-4E2B-9FE5-E2AA43EB745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845301" y="3469143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Delete all unused placeholders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C167E3BD-01BA-46B0-8C56-C2139417F9B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4751" y="3442807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77" name="Text Placeholder 53">
            <a:extLst>
              <a:ext uri="{FF2B5EF4-FFF2-40B4-BE49-F238E27FC236}">
                <a16:creationId xmlns:a16="http://schemas.microsoft.com/office/drawing/2014/main" id="{CC08D11D-1C9F-4E62-B3A8-39C8892D767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845301" y="4126468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Delete all unused placeholders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E99AB11B-9D32-4DF8-80A4-930B735446C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54751" y="4100132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79" name="Text Placeholder 53">
            <a:extLst>
              <a:ext uri="{FF2B5EF4-FFF2-40B4-BE49-F238E27FC236}">
                <a16:creationId xmlns:a16="http://schemas.microsoft.com/office/drawing/2014/main" id="{F8CCC2D7-D1BC-4EB8-BB66-1CCA97A45B6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845301" y="4792261"/>
            <a:ext cx="4953908" cy="36933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Delete all unused placeholders</a:t>
            </a:r>
          </a:p>
        </p:txBody>
      </p:sp>
      <p:sp>
        <p:nvSpPr>
          <p:cNvPr id="80" name="Text Placeholder 79">
            <a:extLst>
              <a:ext uri="{FF2B5EF4-FFF2-40B4-BE49-F238E27FC236}">
                <a16:creationId xmlns:a16="http://schemas.microsoft.com/office/drawing/2014/main" id="{8C487161-30FF-4175-B33D-D4EFB0DD4EA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54751" y="4765925"/>
            <a:ext cx="400736" cy="395668"/>
          </a:xfrm>
          <a:custGeom>
            <a:avLst/>
            <a:gdLst>
              <a:gd name="connsiteX0" fmla="*/ 211632 w 400736"/>
              <a:gd name="connsiteY0" fmla="*/ 4 h 395668"/>
              <a:gd name="connsiteX1" fmla="*/ 251329 w 400736"/>
              <a:gd name="connsiteY1" fmla="*/ 4637 h 395668"/>
              <a:gd name="connsiteX2" fmla="*/ 399960 w 400736"/>
              <a:gd name="connsiteY2" fmla="*/ 224995 h 395668"/>
              <a:gd name="connsiteX3" fmla="*/ 143368 w 400736"/>
              <a:gd name="connsiteY3" fmla="*/ 390633 h 395668"/>
              <a:gd name="connsiteX4" fmla="*/ 5089 w 400736"/>
              <a:gd name="connsiteY4" fmla="*/ 163621 h 395668"/>
              <a:gd name="connsiteX5" fmla="*/ 211632 w 400736"/>
              <a:gd name="connsiteY5" fmla="*/ 4 h 395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0736" h="395668">
                <a:moveTo>
                  <a:pt x="211632" y="4"/>
                </a:moveTo>
                <a:cubicBezTo>
                  <a:pt x="224986" y="85"/>
                  <a:pt x="238296" y="1587"/>
                  <a:pt x="251329" y="4637"/>
                </a:cubicBezTo>
                <a:cubicBezTo>
                  <a:pt x="351896" y="28300"/>
                  <a:pt x="408094" y="126648"/>
                  <a:pt x="399960" y="224995"/>
                </a:cubicBezTo>
                <a:cubicBezTo>
                  <a:pt x="387390" y="388415"/>
                  <a:pt x="196609" y="407641"/>
                  <a:pt x="143368" y="390633"/>
                </a:cubicBezTo>
                <a:cubicBezTo>
                  <a:pt x="-8221" y="341829"/>
                  <a:pt x="-7481" y="233868"/>
                  <a:pt x="5089" y="163621"/>
                </a:cubicBezTo>
                <a:cubicBezTo>
                  <a:pt x="22559" y="68508"/>
                  <a:pt x="118157" y="-561"/>
                  <a:pt x="211632" y="4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39593251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 with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967A9474-DCF8-444C-9F9E-D4D5FF840D78}"/>
              </a:ext>
            </a:extLst>
          </p:cNvPr>
          <p:cNvSpPr/>
          <p:nvPr/>
        </p:nvSpPr>
        <p:spPr>
          <a:xfrm>
            <a:off x="0" y="308486"/>
            <a:ext cx="4118657" cy="3661435"/>
          </a:xfrm>
          <a:custGeom>
            <a:avLst/>
            <a:gdLst>
              <a:gd name="connsiteX0" fmla="*/ 2315158 w 4118657"/>
              <a:gd name="connsiteY0" fmla="*/ 0 h 3661435"/>
              <a:gd name="connsiteX1" fmla="*/ 2321167 w 4118657"/>
              <a:gd name="connsiteY1" fmla="*/ 0 h 3661435"/>
              <a:gd name="connsiteX2" fmla="*/ 3782138 w 4118657"/>
              <a:gd name="connsiteY2" fmla="*/ 1376794 h 3661435"/>
              <a:gd name="connsiteX3" fmla="*/ 4106797 w 4118657"/>
              <a:gd name="connsiteY3" fmla="*/ 2026113 h 3661435"/>
              <a:gd name="connsiteX4" fmla="*/ 3896366 w 4118657"/>
              <a:gd name="connsiteY4" fmla="*/ 2338748 h 3661435"/>
              <a:gd name="connsiteX5" fmla="*/ 2567671 w 4118657"/>
              <a:gd name="connsiteY5" fmla="*/ 3438986 h 3661435"/>
              <a:gd name="connsiteX6" fmla="*/ 2321167 w 4118657"/>
              <a:gd name="connsiteY6" fmla="*/ 3619352 h 3661435"/>
              <a:gd name="connsiteX7" fmla="*/ 2255036 w 4118657"/>
              <a:gd name="connsiteY7" fmla="*/ 3661435 h 3661435"/>
              <a:gd name="connsiteX8" fmla="*/ 2243012 w 4118657"/>
              <a:gd name="connsiteY8" fmla="*/ 3661435 h 3661435"/>
              <a:gd name="connsiteX9" fmla="*/ 2146817 w 4118657"/>
              <a:gd name="connsiteY9" fmla="*/ 3475059 h 3661435"/>
              <a:gd name="connsiteX10" fmla="*/ 2140801 w 4118657"/>
              <a:gd name="connsiteY10" fmla="*/ 3270644 h 3661435"/>
              <a:gd name="connsiteX11" fmla="*/ 2146817 w 4118657"/>
              <a:gd name="connsiteY11" fmla="*/ 2909911 h 3661435"/>
              <a:gd name="connsiteX12" fmla="*/ 2146817 w 4118657"/>
              <a:gd name="connsiteY12" fmla="*/ 2765618 h 3661435"/>
              <a:gd name="connsiteX13" fmla="*/ 0 w 4118657"/>
              <a:gd name="connsiteY13" fmla="*/ 2765618 h 3661435"/>
              <a:gd name="connsiteX14" fmla="*/ 0 w 4118657"/>
              <a:gd name="connsiteY14" fmla="*/ 893100 h 3661435"/>
              <a:gd name="connsiteX15" fmla="*/ 36528 w 4118657"/>
              <a:gd name="connsiteY15" fmla="*/ 889808 h 3661435"/>
              <a:gd name="connsiteX16" fmla="*/ 2212948 w 4118657"/>
              <a:gd name="connsiteY16" fmla="*/ 889808 h 3661435"/>
              <a:gd name="connsiteX17" fmla="*/ 2297119 w 4118657"/>
              <a:gd name="connsiteY17" fmla="*/ 12025 h 3661435"/>
              <a:gd name="connsiteX18" fmla="*/ 2303134 w 4118657"/>
              <a:gd name="connsiteY18" fmla="*/ 6009 h 3661435"/>
              <a:gd name="connsiteX19" fmla="*/ 2315158 w 4118657"/>
              <a:gd name="connsiteY19" fmla="*/ 0 h 3661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118657" h="3661435">
                <a:moveTo>
                  <a:pt x="2315158" y="0"/>
                </a:moveTo>
                <a:lnTo>
                  <a:pt x="2321167" y="0"/>
                </a:lnTo>
                <a:cubicBezTo>
                  <a:pt x="2477485" y="0"/>
                  <a:pt x="3649869" y="1232501"/>
                  <a:pt x="3782138" y="1376794"/>
                </a:cubicBezTo>
                <a:cubicBezTo>
                  <a:pt x="3800171" y="1394834"/>
                  <a:pt x="4190968" y="1833722"/>
                  <a:pt x="4106797" y="2026113"/>
                </a:cubicBezTo>
                <a:cubicBezTo>
                  <a:pt x="4076733" y="2104275"/>
                  <a:pt x="3902382" y="2326724"/>
                  <a:pt x="3896366" y="2338748"/>
                </a:cubicBezTo>
                <a:cubicBezTo>
                  <a:pt x="3493551" y="2801692"/>
                  <a:pt x="2892331" y="3216531"/>
                  <a:pt x="2567671" y="3438986"/>
                </a:cubicBezTo>
                <a:cubicBezTo>
                  <a:pt x="2435403" y="3529166"/>
                  <a:pt x="2345216" y="3595304"/>
                  <a:pt x="2321167" y="3619352"/>
                </a:cubicBezTo>
                <a:cubicBezTo>
                  <a:pt x="2297119" y="3649410"/>
                  <a:pt x="2273070" y="3661435"/>
                  <a:pt x="2255036" y="3661435"/>
                </a:cubicBezTo>
                <a:cubicBezTo>
                  <a:pt x="2249021" y="3661435"/>
                  <a:pt x="2249021" y="3661435"/>
                  <a:pt x="2243012" y="3661435"/>
                </a:cubicBezTo>
                <a:cubicBezTo>
                  <a:pt x="2194914" y="3649410"/>
                  <a:pt x="2164850" y="3559230"/>
                  <a:pt x="2146817" y="3475059"/>
                </a:cubicBezTo>
                <a:cubicBezTo>
                  <a:pt x="2128777" y="3408922"/>
                  <a:pt x="2134792" y="3354815"/>
                  <a:pt x="2140801" y="3270644"/>
                </a:cubicBezTo>
                <a:cubicBezTo>
                  <a:pt x="2146817" y="3186473"/>
                  <a:pt x="2152826" y="3078253"/>
                  <a:pt x="2146817" y="2909911"/>
                </a:cubicBezTo>
                <a:cubicBezTo>
                  <a:pt x="2146817" y="2867823"/>
                  <a:pt x="2146817" y="2819725"/>
                  <a:pt x="2146817" y="2765618"/>
                </a:cubicBezTo>
                <a:lnTo>
                  <a:pt x="0" y="2765618"/>
                </a:lnTo>
                <a:lnTo>
                  <a:pt x="0" y="893100"/>
                </a:lnTo>
                <a:lnTo>
                  <a:pt x="36528" y="889808"/>
                </a:lnTo>
                <a:lnTo>
                  <a:pt x="2212948" y="889808"/>
                </a:lnTo>
                <a:cubicBezTo>
                  <a:pt x="2212948" y="162327"/>
                  <a:pt x="2273070" y="30058"/>
                  <a:pt x="2297119" y="12025"/>
                </a:cubicBezTo>
                <a:lnTo>
                  <a:pt x="2303134" y="6009"/>
                </a:lnTo>
                <a:cubicBezTo>
                  <a:pt x="2303134" y="6009"/>
                  <a:pt x="2309143" y="0"/>
                  <a:pt x="2315158" y="0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3117BFFA-728A-45B4-855F-C65538E196D8}"/>
              </a:ext>
            </a:extLst>
          </p:cNvPr>
          <p:cNvSpPr/>
          <p:nvPr/>
        </p:nvSpPr>
        <p:spPr bwMode="ltGray">
          <a:xfrm>
            <a:off x="4252974" y="0"/>
            <a:ext cx="7564605" cy="6019800"/>
          </a:xfrm>
          <a:custGeom>
            <a:avLst/>
            <a:gdLst>
              <a:gd name="connsiteX0" fmla="*/ 49779 w 7564605"/>
              <a:gd name="connsiteY0" fmla="*/ 0 h 5823600"/>
              <a:gd name="connsiteX1" fmla="*/ 7531204 w 7564605"/>
              <a:gd name="connsiteY1" fmla="*/ 0 h 5823600"/>
              <a:gd name="connsiteX2" fmla="*/ 7531733 w 7564605"/>
              <a:gd name="connsiteY2" fmla="*/ 14515 h 5823600"/>
              <a:gd name="connsiteX3" fmla="*/ 7528259 w 7564605"/>
              <a:gd name="connsiteY3" fmla="*/ 318689 h 5823600"/>
              <a:gd name="connsiteX4" fmla="*/ 7544134 w 7564605"/>
              <a:gd name="connsiteY4" fmla="*/ 2096896 h 5823600"/>
              <a:gd name="connsiteX5" fmla="*/ 7560025 w 7564605"/>
              <a:gd name="connsiteY5" fmla="*/ 3437194 h 5823600"/>
              <a:gd name="connsiteX6" fmla="*/ 7560025 w 7564605"/>
              <a:gd name="connsiteY6" fmla="*/ 4366108 h 5823600"/>
              <a:gd name="connsiteX7" fmla="*/ 7512369 w 7564605"/>
              <a:gd name="connsiteY7" fmla="*/ 5520609 h 5823600"/>
              <a:gd name="connsiteX8" fmla="*/ 6972367 w 7564605"/>
              <a:gd name="connsiteY8" fmla="*/ 5732932 h 5823600"/>
              <a:gd name="connsiteX9" fmla="*/ 6416491 w 7564605"/>
              <a:gd name="connsiteY9" fmla="*/ 5746210 h 5823600"/>
              <a:gd name="connsiteX10" fmla="*/ 5844725 w 7564605"/>
              <a:gd name="connsiteY10" fmla="*/ 5812554 h 5823600"/>
              <a:gd name="connsiteX11" fmla="*/ 1556476 w 7564605"/>
              <a:gd name="connsiteY11" fmla="*/ 5759473 h 5823600"/>
              <a:gd name="connsiteX12" fmla="*/ 762356 w 7564605"/>
              <a:gd name="connsiteY12" fmla="*/ 5693129 h 5823600"/>
              <a:gd name="connsiteX13" fmla="*/ 127060 w 7564605"/>
              <a:gd name="connsiteY13" fmla="*/ 5401184 h 5823600"/>
              <a:gd name="connsiteX14" fmla="*/ 63530 w 7564605"/>
              <a:gd name="connsiteY14" fmla="*/ 4074164 h 5823600"/>
              <a:gd name="connsiteX15" fmla="*/ 31766 w 7564605"/>
              <a:gd name="connsiteY15" fmla="*/ 2083633 h 5823600"/>
              <a:gd name="connsiteX16" fmla="*/ 0 w 7564605"/>
              <a:gd name="connsiteY16" fmla="*/ 1420123 h 5823600"/>
              <a:gd name="connsiteX17" fmla="*/ 31766 w 7564605"/>
              <a:gd name="connsiteY17" fmla="*/ 385047 h 5823600"/>
              <a:gd name="connsiteX18" fmla="*/ 47640 w 7564605"/>
              <a:gd name="connsiteY18" fmla="*/ 53285 h 5823600"/>
              <a:gd name="connsiteX19" fmla="*/ 49066 w 7564605"/>
              <a:gd name="connsiteY19" fmla="*/ 10986 h 582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7564605" h="5823600">
                <a:moveTo>
                  <a:pt x="49779" y="0"/>
                </a:moveTo>
                <a:lnTo>
                  <a:pt x="7531204" y="0"/>
                </a:lnTo>
                <a:lnTo>
                  <a:pt x="7531733" y="14515"/>
                </a:lnTo>
                <a:cubicBezTo>
                  <a:pt x="7532230" y="112174"/>
                  <a:pt x="7528259" y="215847"/>
                  <a:pt x="7528259" y="318689"/>
                </a:cubicBezTo>
                <a:cubicBezTo>
                  <a:pt x="7512369" y="915855"/>
                  <a:pt x="7575899" y="1499744"/>
                  <a:pt x="7544134" y="2096896"/>
                </a:cubicBezTo>
                <a:cubicBezTo>
                  <a:pt x="7528259" y="2534820"/>
                  <a:pt x="7575899" y="2999270"/>
                  <a:pt x="7560025" y="3437194"/>
                </a:cubicBezTo>
                <a:cubicBezTo>
                  <a:pt x="7544134" y="3742402"/>
                  <a:pt x="7575899" y="4060887"/>
                  <a:pt x="7560025" y="4366108"/>
                </a:cubicBezTo>
                <a:cubicBezTo>
                  <a:pt x="7544134" y="4671316"/>
                  <a:pt x="7575899" y="5122503"/>
                  <a:pt x="7512369" y="5520609"/>
                </a:cubicBezTo>
                <a:cubicBezTo>
                  <a:pt x="7480604" y="5679852"/>
                  <a:pt x="7194721" y="5706392"/>
                  <a:pt x="6972367" y="5732932"/>
                </a:cubicBezTo>
                <a:cubicBezTo>
                  <a:pt x="6845308" y="5746210"/>
                  <a:pt x="6607081" y="5719669"/>
                  <a:pt x="6416491" y="5746210"/>
                </a:cubicBezTo>
                <a:cubicBezTo>
                  <a:pt x="6273541" y="5772750"/>
                  <a:pt x="6003549" y="5812554"/>
                  <a:pt x="5844725" y="5812554"/>
                </a:cubicBezTo>
                <a:cubicBezTo>
                  <a:pt x="4224719" y="5852371"/>
                  <a:pt x="3430600" y="5772750"/>
                  <a:pt x="1556476" y="5759473"/>
                </a:cubicBezTo>
                <a:cubicBezTo>
                  <a:pt x="1381761" y="5759473"/>
                  <a:pt x="1143534" y="5759473"/>
                  <a:pt x="762356" y="5693129"/>
                </a:cubicBezTo>
                <a:cubicBezTo>
                  <a:pt x="412943" y="5640048"/>
                  <a:pt x="238228" y="5693129"/>
                  <a:pt x="127060" y="5401184"/>
                </a:cubicBezTo>
                <a:cubicBezTo>
                  <a:pt x="31766" y="5162321"/>
                  <a:pt x="79404" y="4379372"/>
                  <a:pt x="63530" y="4074164"/>
                </a:cubicBezTo>
                <a:cubicBezTo>
                  <a:pt x="31766" y="3384113"/>
                  <a:pt x="31766" y="2906386"/>
                  <a:pt x="31766" y="2083633"/>
                </a:cubicBezTo>
                <a:lnTo>
                  <a:pt x="0" y="1420123"/>
                </a:lnTo>
                <a:cubicBezTo>
                  <a:pt x="79404" y="1048557"/>
                  <a:pt x="-47655" y="769876"/>
                  <a:pt x="31766" y="385047"/>
                </a:cubicBezTo>
                <a:cubicBezTo>
                  <a:pt x="47640" y="252345"/>
                  <a:pt x="47640" y="265608"/>
                  <a:pt x="47640" y="53285"/>
                </a:cubicBezTo>
                <a:cubicBezTo>
                  <a:pt x="47640" y="43332"/>
                  <a:pt x="48136" y="28818"/>
                  <a:pt x="49066" y="10986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EAB047-7709-4466-A961-418CD41D0E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1555130"/>
            <a:ext cx="3111499" cy="921370"/>
          </a:xfrm>
        </p:spPr>
        <p:txBody>
          <a:bodyPr/>
          <a:lstStyle>
            <a:lvl1pPr>
              <a:defRPr sz="6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78109F1-DB54-40AC-9EFE-BD170DCF93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B1475D-EF5B-48A6-8CCB-3BD08F726926}" type="datetimeFigureOut">
              <a:rPr lang="en-US"/>
              <a:pPr/>
              <a:t>6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8632F8-B1D4-42C3-A25F-51F06753F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D40013-3360-45D5-A8EF-FE748E712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65A54F4-DB31-4FC5-B748-3F06867349C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BCEFFE7-67B4-45E7-A42F-DB170DD4AE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30750" y="914400"/>
            <a:ext cx="6705600" cy="457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(change to numbered list on Home tab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4114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0A67651-30FC-482C-8BD7-415FEAC5C2F3}"/>
              </a:ext>
            </a:extLst>
          </p:cNvPr>
          <p:cNvSpPr/>
          <p:nvPr/>
        </p:nvSpPr>
        <p:spPr>
          <a:xfrm>
            <a:off x="0" y="0"/>
            <a:ext cx="12192000" cy="6874379"/>
          </a:xfrm>
          <a:custGeom>
            <a:avLst/>
            <a:gdLst>
              <a:gd name="connsiteX0" fmla="*/ 0 w 12192000"/>
              <a:gd name="connsiteY0" fmla="*/ 0 h 6874379"/>
              <a:gd name="connsiteX1" fmla="*/ 12192000 w 12192000"/>
              <a:gd name="connsiteY1" fmla="*/ 0 h 6874379"/>
              <a:gd name="connsiteX2" fmla="*/ 12192000 w 12192000"/>
              <a:gd name="connsiteY2" fmla="*/ 190329 h 6874379"/>
              <a:gd name="connsiteX3" fmla="*/ 12097817 w 12192000"/>
              <a:gd name="connsiteY3" fmla="*/ 160025 h 6874379"/>
              <a:gd name="connsiteX4" fmla="*/ 11807295 w 12192000"/>
              <a:gd name="connsiteY4" fmla="*/ 132559 h 6874379"/>
              <a:gd name="connsiteX5" fmla="*/ 11803273 w 12192000"/>
              <a:gd name="connsiteY5" fmla="*/ 132651 h 6874379"/>
              <a:gd name="connsiteX6" fmla="*/ 11801114 w 12192000"/>
              <a:gd name="connsiteY6" fmla="*/ 132559 h 6874379"/>
              <a:gd name="connsiteX7" fmla="*/ 9648247 w 12192000"/>
              <a:gd name="connsiteY7" fmla="*/ 283191 h 6874379"/>
              <a:gd name="connsiteX8" fmla="*/ 9289437 w 12192000"/>
              <a:gd name="connsiteY8" fmla="*/ 298139 h 6874379"/>
              <a:gd name="connsiteX9" fmla="*/ 8937897 w 12192000"/>
              <a:gd name="connsiteY9" fmla="*/ 297353 h 6874379"/>
              <a:gd name="connsiteX10" fmla="*/ 7958013 w 12192000"/>
              <a:gd name="connsiteY10" fmla="*/ 284263 h 6874379"/>
              <a:gd name="connsiteX11" fmla="*/ 7948375 w 12192000"/>
              <a:gd name="connsiteY11" fmla="*/ 284273 h 6874379"/>
              <a:gd name="connsiteX12" fmla="*/ 7947582 w 12192000"/>
              <a:gd name="connsiteY12" fmla="*/ 284263 h 6874379"/>
              <a:gd name="connsiteX13" fmla="*/ 5026488 w 12192000"/>
              <a:gd name="connsiteY13" fmla="*/ 324819 h 6874379"/>
              <a:gd name="connsiteX14" fmla="*/ 5003554 w 12192000"/>
              <a:gd name="connsiteY14" fmla="*/ 325295 h 6874379"/>
              <a:gd name="connsiteX15" fmla="*/ 4543566 w 12192000"/>
              <a:gd name="connsiteY15" fmla="*/ 331280 h 6874379"/>
              <a:gd name="connsiteX16" fmla="*/ 1280017 w 12192000"/>
              <a:gd name="connsiteY16" fmla="*/ 176856 h 6874379"/>
              <a:gd name="connsiteX17" fmla="*/ 405208 w 12192000"/>
              <a:gd name="connsiteY17" fmla="*/ 314184 h 6874379"/>
              <a:gd name="connsiteX18" fmla="*/ 282764 w 12192000"/>
              <a:gd name="connsiteY18" fmla="*/ 671391 h 6874379"/>
              <a:gd name="connsiteX19" fmla="*/ 248165 w 12192000"/>
              <a:gd name="connsiteY19" fmla="*/ 1871382 h 6874379"/>
              <a:gd name="connsiteX20" fmla="*/ 256012 w 12192000"/>
              <a:gd name="connsiteY20" fmla="*/ 2213101 h 6874379"/>
              <a:gd name="connsiteX21" fmla="*/ 252706 w 12192000"/>
              <a:gd name="connsiteY21" fmla="*/ 2453832 h 6874379"/>
              <a:gd name="connsiteX22" fmla="*/ 244400 w 12192000"/>
              <a:gd name="connsiteY22" fmla="*/ 3071384 h 6874379"/>
              <a:gd name="connsiteX23" fmla="*/ 177982 w 12192000"/>
              <a:gd name="connsiteY23" fmla="*/ 3854148 h 6874379"/>
              <a:gd name="connsiteX24" fmla="*/ 144773 w 12192000"/>
              <a:gd name="connsiteY24" fmla="*/ 6202469 h 6874379"/>
              <a:gd name="connsiteX25" fmla="*/ 676116 w 12192000"/>
              <a:gd name="connsiteY25" fmla="*/ 6710576 h 6874379"/>
              <a:gd name="connsiteX26" fmla="*/ 739810 w 12192000"/>
              <a:gd name="connsiteY26" fmla="*/ 6711571 h 6874379"/>
              <a:gd name="connsiteX27" fmla="*/ 742537 w 12192000"/>
              <a:gd name="connsiteY27" fmla="*/ 6711326 h 6874379"/>
              <a:gd name="connsiteX28" fmla="*/ 758188 w 12192000"/>
              <a:gd name="connsiteY28" fmla="*/ 6711571 h 6874379"/>
              <a:gd name="connsiteX29" fmla="*/ 1161699 w 12192000"/>
              <a:gd name="connsiteY29" fmla="*/ 6645433 h 6874379"/>
              <a:gd name="connsiteX30" fmla="*/ 1223129 w 12192000"/>
              <a:gd name="connsiteY30" fmla="*/ 6642040 h 6874379"/>
              <a:gd name="connsiteX31" fmla="*/ 1249749 w 12192000"/>
              <a:gd name="connsiteY31" fmla="*/ 6642246 h 6874379"/>
              <a:gd name="connsiteX32" fmla="*/ 2021087 w 12192000"/>
              <a:gd name="connsiteY32" fmla="*/ 6683110 h 6874379"/>
              <a:gd name="connsiteX33" fmla="*/ 7012994 w 12192000"/>
              <a:gd name="connsiteY33" fmla="*/ 6716069 h 6874379"/>
              <a:gd name="connsiteX34" fmla="*/ 7016698 w 12192000"/>
              <a:gd name="connsiteY34" fmla="*/ 6716018 h 6874379"/>
              <a:gd name="connsiteX35" fmla="*/ 7024455 w 12192000"/>
              <a:gd name="connsiteY35" fmla="*/ 6716069 h 6874379"/>
              <a:gd name="connsiteX36" fmla="*/ 7963164 w 12192000"/>
              <a:gd name="connsiteY36" fmla="*/ 6700185 h 6874379"/>
              <a:gd name="connsiteX37" fmla="*/ 8424990 w 12192000"/>
              <a:gd name="connsiteY37" fmla="*/ 6696610 h 6874379"/>
              <a:gd name="connsiteX38" fmla="*/ 8891818 w 12192000"/>
              <a:gd name="connsiteY38" fmla="*/ 6707289 h 6874379"/>
              <a:gd name="connsiteX39" fmla="*/ 11120508 w 12192000"/>
              <a:gd name="connsiteY39" fmla="*/ 6749147 h 6874379"/>
              <a:gd name="connsiteX40" fmla="*/ 11123244 w 12192000"/>
              <a:gd name="connsiteY40" fmla="*/ 6749138 h 6874379"/>
              <a:gd name="connsiteX41" fmla="*/ 11127440 w 12192000"/>
              <a:gd name="connsiteY41" fmla="*/ 6749147 h 6874379"/>
              <a:gd name="connsiteX42" fmla="*/ 11659021 w 12192000"/>
              <a:gd name="connsiteY42" fmla="*/ 6746289 h 6874379"/>
              <a:gd name="connsiteX43" fmla="*/ 12146815 w 12192000"/>
              <a:gd name="connsiteY43" fmla="*/ 6741361 h 6874379"/>
              <a:gd name="connsiteX44" fmla="*/ 12192000 w 12192000"/>
              <a:gd name="connsiteY44" fmla="*/ 6734754 h 6874379"/>
              <a:gd name="connsiteX45" fmla="*/ 12192000 w 12192000"/>
              <a:gd name="connsiteY45" fmla="*/ 6874379 h 6874379"/>
              <a:gd name="connsiteX46" fmla="*/ 0 w 12192000"/>
              <a:gd name="connsiteY46" fmla="*/ 6874379 h 68743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12192000" h="6874379">
                <a:moveTo>
                  <a:pt x="0" y="0"/>
                </a:moveTo>
                <a:lnTo>
                  <a:pt x="12192000" y="0"/>
                </a:lnTo>
                <a:lnTo>
                  <a:pt x="12192000" y="190329"/>
                </a:lnTo>
                <a:lnTo>
                  <a:pt x="12097817" y="160025"/>
                </a:lnTo>
                <a:cubicBezTo>
                  <a:pt x="12015663" y="141142"/>
                  <a:pt x="11919254" y="132559"/>
                  <a:pt x="11807295" y="132559"/>
                </a:cubicBezTo>
                <a:lnTo>
                  <a:pt x="11803273" y="132651"/>
                </a:lnTo>
                <a:lnTo>
                  <a:pt x="11801114" y="132559"/>
                </a:lnTo>
                <a:cubicBezTo>
                  <a:pt x="11078819" y="132559"/>
                  <a:pt x="10365869" y="240705"/>
                  <a:pt x="9648247" y="283191"/>
                </a:cubicBezTo>
                <a:lnTo>
                  <a:pt x="9289437" y="298139"/>
                </a:lnTo>
                <a:lnTo>
                  <a:pt x="8937897" y="297353"/>
                </a:lnTo>
                <a:cubicBezTo>
                  <a:pt x="8610318" y="290487"/>
                  <a:pt x="8283777" y="286195"/>
                  <a:pt x="7958013" y="284263"/>
                </a:cubicBezTo>
                <a:lnTo>
                  <a:pt x="7948375" y="284273"/>
                </a:lnTo>
                <a:lnTo>
                  <a:pt x="7947582" y="284263"/>
                </a:lnTo>
                <a:cubicBezTo>
                  <a:pt x="6969212" y="278468"/>
                  <a:pt x="5997850" y="293915"/>
                  <a:pt x="5026488" y="324819"/>
                </a:cubicBezTo>
                <a:lnTo>
                  <a:pt x="5003554" y="325295"/>
                </a:lnTo>
                <a:lnTo>
                  <a:pt x="4543566" y="331280"/>
                </a:lnTo>
                <a:cubicBezTo>
                  <a:pt x="3349959" y="326969"/>
                  <a:pt x="1955605" y="198024"/>
                  <a:pt x="1280017" y="176856"/>
                </a:cubicBezTo>
                <a:cubicBezTo>
                  <a:pt x="615478" y="156034"/>
                  <a:pt x="571070" y="163116"/>
                  <a:pt x="405208" y="314184"/>
                </a:cubicBezTo>
                <a:cubicBezTo>
                  <a:pt x="322286" y="396581"/>
                  <a:pt x="299341" y="575254"/>
                  <a:pt x="282764" y="671391"/>
                </a:cubicBezTo>
                <a:cubicBezTo>
                  <a:pt x="241294" y="1090239"/>
                  <a:pt x="240583" y="1480809"/>
                  <a:pt x="248165" y="1871382"/>
                </a:cubicBezTo>
                <a:lnTo>
                  <a:pt x="256012" y="2213101"/>
                </a:lnTo>
                <a:lnTo>
                  <a:pt x="252706" y="2453832"/>
                </a:lnTo>
                <a:cubicBezTo>
                  <a:pt x="250630" y="2656821"/>
                  <a:pt x="248553" y="2861957"/>
                  <a:pt x="244400" y="3071384"/>
                </a:cubicBezTo>
                <a:cubicBezTo>
                  <a:pt x="244400" y="3277369"/>
                  <a:pt x="211191" y="3552026"/>
                  <a:pt x="177982" y="3854148"/>
                </a:cubicBezTo>
                <a:cubicBezTo>
                  <a:pt x="94968" y="4623186"/>
                  <a:pt x="177982" y="5419690"/>
                  <a:pt x="144773" y="6202469"/>
                </a:cubicBezTo>
                <a:cubicBezTo>
                  <a:pt x="128177" y="6477125"/>
                  <a:pt x="227804" y="6683110"/>
                  <a:pt x="676116" y="6710576"/>
                </a:cubicBezTo>
                <a:cubicBezTo>
                  <a:pt x="696872" y="6712294"/>
                  <a:pt x="718146" y="6712509"/>
                  <a:pt x="739810" y="6711571"/>
                </a:cubicBezTo>
                <a:lnTo>
                  <a:pt x="742537" y="6711326"/>
                </a:lnTo>
                <a:lnTo>
                  <a:pt x="758188" y="6711571"/>
                </a:lnTo>
                <a:cubicBezTo>
                  <a:pt x="888027" y="6705943"/>
                  <a:pt x="1031860" y="6658790"/>
                  <a:pt x="1161699" y="6645433"/>
                </a:cubicBezTo>
                <a:lnTo>
                  <a:pt x="1223129" y="6642040"/>
                </a:lnTo>
                <a:lnTo>
                  <a:pt x="1249749" y="6642246"/>
                </a:lnTo>
                <a:cubicBezTo>
                  <a:pt x="1426096" y="6645459"/>
                  <a:pt x="1113971" y="6671527"/>
                  <a:pt x="2021087" y="6683110"/>
                </a:cubicBezTo>
                <a:lnTo>
                  <a:pt x="7012994" y="6716069"/>
                </a:lnTo>
                <a:lnTo>
                  <a:pt x="7016698" y="6716018"/>
                </a:lnTo>
                <a:lnTo>
                  <a:pt x="7024455" y="6716069"/>
                </a:lnTo>
                <a:cubicBezTo>
                  <a:pt x="7337250" y="6714606"/>
                  <a:pt x="7650263" y="6705480"/>
                  <a:pt x="7963164" y="6700185"/>
                </a:cubicBezTo>
                <a:lnTo>
                  <a:pt x="8424990" y="6696610"/>
                </a:lnTo>
                <a:lnTo>
                  <a:pt x="8891818" y="6707289"/>
                </a:lnTo>
                <a:cubicBezTo>
                  <a:pt x="9645805" y="6740724"/>
                  <a:pt x="10498919" y="6749520"/>
                  <a:pt x="11120508" y="6749147"/>
                </a:cubicBezTo>
                <a:lnTo>
                  <a:pt x="11123244" y="6749138"/>
                </a:lnTo>
                <a:lnTo>
                  <a:pt x="11127440" y="6749147"/>
                </a:lnTo>
                <a:cubicBezTo>
                  <a:pt x="11334408" y="6749022"/>
                  <a:pt x="11515679" y="6747879"/>
                  <a:pt x="11659021" y="6746289"/>
                </a:cubicBezTo>
                <a:cubicBezTo>
                  <a:pt x="11945705" y="6743110"/>
                  <a:pt x="12070693" y="6747846"/>
                  <a:pt x="12146815" y="6741361"/>
                </a:cubicBezTo>
                <a:lnTo>
                  <a:pt x="12192000" y="6734754"/>
                </a:lnTo>
                <a:lnTo>
                  <a:pt x="12192000" y="6874379"/>
                </a:lnTo>
                <a:lnTo>
                  <a:pt x="0" y="687437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8FEA80-7B9C-47B6-AB26-C483191299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501" y="457200"/>
            <a:ext cx="11182499" cy="4853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412722-E6BD-447B-8052-740133E9D4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1475D-EF5B-48A6-8CCB-3BD08F726926}" type="datetimeFigureOut">
              <a:rPr lang="en-US"/>
              <a:pPr/>
              <a:t>6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511FD4-F314-401C-A0EF-CB4185315A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40098E-180C-438C-85EA-F6F1FB1B5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609F077-D81F-4729-9AC7-9C5410D4590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8651" y="1664702"/>
            <a:ext cx="11182350" cy="43550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53">
            <a:extLst>
              <a:ext uri="{FF2B5EF4-FFF2-40B4-BE49-F238E27FC236}">
                <a16:creationId xmlns:a16="http://schemas.microsoft.com/office/drawing/2014/main" id="{DCA8F8B7-60BD-4B53-A658-C77FA4FA67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8500" y="1086829"/>
            <a:ext cx="11182499" cy="29051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9615749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5318214A-2D20-42DC-9E1E-5FE8646C4D6C}"/>
              </a:ext>
            </a:extLst>
          </p:cNvPr>
          <p:cNvSpPr/>
          <p:nvPr/>
        </p:nvSpPr>
        <p:spPr bwMode="ltGray">
          <a:xfrm>
            <a:off x="0" y="0"/>
            <a:ext cx="12192000" cy="6874379"/>
          </a:xfrm>
          <a:custGeom>
            <a:avLst/>
            <a:gdLst>
              <a:gd name="connsiteX0" fmla="*/ 0 w 12192000"/>
              <a:gd name="connsiteY0" fmla="*/ 0 h 6874379"/>
              <a:gd name="connsiteX1" fmla="*/ 12192000 w 12192000"/>
              <a:gd name="connsiteY1" fmla="*/ 0 h 6874379"/>
              <a:gd name="connsiteX2" fmla="*/ 12192000 w 12192000"/>
              <a:gd name="connsiteY2" fmla="*/ 341392 h 6874379"/>
              <a:gd name="connsiteX3" fmla="*/ 12134257 w 12192000"/>
              <a:gd name="connsiteY3" fmla="*/ 320479 h 6874379"/>
              <a:gd name="connsiteX4" fmla="*/ 11462617 w 12192000"/>
              <a:gd name="connsiteY4" fmla="*/ 234532 h 6874379"/>
              <a:gd name="connsiteX5" fmla="*/ 10560397 w 12192000"/>
              <a:gd name="connsiteY5" fmla="*/ 220643 h 6874379"/>
              <a:gd name="connsiteX6" fmla="*/ 9632386 w 12192000"/>
              <a:gd name="connsiteY6" fmla="*/ 151243 h 6874379"/>
              <a:gd name="connsiteX7" fmla="*/ 8274354 w 12192000"/>
              <a:gd name="connsiteY7" fmla="*/ 139710 h 6874379"/>
              <a:gd name="connsiteX8" fmla="*/ 2672303 w 12192000"/>
              <a:gd name="connsiteY8" fmla="*/ 206769 h 6874379"/>
              <a:gd name="connsiteX9" fmla="*/ 1383398 w 12192000"/>
              <a:gd name="connsiteY9" fmla="*/ 276170 h 6874379"/>
              <a:gd name="connsiteX10" fmla="*/ 352275 w 12192000"/>
              <a:gd name="connsiteY10" fmla="*/ 581565 h 6874379"/>
              <a:gd name="connsiteX11" fmla="*/ 249163 w 12192000"/>
              <a:gd name="connsiteY11" fmla="*/ 1969723 h 6874379"/>
              <a:gd name="connsiteX12" fmla="*/ 197606 w 12192000"/>
              <a:gd name="connsiteY12" fmla="*/ 4051960 h 6874379"/>
              <a:gd name="connsiteX13" fmla="*/ 146050 w 12192000"/>
              <a:gd name="connsiteY13" fmla="*/ 4746040 h 6874379"/>
              <a:gd name="connsiteX14" fmla="*/ 197606 w 12192000"/>
              <a:gd name="connsiteY14" fmla="*/ 5828803 h 6874379"/>
              <a:gd name="connsiteX15" fmla="*/ 223371 w 12192000"/>
              <a:gd name="connsiteY15" fmla="*/ 6175850 h 6874379"/>
              <a:gd name="connsiteX16" fmla="*/ 452464 w 12192000"/>
              <a:gd name="connsiteY16" fmla="*/ 6511675 h 6874379"/>
              <a:gd name="connsiteX17" fmla="*/ 5891167 w 12192000"/>
              <a:gd name="connsiteY17" fmla="*/ 6680936 h 6874379"/>
              <a:gd name="connsiteX18" fmla="*/ 9142589 w 12192000"/>
              <a:gd name="connsiteY18" fmla="*/ 6731113 h 6874379"/>
              <a:gd name="connsiteX19" fmla="*/ 12192000 w 12192000"/>
              <a:gd name="connsiteY19" fmla="*/ 6743126 h 6874379"/>
              <a:gd name="connsiteX20" fmla="*/ 12192000 w 12192000"/>
              <a:gd name="connsiteY20" fmla="*/ 6874379 h 6874379"/>
              <a:gd name="connsiteX21" fmla="*/ 0 w 12192000"/>
              <a:gd name="connsiteY21" fmla="*/ 6874379 h 68743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2192000" h="6874379">
                <a:moveTo>
                  <a:pt x="0" y="0"/>
                </a:moveTo>
                <a:lnTo>
                  <a:pt x="12192000" y="0"/>
                </a:lnTo>
                <a:lnTo>
                  <a:pt x="12192000" y="341392"/>
                </a:lnTo>
                <a:lnTo>
                  <a:pt x="12134257" y="320479"/>
                </a:lnTo>
                <a:cubicBezTo>
                  <a:pt x="11954012" y="269236"/>
                  <a:pt x="11688175" y="251884"/>
                  <a:pt x="11462617" y="234532"/>
                </a:cubicBezTo>
                <a:cubicBezTo>
                  <a:pt x="11256392" y="220643"/>
                  <a:pt x="10869734" y="248407"/>
                  <a:pt x="10560397" y="220643"/>
                </a:cubicBezTo>
                <a:cubicBezTo>
                  <a:pt x="10328381" y="192880"/>
                  <a:pt x="9890167" y="151243"/>
                  <a:pt x="9632386" y="151243"/>
                </a:cubicBezTo>
                <a:cubicBezTo>
                  <a:pt x="9139380" y="143433"/>
                  <a:pt x="8693500" y="140016"/>
                  <a:pt x="8274354" y="139710"/>
                </a:cubicBezTo>
                <a:cubicBezTo>
                  <a:pt x="6458057" y="138384"/>
                  <a:pt x="5143777" y="195484"/>
                  <a:pt x="2672303" y="206769"/>
                </a:cubicBezTo>
                <a:cubicBezTo>
                  <a:pt x="2388730" y="206769"/>
                  <a:pt x="2002073" y="206769"/>
                  <a:pt x="1383398" y="276170"/>
                </a:cubicBezTo>
                <a:cubicBezTo>
                  <a:pt x="816280" y="331696"/>
                  <a:pt x="532708" y="276170"/>
                  <a:pt x="352275" y="581565"/>
                </a:cubicBezTo>
                <a:cubicBezTo>
                  <a:pt x="197606" y="831433"/>
                  <a:pt x="274927" y="1650454"/>
                  <a:pt x="249163" y="1969723"/>
                </a:cubicBezTo>
                <a:cubicBezTo>
                  <a:pt x="197606" y="2691565"/>
                  <a:pt x="197606" y="3191302"/>
                  <a:pt x="197606" y="4051960"/>
                </a:cubicBezTo>
                <a:lnTo>
                  <a:pt x="146050" y="4746040"/>
                </a:lnTo>
                <a:cubicBezTo>
                  <a:pt x="274927" y="5134724"/>
                  <a:pt x="68702" y="5426244"/>
                  <a:pt x="197606" y="5828803"/>
                </a:cubicBezTo>
                <a:cubicBezTo>
                  <a:pt x="223371" y="5967619"/>
                  <a:pt x="180908" y="6062043"/>
                  <a:pt x="223371" y="6175850"/>
                </a:cubicBezTo>
                <a:cubicBezTo>
                  <a:pt x="265834" y="6289657"/>
                  <a:pt x="263750" y="6295253"/>
                  <a:pt x="452464" y="6511675"/>
                </a:cubicBezTo>
                <a:cubicBezTo>
                  <a:pt x="1044048" y="6836264"/>
                  <a:pt x="4442832" y="6644370"/>
                  <a:pt x="5891167" y="6680936"/>
                </a:cubicBezTo>
                <a:cubicBezTo>
                  <a:pt x="7339503" y="6717501"/>
                  <a:pt x="8163022" y="6744988"/>
                  <a:pt x="9142589" y="6731113"/>
                </a:cubicBezTo>
                <a:lnTo>
                  <a:pt x="12192000" y="6743126"/>
                </a:lnTo>
                <a:lnTo>
                  <a:pt x="12192000" y="6874379"/>
                </a:lnTo>
                <a:lnTo>
                  <a:pt x="0" y="687437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1DE026-1211-4BB1-B4B5-C2260592AD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501" y="457200"/>
            <a:ext cx="11182499" cy="4853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17AA9E-D108-4CE2-89FE-7BF9BE02BB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1475D-EF5B-48A6-8CCB-3BD08F726926}" type="datetimeFigureOut">
              <a:rPr lang="en-US"/>
              <a:pPr/>
              <a:t>6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D5D3E2-25F9-4BB3-889E-54F2FFA42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FC1D393-2630-4AA7-9044-26C6B46637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9" name="Text Placeholder 53">
            <a:extLst>
              <a:ext uri="{FF2B5EF4-FFF2-40B4-BE49-F238E27FC236}">
                <a16:creationId xmlns:a16="http://schemas.microsoft.com/office/drawing/2014/main" id="{9D2C6C6E-901A-4B8F-B000-D207C47F07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8500" y="1086829"/>
            <a:ext cx="11182499" cy="29051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A18E98C8-CBF7-4423-80CA-BBA23E40058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8649" y="1664702"/>
            <a:ext cx="5486400" cy="43550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77318A40-5974-4778-8EA2-5CB8991B7CB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24599" y="1664702"/>
            <a:ext cx="5486400" cy="43550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865954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2EC308-A595-4731-81D6-E996B8DA199F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204747-4051-4C7A-B674-A1E64ACD02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1475D-EF5B-48A6-8CCB-3BD08F726926}" type="datetimeFigureOut">
              <a:rPr lang="en-US"/>
              <a:t>6/1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DB6A6F-2612-48E0-B685-EE5FD0A1A4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B2BD39-0025-4E14-A207-974EC0FD86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A593348-F93D-4FEF-A9B9-1AEA4A21A6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678458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7533635-B1C4-457F-B4C4-D0F7EFBF08C3}"/>
              </a:ext>
            </a:extLst>
          </p:cNvPr>
          <p:cNvSpPr/>
          <p:nvPr/>
        </p:nvSpPr>
        <p:spPr bwMode="ltGray">
          <a:xfrm>
            <a:off x="10462371" y="5974804"/>
            <a:ext cx="1585477" cy="883197"/>
          </a:xfrm>
          <a:custGeom>
            <a:avLst/>
            <a:gdLst>
              <a:gd name="connsiteX0" fmla="*/ 838774 w 1585477"/>
              <a:gd name="connsiteY0" fmla="*/ 14 h 883197"/>
              <a:gd name="connsiteX1" fmla="*/ 996107 w 1585477"/>
              <a:gd name="connsiteY1" fmla="*/ 18377 h 883197"/>
              <a:gd name="connsiteX2" fmla="*/ 1585477 w 1585477"/>
              <a:gd name="connsiteY2" fmla="*/ 746145 h 883197"/>
              <a:gd name="connsiteX3" fmla="*/ 1585202 w 1585477"/>
              <a:gd name="connsiteY3" fmla="*/ 883197 h 883197"/>
              <a:gd name="connsiteX4" fmla="*/ 695 w 1585477"/>
              <a:gd name="connsiteY4" fmla="*/ 883197 h 883197"/>
              <a:gd name="connsiteX5" fmla="*/ 294 w 1585477"/>
              <a:gd name="connsiteY5" fmla="*/ 879328 h 883197"/>
              <a:gd name="connsiteX6" fmla="*/ 20167 w 1585477"/>
              <a:gd name="connsiteY6" fmla="*/ 648487 h 883197"/>
              <a:gd name="connsiteX7" fmla="*/ 838774 w 1585477"/>
              <a:gd name="connsiteY7" fmla="*/ 14 h 883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85477" h="883197">
                <a:moveTo>
                  <a:pt x="838774" y="14"/>
                </a:moveTo>
                <a:cubicBezTo>
                  <a:pt x="891699" y="335"/>
                  <a:pt x="944452" y="6288"/>
                  <a:pt x="996107" y="18377"/>
                </a:cubicBezTo>
                <a:cubicBezTo>
                  <a:pt x="1344865" y="100437"/>
                  <a:pt x="1558993" y="409128"/>
                  <a:pt x="1585477" y="746145"/>
                </a:cubicBezTo>
                <a:lnTo>
                  <a:pt x="1585202" y="883197"/>
                </a:lnTo>
                <a:lnTo>
                  <a:pt x="695" y="883197"/>
                </a:lnTo>
                <a:lnTo>
                  <a:pt x="294" y="879328"/>
                </a:lnTo>
                <a:cubicBezTo>
                  <a:pt x="-1813" y="797038"/>
                  <a:pt x="7712" y="718092"/>
                  <a:pt x="20167" y="648487"/>
                </a:cubicBezTo>
                <a:cubicBezTo>
                  <a:pt x="89408" y="271519"/>
                  <a:pt x="468297" y="-2229"/>
                  <a:pt x="838774" y="14"/>
                </a:cubicBezTo>
                <a:close/>
              </a:path>
            </a:pathLst>
          </a:custGeom>
          <a:solidFill>
            <a:srgbClr val="4F2170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B813CEC-1B8A-4FB0-9276-0170AED9E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994A90-D491-44FB-9802-5BF47DE84F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1475D-EF5B-48A6-8CCB-3BD08F726926}" type="datetimeFigureOut">
              <a:rPr lang="en-US"/>
              <a:pPr/>
              <a:t>6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7A821A-79DC-41C0-A300-2B368D9926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49FD507-7645-49CA-AA88-72717BAD31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Text Placeholder 53">
            <a:extLst>
              <a:ext uri="{FF2B5EF4-FFF2-40B4-BE49-F238E27FC236}">
                <a16:creationId xmlns:a16="http://schemas.microsoft.com/office/drawing/2014/main" id="{B420C7EB-E753-4F7B-AEA6-BF83E3F371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731530"/>
            <a:ext cx="11429998" cy="36573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5A0AFF1-9E54-421B-AC34-EAFAF90112DD}"/>
              </a:ext>
            </a:extLst>
          </p:cNvPr>
          <p:cNvGrpSpPr>
            <a:grpSpLocks noChangeAspect="1"/>
          </p:cNvGrpSpPr>
          <p:nvPr/>
        </p:nvGrpSpPr>
        <p:grpSpPr>
          <a:xfrm>
            <a:off x="10676779" y="6205751"/>
            <a:ext cx="1143000" cy="440144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BFDC3F4-CA3C-4FC2-92DD-3CADF4989447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37DBEEE-CF7F-4D1F-849D-928BA82EC93B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B2F70EF-E943-4F09-9AF2-6BD9CAD5CB3A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7C3E69A-2B35-4A55-B991-C0C039AFB0CE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1AF4A2B-A30E-4897-8EDC-C99DE54C2936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2DCAE65-6D6D-48D1-B28A-A058E3BC709E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95AFC10-7312-4BF8-A557-DA8678F962DA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2F36A6C7-D0EE-46D0-A334-73B13AC9039B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A99400B-701C-434B-A9DF-407DAC516AB5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2D1B86A-33BB-46AB-8000-A26581AE547C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6F0D372-8C1C-4BBA-8C19-5C5D50CB40D3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EF4B029-DDF1-4096-896A-C4F8417BFF1E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3742297-9C6A-4599-8768-0BDB13B1FCEF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0253335F-845B-4DB3-A9A0-46D3B34CD5DB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599992C4-BDD7-4BA0-95D9-C32B47D580A5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BA1C7DC-6309-4E4F-B5A5-1E32C5ABFC1A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F248CF09-AD3B-4C85-B535-3B9F24457F3F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E974E943-15A7-4D05-B2E8-5041FD49AFD8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FAEB3-1B3E-4C78-9313-BD977A48C24D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013A6C2-7D68-4911-9BB2-76B931A0840C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3A0FC2E-1696-4E5D-8740-0173FEC0C940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A6C3BEF-B959-4A63-9972-3910916B1FB5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95A684EE-FC6F-42C2-A395-8D903D7DA553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FFA0438A-6980-45CF-B8F0-FB53943DAB08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FC20C9B-4BB9-46A9-9696-DAAC441E835C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19D53DE-A4DA-4AE7-BA92-608B7F6E88D3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B625ED8A-D3D4-4154-B0B3-EF43EBC3C6D3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9B1C02FF-90CC-4831-BAE5-A86D10791FC1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F82A0DB8-0ECB-4944-9468-4B85E60D809E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DA4A0440-EB6E-4064-A01C-1781BC03A876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49007CFA-4CB6-4475-8DC1-AE2D8D316015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862B4178-3CD4-4F75-9B25-C23D707C377A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558B1006-CC1F-40DD-BD7B-99C832704287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E3A64DEA-4098-4ADC-9CD1-9687FE43DC93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A832BAE0-D017-4A44-B1FD-B27B15799420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5C4E59D-A8AD-4910-AF39-8DEEF44A00F1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A81B5D9D-89FB-4D2F-A78D-73AF9AEC196D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DBFAFEDA-92A7-430B-864D-95B664E05370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74C54477-D660-4214-9D6F-AF9A7F0C3099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7AB18A07-F054-4F36-97CA-4DBDC6B271F5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FD1E386E-E3EA-4515-B634-C0D94651C931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A4566A92-B6AE-4D30-A8A5-6CAEA783F9AC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1BC387F-0885-43F6-85BD-C73BA939878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1000" y="1384628"/>
            <a:ext cx="11430000" cy="46351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9439084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6CF7A3-C01B-4858-95E5-B008688EC0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C0B5B2-035E-4875-9E0B-65D7693B97EB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001" y="914400"/>
            <a:ext cx="5610221" cy="5105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1C9F57-0475-48B8-B2C4-3C1B844EB79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0774" y="914401"/>
            <a:ext cx="5610221" cy="5105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8D6859-D53D-4387-B548-092AE96646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FEB38-5A4E-45E5-A640-26D00BC1F3AB}" type="datetimeFigureOut">
              <a:rPr lang="en-US"/>
              <a:t>6/12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800914-2B16-461D-99E1-47F2640247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A110C2F-EFB2-4168-86BE-C3ABA04BA6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F95A1E-4E3E-4AAD-A517-7DAD9580D6B2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296645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081126-3DF6-4AE2-A8AE-6034E9AA39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E021F4-C37C-4B7E-96F0-1DCC62967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1475D-EF5B-48A6-8CCB-3BD08F726926}" type="datetimeFigureOut">
              <a:rPr lang="en-US"/>
              <a:pPr/>
              <a:t>6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343FD06-8A80-436E-AAD0-0B4CC79FEF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54BFCC-9FE5-4526-91E6-920CEB6231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5AA6A50-CF51-470A-8339-2A98B229115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81000" y="914400"/>
            <a:ext cx="3733800" cy="5105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EC50042C-8E0C-40C9-A488-3584EFC873E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914400"/>
            <a:ext cx="3733800" cy="5105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E85AC529-F215-45F0-A438-817CEBA3DFF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077200" y="914400"/>
            <a:ext cx="3733800" cy="5105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093694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Hexago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4730513-B885-49F0-9C17-F45E71DFE844}"/>
              </a:ext>
            </a:extLst>
          </p:cNvPr>
          <p:cNvSpPr/>
          <p:nvPr/>
        </p:nvSpPr>
        <p:spPr bwMode="white">
          <a:xfrm>
            <a:off x="0" y="0"/>
            <a:ext cx="6003366" cy="6105046"/>
          </a:xfrm>
          <a:custGeom>
            <a:avLst/>
            <a:gdLst>
              <a:gd name="connsiteX0" fmla="*/ 0 w 6003366"/>
              <a:gd name="connsiteY0" fmla="*/ 0 h 6105046"/>
              <a:gd name="connsiteX1" fmla="*/ 4639238 w 6003366"/>
              <a:gd name="connsiteY1" fmla="*/ 0 h 6105046"/>
              <a:gd name="connsiteX2" fmla="*/ 4663657 w 6003366"/>
              <a:gd name="connsiteY2" fmla="*/ 38495 h 6105046"/>
              <a:gd name="connsiteX3" fmla="*/ 5718321 w 6003366"/>
              <a:gd name="connsiteY3" fmla="*/ 1734501 h 6105046"/>
              <a:gd name="connsiteX4" fmla="*/ 6003366 w 6003366"/>
              <a:gd name="connsiteY4" fmla="*/ 2432867 h 6105046"/>
              <a:gd name="connsiteX5" fmla="*/ 5775330 w 6003366"/>
              <a:gd name="connsiteY5" fmla="*/ 3131218 h 6105046"/>
              <a:gd name="connsiteX6" fmla="*/ 4449866 w 6003366"/>
              <a:gd name="connsiteY6" fmla="*/ 5696617 h 6105046"/>
              <a:gd name="connsiteX7" fmla="*/ 4250335 w 6003366"/>
              <a:gd name="connsiteY7" fmla="*/ 5981661 h 6105046"/>
              <a:gd name="connsiteX8" fmla="*/ 3780019 w 6003366"/>
              <a:gd name="connsiteY8" fmla="*/ 6095679 h 6105046"/>
              <a:gd name="connsiteX9" fmla="*/ 1171855 w 6003366"/>
              <a:gd name="connsiteY9" fmla="*/ 6081434 h 6105046"/>
              <a:gd name="connsiteX10" fmla="*/ 459244 w 6003366"/>
              <a:gd name="connsiteY10" fmla="*/ 5967416 h 6105046"/>
              <a:gd name="connsiteX11" fmla="*/ 58904 w 6003366"/>
              <a:gd name="connsiteY11" fmla="*/ 5687075 h 6105046"/>
              <a:gd name="connsiteX12" fmla="*/ 0 w 6003366"/>
              <a:gd name="connsiteY12" fmla="*/ 5620135 h 6105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03366" h="6105046">
                <a:moveTo>
                  <a:pt x="0" y="0"/>
                </a:moveTo>
                <a:lnTo>
                  <a:pt x="4639238" y="0"/>
                </a:lnTo>
                <a:lnTo>
                  <a:pt x="4663657" y="38495"/>
                </a:lnTo>
                <a:cubicBezTo>
                  <a:pt x="5019955" y="608583"/>
                  <a:pt x="5362008" y="1164412"/>
                  <a:pt x="5718321" y="1734501"/>
                </a:cubicBezTo>
                <a:cubicBezTo>
                  <a:pt x="5860843" y="1948291"/>
                  <a:pt x="5989106" y="2176327"/>
                  <a:pt x="6003366" y="2432867"/>
                </a:cubicBezTo>
                <a:cubicBezTo>
                  <a:pt x="6003366" y="2675147"/>
                  <a:pt x="5889348" y="2917442"/>
                  <a:pt x="5775330" y="3131218"/>
                </a:cubicBezTo>
                <a:cubicBezTo>
                  <a:pt x="5333504" y="3986351"/>
                  <a:pt x="4891692" y="4841484"/>
                  <a:pt x="4449866" y="5696617"/>
                </a:cubicBezTo>
                <a:cubicBezTo>
                  <a:pt x="4392857" y="5810634"/>
                  <a:pt x="4335848" y="5910407"/>
                  <a:pt x="4250335" y="5981661"/>
                </a:cubicBezTo>
                <a:cubicBezTo>
                  <a:pt x="4122072" y="6081434"/>
                  <a:pt x="3951046" y="6095679"/>
                  <a:pt x="3780019" y="6095679"/>
                </a:cubicBezTo>
                <a:cubicBezTo>
                  <a:pt x="2910626" y="6109938"/>
                  <a:pt x="2041248" y="6109938"/>
                  <a:pt x="1171855" y="6081434"/>
                </a:cubicBezTo>
                <a:cubicBezTo>
                  <a:pt x="929574" y="6067174"/>
                  <a:pt x="687279" y="6067174"/>
                  <a:pt x="459244" y="5967416"/>
                </a:cubicBezTo>
                <a:cubicBezTo>
                  <a:pt x="304254" y="5903281"/>
                  <a:pt x="173312" y="5805074"/>
                  <a:pt x="58904" y="5687075"/>
                </a:cubicBezTo>
                <a:lnTo>
                  <a:pt x="0" y="5620135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C95E134-4758-4A15-97D4-E85BCD1919D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1" cy="6858000"/>
          </a:xfrm>
          <a:custGeom>
            <a:avLst/>
            <a:gdLst>
              <a:gd name="connsiteX0" fmla="*/ 4639238 w 12192001"/>
              <a:gd name="connsiteY0" fmla="*/ 0 h 6858000"/>
              <a:gd name="connsiteX1" fmla="*/ 12192001 w 12192001"/>
              <a:gd name="connsiteY1" fmla="*/ 0 h 6858000"/>
              <a:gd name="connsiteX2" fmla="*/ 12192001 w 12192001"/>
              <a:gd name="connsiteY2" fmla="*/ 6858000 h 6858000"/>
              <a:gd name="connsiteX3" fmla="*/ 0 w 12192001"/>
              <a:gd name="connsiteY3" fmla="*/ 6858000 h 6858000"/>
              <a:gd name="connsiteX4" fmla="*/ 0 w 12192001"/>
              <a:gd name="connsiteY4" fmla="*/ 5620135 h 6858000"/>
              <a:gd name="connsiteX5" fmla="*/ 58904 w 12192001"/>
              <a:gd name="connsiteY5" fmla="*/ 5687075 h 6858000"/>
              <a:gd name="connsiteX6" fmla="*/ 459244 w 12192001"/>
              <a:gd name="connsiteY6" fmla="*/ 5967416 h 6858000"/>
              <a:gd name="connsiteX7" fmla="*/ 1171855 w 12192001"/>
              <a:gd name="connsiteY7" fmla="*/ 6081434 h 6858000"/>
              <a:gd name="connsiteX8" fmla="*/ 3780019 w 12192001"/>
              <a:gd name="connsiteY8" fmla="*/ 6095679 h 6858000"/>
              <a:gd name="connsiteX9" fmla="*/ 4250335 w 12192001"/>
              <a:gd name="connsiteY9" fmla="*/ 5981661 h 6858000"/>
              <a:gd name="connsiteX10" fmla="*/ 4449866 w 12192001"/>
              <a:gd name="connsiteY10" fmla="*/ 5696617 h 6858000"/>
              <a:gd name="connsiteX11" fmla="*/ 5775330 w 12192001"/>
              <a:gd name="connsiteY11" fmla="*/ 3131218 h 6858000"/>
              <a:gd name="connsiteX12" fmla="*/ 6003366 w 12192001"/>
              <a:gd name="connsiteY12" fmla="*/ 2432867 h 6858000"/>
              <a:gd name="connsiteX13" fmla="*/ 5718321 w 12192001"/>
              <a:gd name="connsiteY13" fmla="*/ 1734501 h 6858000"/>
              <a:gd name="connsiteX14" fmla="*/ 4663657 w 12192001"/>
              <a:gd name="connsiteY14" fmla="*/ 3849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1" h="6858000">
                <a:moveTo>
                  <a:pt x="4639238" y="0"/>
                </a:moveTo>
                <a:lnTo>
                  <a:pt x="12192001" y="0"/>
                </a:lnTo>
                <a:lnTo>
                  <a:pt x="12192001" y="6858000"/>
                </a:lnTo>
                <a:lnTo>
                  <a:pt x="0" y="6858000"/>
                </a:lnTo>
                <a:lnTo>
                  <a:pt x="0" y="5620135"/>
                </a:lnTo>
                <a:lnTo>
                  <a:pt x="58904" y="5687075"/>
                </a:lnTo>
                <a:cubicBezTo>
                  <a:pt x="173312" y="5805074"/>
                  <a:pt x="304254" y="5903281"/>
                  <a:pt x="459244" y="5967416"/>
                </a:cubicBezTo>
                <a:cubicBezTo>
                  <a:pt x="687279" y="6067174"/>
                  <a:pt x="929574" y="6067174"/>
                  <a:pt x="1171855" y="6081434"/>
                </a:cubicBezTo>
                <a:cubicBezTo>
                  <a:pt x="2041248" y="6109938"/>
                  <a:pt x="2910626" y="6109938"/>
                  <a:pt x="3780019" y="6095679"/>
                </a:cubicBezTo>
                <a:cubicBezTo>
                  <a:pt x="3951046" y="6095679"/>
                  <a:pt x="4122072" y="6081434"/>
                  <a:pt x="4250335" y="5981661"/>
                </a:cubicBezTo>
                <a:cubicBezTo>
                  <a:pt x="4335848" y="5910407"/>
                  <a:pt x="4392857" y="5810634"/>
                  <a:pt x="4449866" y="5696617"/>
                </a:cubicBezTo>
                <a:cubicBezTo>
                  <a:pt x="4891692" y="4841484"/>
                  <a:pt x="5333504" y="3986351"/>
                  <a:pt x="5775330" y="3131218"/>
                </a:cubicBezTo>
                <a:cubicBezTo>
                  <a:pt x="5889348" y="2917442"/>
                  <a:pt x="6003366" y="2675147"/>
                  <a:pt x="6003366" y="2432867"/>
                </a:cubicBezTo>
                <a:cubicBezTo>
                  <a:pt x="5989106" y="2176327"/>
                  <a:pt x="5860843" y="1948291"/>
                  <a:pt x="5718321" y="1734501"/>
                </a:cubicBezTo>
                <a:cubicBezTo>
                  <a:pt x="5362008" y="1164412"/>
                  <a:pt x="5019956" y="608583"/>
                  <a:pt x="4663657" y="38495"/>
                </a:cubicBezTo>
                <a:close/>
              </a:path>
            </a:pathLst>
          </a:custGeom>
          <a:solidFill>
            <a:srgbClr val="D9D9D9"/>
          </a:solidFill>
        </p:spPr>
        <p:txBody>
          <a:bodyPr wrap="square" lIns="6400800" t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full slide image is 1280 x 7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6AAFD9-7181-4BA5-A2B7-821424B513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914400"/>
            <a:ext cx="4670401" cy="2400300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53">
            <a:extLst>
              <a:ext uri="{FF2B5EF4-FFF2-40B4-BE49-F238E27FC236}">
                <a16:creationId xmlns:a16="http://schemas.microsoft.com/office/drawing/2014/main" id="{D275F703-BAB3-4AC2-B21C-F4D222E298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672" y="3659413"/>
            <a:ext cx="4365357" cy="73152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Subtitle text (optional)</a:t>
            </a:r>
          </a:p>
        </p:txBody>
      </p:sp>
    </p:spTree>
    <p:extLst>
      <p:ext uri="{BB962C8B-B14F-4D97-AF65-F5344CB8AC3E}">
        <p14:creationId xmlns:p14="http://schemas.microsoft.com/office/powerpoint/2010/main" val="8900098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D82B1C-9D1C-470A-8DAC-872C6F3CE1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815023-C126-4128-BC8F-1BB4CB113E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FEB38-5A4E-45E5-A640-26D00BC1F3AB}" type="datetimeFigureOut">
              <a:rPr lang="en-US"/>
              <a:t>6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FFE3BA-31F8-4FB8-B78F-6C12DFB24A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CDE704-6759-4C07-BC57-03EACFFCB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F95A1E-4E3E-4AAD-A517-7DAD9580D6B2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67772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182308-D8FD-4D2D-A4A4-0AB7B42613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5C24ADA-2B35-4506-BCFE-28F2ED617C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1475D-EF5B-48A6-8CCB-3BD08F726926}" type="datetimeFigureOut">
              <a:rPr lang="en-US"/>
              <a:pPr/>
              <a:t>6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EABF83-04BE-4745-A7CD-9BF2974561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FB1B30-07A6-4897-BFAA-775293B4CC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Text Placeholder 53">
            <a:extLst>
              <a:ext uri="{FF2B5EF4-FFF2-40B4-BE49-F238E27FC236}">
                <a16:creationId xmlns:a16="http://schemas.microsoft.com/office/drawing/2014/main" id="{AC1DD188-8160-4400-A56B-985CF10D49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731530"/>
            <a:ext cx="11429998" cy="36573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6779586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36DCD65-4054-4059-9788-175B50658E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1475D-EF5B-48A6-8CCB-3BD08F726926}" type="datetimeFigureOut">
              <a:rPr lang="en-US"/>
              <a:t>6/12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09CC7B-BD5E-4DEB-98F7-581E73AB0D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B1890A-9F5B-4D33-B25B-84BA80C938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825162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A63F8DDC-ACF7-4A20-8541-378AD67A6BE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05999" y="5020104"/>
            <a:ext cx="2797175" cy="1837896"/>
          </a:xfrm>
          <a:custGeom>
            <a:avLst/>
            <a:gdLst>
              <a:gd name="connsiteX0" fmla="*/ 1477209 w 2797175"/>
              <a:gd name="connsiteY0" fmla="*/ 25 h 1837896"/>
              <a:gd name="connsiteX1" fmla="*/ 1754297 w 2797175"/>
              <a:gd name="connsiteY1" fmla="*/ 32364 h 1837896"/>
              <a:gd name="connsiteX2" fmla="*/ 2791755 w 2797175"/>
              <a:gd name="connsiteY2" fmla="*/ 1570484 h 1837896"/>
              <a:gd name="connsiteX3" fmla="*/ 2761264 w 2797175"/>
              <a:gd name="connsiteY3" fmla="*/ 1772753 h 1837896"/>
              <a:gd name="connsiteX4" fmla="*/ 2740822 w 2797175"/>
              <a:gd name="connsiteY4" fmla="*/ 1837896 h 1837896"/>
              <a:gd name="connsiteX5" fmla="*/ 40031 w 2797175"/>
              <a:gd name="connsiteY5" fmla="*/ 1837896 h 1837896"/>
              <a:gd name="connsiteX6" fmla="*/ 14140 w 2797175"/>
              <a:gd name="connsiteY6" fmla="*/ 1713596 h 1837896"/>
              <a:gd name="connsiteX7" fmla="*/ 35516 w 2797175"/>
              <a:gd name="connsiteY7" fmla="*/ 1142084 h 1837896"/>
              <a:gd name="connsiteX8" fmla="*/ 1477209 w 2797175"/>
              <a:gd name="connsiteY8" fmla="*/ 25 h 1837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97175" h="1837896">
                <a:moveTo>
                  <a:pt x="1477209" y="25"/>
                </a:moveTo>
                <a:cubicBezTo>
                  <a:pt x="1570418" y="590"/>
                  <a:pt x="1663325" y="11074"/>
                  <a:pt x="1754297" y="32364"/>
                </a:cubicBezTo>
                <a:cubicBezTo>
                  <a:pt x="2456261" y="197531"/>
                  <a:pt x="2848534" y="884010"/>
                  <a:pt x="2791755" y="1570484"/>
                </a:cubicBezTo>
                <a:cubicBezTo>
                  <a:pt x="2786271" y="1641777"/>
                  <a:pt x="2775928" y="1709139"/>
                  <a:pt x="2761264" y="1772753"/>
                </a:cubicBezTo>
                <a:lnTo>
                  <a:pt x="2740822" y="1837896"/>
                </a:lnTo>
                <a:lnTo>
                  <a:pt x="40031" y="1837896"/>
                </a:lnTo>
                <a:lnTo>
                  <a:pt x="14140" y="1713596"/>
                </a:lnTo>
                <a:cubicBezTo>
                  <a:pt x="-15049" y="1510297"/>
                  <a:pt x="5355" y="1310638"/>
                  <a:pt x="35516" y="1142084"/>
                </a:cubicBezTo>
                <a:cubicBezTo>
                  <a:pt x="157459" y="478188"/>
                  <a:pt x="824742" y="-3925"/>
                  <a:pt x="1477209" y="25"/>
                </a:cubicBezTo>
                <a:close/>
              </a:path>
            </a:pathLst>
          </a:custGeom>
          <a:solidFill>
            <a:srgbClr val="D9D9D9"/>
          </a:solidFill>
        </p:spPr>
        <p:txBody>
          <a:bodyPr wrap="square" tIns="109728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size 320 x 3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2924F1-A0DC-49D4-96C4-A482D4DF75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9100" y="152400"/>
            <a:ext cx="7581902" cy="4853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A32D13B-5124-4E72-BA9F-FE8C6BFCCC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1475D-EF5B-48A6-8CCB-3BD08F726926}" type="datetimeFigureOut">
              <a:rPr lang="en-US"/>
              <a:pPr/>
              <a:t>6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A0BBFE-DFC3-45FF-B281-F9BC65C1B4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7E582E-199C-40D6-A654-4D49AF0C7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7104F46-245D-486A-B90A-2D0951EDC2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29100" y="1383792"/>
            <a:ext cx="7581900" cy="463600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53">
            <a:extLst>
              <a:ext uri="{FF2B5EF4-FFF2-40B4-BE49-F238E27FC236}">
                <a16:creationId xmlns:a16="http://schemas.microsoft.com/office/drawing/2014/main" id="{EF7030FC-3432-442B-80CB-FA420E440C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29100" y="731530"/>
            <a:ext cx="7581898" cy="36573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5D6B7F4B-2B1B-4CC9-B4BE-A27597837E2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5996" y="1"/>
            <a:ext cx="2797176" cy="1905875"/>
          </a:xfrm>
          <a:custGeom>
            <a:avLst/>
            <a:gdLst>
              <a:gd name="connsiteX0" fmla="*/ 126450 w 2797176"/>
              <a:gd name="connsiteY0" fmla="*/ 0 h 1905875"/>
              <a:gd name="connsiteX1" fmla="*/ 2684933 w 2797176"/>
              <a:gd name="connsiteY1" fmla="*/ 0 h 1905875"/>
              <a:gd name="connsiteX2" fmla="*/ 2717681 w 2797176"/>
              <a:gd name="connsiteY2" fmla="*/ 86895 h 1905875"/>
              <a:gd name="connsiteX3" fmla="*/ 2791756 w 2797176"/>
              <a:gd name="connsiteY3" fmla="*/ 714556 h 1905875"/>
              <a:gd name="connsiteX4" fmla="*/ 1000720 w 2797176"/>
              <a:gd name="connsiteY4" fmla="*/ 1870727 h 1905875"/>
              <a:gd name="connsiteX5" fmla="*/ 35517 w 2797176"/>
              <a:gd name="connsiteY5" fmla="*/ 286156 h 1905875"/>
              <a:gd name="connsiteX6" fmla="*/ 119533 w 2797176"/>
              <a:gd name="connsiteY6" fmla="*/ 13646 h 190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97176" h="1905875">
                <a:moveTo>
                  <a:pt x="126450" y="0"/>
                </a:moveTo>
                <a:lnTo>
                  <a:pt x="2684933" y="0"/>
                </a:lnTo>
                <a:lnTo>
                  <a:pt x="2717681" y="86895"/>
                </a:lnTo>
                <a:cubicBezTo>
                  <a:pt x="2783390" y="285509"/>
                  <a:pt x="2809500" y="500033"/>
                  <a:pt x="2791756" y="714556"/>
                </a:cubicBezTo>
                <a:cubicBezTo>
                  <a:pt x="2704013" y="1855245"/>
                  <a:pt x="1372347" y="1989443"/>
                  <a:pt x="1000720" y="1870727"/>
                </a:cubicBezTo>
                <a:cubicBezTo>
                  <a:pt x="-57390" y="1530069"/>
                  <a:pt x="-52226" y="776494"/>
                  <a:pt x="35517" y="286156"/>
                </a:cubicBezTo>
                <a:cubicBezTo>
                  <a:pt x="52937" y="191314"/>
                  <a:pt x="81487" y="100181"/>
                  <a:pt x="119533" y="13646"/>
                </a:cubicBezTo>
                <a:close/>
              </a:path>
            </a:pathLst>
          </a:custGeom>
          <a:solidFill>
            <a:srgbClr val="D9D9D9"/>
          </a:solidFill>
        </p:spPr>
        <p:txBody>
          <a:bodyPr wrap="square" tIns="36576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size 320 x 320 pixels)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F9C56AD-BDF6-4DD3-BCC6-F6A6E7ADA30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05996" y="2082136"/>
            <a:ext cx="2797176" cy="2761803"/>
          </a:xfrm>
          <a:custGeom>
            <a:avLst/>
            <a:gdLst>
              <a:gd name="connsiteX0" fmla="*/ 1477210 w 2797176"/>
              <a:gd name="connsiteY0" fmla="*/ 25 h 2761803"/>
              <a:gd name="connsiteX1" fmla="*/ 1754298 w 2797176"/>
              <a:gd name="connsiteY1" fmla="*/ 32364 h 2761803"/>
              <a:gd name="connsiteX2" fmla="*/ 2791756 w 2797176"/>
              <a:gd name="connsiteY2" fmla="*/ 1570484 h 2761803"/>
              <a:gd name="connsiteX3" fmla="*/ 1000720 w 2797176"/>
              <a:gd name="connsiteY3" fmla="*/ 2726655 h 2761803"/>
              <a:gd name="connsiteX4" fmla="*/ 35517 w 2797176"/>
              <a:gd name="connsiteY4" fmla="*/ 1142084 h 2761803"/>
              <a:gd name="connsiteX5" fmla="*/ 1477210 w 2797176"/>
              <a:gd name="connsiteY5" fmla="*/ 25 h 2761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97176" h="2761803">
                <a:moveTo>
                  <a:pt x="1477210" y="25"/>
                </a:moveTo>
                <a:cubicBezTo>
                  <a:pt x="1570419" y="589"/>
                  <a:pt x="1663326" y="11073"/>
                  <a:pt x="1754298" y="32364"/>
                </a:cubicBezTo>
                <a:cubicBezTo>
                  <a:pt x="2456262" y="197531"/>
                  <a:pt x="2848535" y="884010"/>
                  <a:pt x="2791756" y="1570484"/>
                </a:cubicBezTo>
                <a:cubicBezTo>
                  <a:pt x="2704013" y="2711173"/>
                  <a:pt x="1372347" y="2845371"/>
                  <a:pt x="1000720" y="2726655"/>
                </a:cubicBezTo>
                <a:cubicBezTo>
                  <a:pt x="-57390" y="2385997"/>
                  <a:pt x="-52226" y="1632422"/>
                  <a:pt x="35517" y="1142084"/>
                </a:cubicBezTo>
                <a:cubicBezTo>
                  <a:pt x="157460" y="478187"/>
                  <a:pt x="824743" y="-3925"/>
                  <a:pt x="1477210" y="25"/>
                </a:cubicBezTo>
                <a:close/>
              </a:path>
            </a:pathLst>
          </a:custGeom>
          <a:solidFill>
            <a:srgbClr val="D9D9D9"/>
          </a:solidFill>
        </p:spPr>
        <p:txBody>
          <a:bodyPr wrap="square" tIns="73152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size 320 x 320 pixels)</a:t>
            </a:r>
          </a:p>
        </p:txBody>
      </p:sp>
    </p:spTree>
    <p:extLst>
      <p:ext uri="{BB962C8B-B14F-4D97-AF65-F5344CB8AC3E}">
        <p14:creationId xmlns:p14="http://schemas.microsoft.com/office/powerpoint/2010/main" val="233891652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rcle 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A2733906-1C03-4012-B214-1CE93389DA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2"/>
            <a:ext cx="5266036" cy="6857999"/>
          </a:xfrm>
          <a:custGeom>
            <a:avLst/>
            <a:gdLst>
              <a:gd name="connsiteX0" fmla="*/ 0 w 5266036"/>
              <a:gd name="connsiteY0" fmla="*/ 0 h 6857999"/>
              <a:gd name="connsiteX1" fmla="*/ 3014696 w 5266036"/>
              <a:gd name="connsiteY1" fmla="*/ 0 h 6857999"/>
              <a:gd name="connsiteX2" fmla="*/ 3040982 w 5266036"/>
              <a:gd name="connsiteY2" fmla="*/ 11408 h 6857999"/>
              <a:gd name="connsiteX3" fmla="*/ 5250901 w 5266036"/>
              <a:gd name="connsiteY3" fmla="*/ 4085922 h 6857999"/>
              <a:gd name="connsiteX4" fmla="*/ 3435696 w 5266036"/>
              <a:gd name="connsiteY4" fmla="*/ 6839477 h 6857999"/>
              <a:gd name="connsiteX5" fmla="*/ 3398838 w 5266036"/>
              <a:gd name="connsiteY5" fmla="*/ 6857999 h 6857999"/>
              <a:gd name="connsiteX6" fmla="*/ 0 w 5266036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66036" h="6857999">
                <a:moveTo>
                  <a:pt x="0" y="0"/>
                </a:moveTo>
                <a:lnTo>
                  <a:pt x="3014696" y="0"/>
                </a:lnTo>
                <a:lnTo>
                  <a:pt x="3040982" y="11408"/>
                </a:lnTo>
                <a:cubicBezTo>
                  <a:pt x="4562919" y="717837"/>
                  <a:pt x="5390071" y="2397951"/>
                  <a:pt x="5250901" y="4085922"/>
                </a:cubicBezTo>
                <a:cubicBezTo>
                  <a:pt x="5138669" y="5484335"/>
                  <a:pt x="4361602" y="6343612"/>
                  <a:pt x="3435696" y="6839477"/>
                </a:cubicBezTo>
                <a:lnTo>
                  <a:pt x="3398838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tIns="365760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half slide image is 640 x 7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AEA02C-1880-4C71-86A6-34ED8A672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152400"/>
            <a:ext cx="5715002" cy="9017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20C5055-7E08-43F9-85F7-AF9A137CF0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096000" y="1383792"/>
            <a:ext cx="5715000" cy="463600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22411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73CA62-557B-4233-A280-B632FDE7E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152400"/>
            <a:ext cx="11430001" cy="4853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477033-05D8-4136-947B-33FDFE0937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B1475D-EF5B-48A6-8CCB-3BD08F726926}" type="datetimeFigureOut">
              <a:rPr lang="en-US"/>
              <a:pPr/>
              <a:t>6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ABE26E-7618-4F78-8596-2A31C0BCE0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4B0F7D-C1BE-4FF4-8D9C-4EB1E87603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A54F4-DB31-4FC5-B748-3F06867349C3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CAA4CE7-2E79-487E-9FB0-5C7F0E926C2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81000" y="1383792"/>
            <a:ext cx="6400800" cy="463600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53">
            <a:extLst>
              <a:ext uri="{FF2B5EF4-FFF2-40B4-BE49-F238E27FC236}">
                <a16:creationId xmlns:a16="http://schemas.microsoft.com/office/drawing/2014/main" id="{734CE9CF-0E3B-470F-87D6-C69D18AB3E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731530"/>
            <a:ext cx="6400799" cy="36573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rgbClr val="724D8D"/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11A1073-7FE1-4F7F-8031-C3C041EB8AF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986761" y="862564"/>
            <a:ext cx="4851030" cy="5081476"/>
          </a:xfrm>
          <a:custGeom>
            <a:avLst/>
            <a:gdLst>
              <a:gd name="connsiteX0" fmla="*/ 4603651 w 4851030"/>
              <a:gd name="connsiteY0" fmla="*/ 0 h 5081476"/>
              <a:gd name="connsiteX1" fmla="*/ 4827723 w 4851030"/>
              <a:gd name="connsiteY1" fmla="*/ 669963 h 5081476"/>
              <a:gd name="connsiteX2" fmla="*/ 4837903 w 4851030"/>
              <a:gd name="connsiteY2" fmla="*/ 2094980 h 5081476"/>
              <a:gd name="connsiteX3" fmla="*/ 4848093 w 4851030"/>
              <a:gd name="connsiteY3" fmla="*/ 3169064 h 5081476"/>
              <a:gd name="connsiteX4" fmla="*/ 4848093 w 4851030"/>
              <a:gd name="connsiteY4" fmla="*/ 3913475 h 5081476"/>
              <a:gd name="connsiteX5" fmla="*/ 4817532 w 4851030"/>
              <a:gd name="connsiteY5" fmla="*/ 4838667 h 5081476"/>
              <a:gd name="connsiteX6" fmla="*/ 4471241 w 4851030"/>
              <a:gd name="connsiteY6" fmla="*/ 5008818 h 5081476"/>
              <a:gd name="connsiteX7" fmla="*/ 4114767 w 4851030"/>
              <a:gd name="connsiteY7" fmla="*/ 5019457 h 5081476"/>
              <a:gd name="connsiteX8" fmla="*/ 3748105 w 4851030"/>
              <a:gd name="connsiteY8" fmla="*/ 5072624 h 5081476"/>
              <a:gd name="connsiteX9" fmla="*/ 998137 w 4851030"/>
              <a:gd name="connsiteY9" fmla="*/ 5030086 h 5081476"/>
              <a:gd name="connsiteX10" fmla="*/ 488884 w 4851030"/>
              <a:gd name="connsiteY10" fmla="*/ 4976920 h 5081476"/>
              <a:gd name="connsiteX11" fmla="*/ 81481 w 4851030"/>
              <a:gd name="connsiteY11" fmla="*/ 4742962 h 5081476"/>
              <a:gd name="connsiteX12" fmla="*/ 40741 w 4851030"/>
              <a:gd name="connsiteY12" fmla="*/ 3679517 h 5081476"/>
              <a:gd name="connsiteX13" fmla="*/ 20371 w 4851030"/>
              <a:gd name="connsiteY13" fmla="*/ 2084351 h 5081476"/>
              <a:gd name="connsiteX14" fmla="*/ 0 w 4851030"/>
              <a:gd name="connsiteY14" fmla="*/ 1552629 h 5081476"/>
              <a:gd name="connsiteX15" fmla="*/ 20371 w 4851030"/>
              <a:gd name="connsiteY15" fmla="*/ 723142 h 5081476"/>
              <a:gd name="connsiteX16" fmla="*/ 30551 w 4851030"/>
              <a:gd name="connsiteY16" fmla="*/ 457275 h 5081476"/>
              <a:gd name="connsiteX17" fmla="*/ 71291 w 4851030"/>
              <a:gd name="connsiteY17" fmla="*/ 74435 h 5081476"/>
              <a:gd name="connsiteX18" fmla="*/ 2261085 w 4851030"/>
              <a:gd name="connsiteY18" fmla="*/ 42537 h 5081476"/>
              <a:gd name="connsiteX19" fmla="*/ 3554584 w 4851030"/>
              <a:gd name="connsiteY19" fmla="*/ 31898 h 5081476"/>
              <a:gd name="connsiteX20" fmla="*/ 4603651 w 4851030"/>
              <a:gd name="connsiteY20" fmla="*/ 0 h 5081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851030" h="5081476">
                <a:moveTo>
                  <a:pt x="4603651" y="0"/>
                </a:moveTo>
                <a:cubicBezTo>
                  <a:pt x="4868463" y="0"/>
                  <a:pt x="4827723" y="340302"/>
                  <a:pt x="4827723" y="669963"/>
                </a:cubicBezTo>
                <a:cubicBezTo>
                  <a:pt x="4817532" y="1148520"/>
                  <a:pt x="4858273" y="1616435"/>
                  <a:pt x="4837903" y="2094980"/>
                </a:cubicBezTo>
                <a:cubicBezTo>
                  <a:pt x="4827723" y="2445922"/>
                  <a:pt x="4858273" y="2818122"/>
                  <a:pt x="4848093" y="3169064"/>
                </a:cubicBezTo>
                <a:cubicBezTo>
                  <a:pt x="4837903" y="3413650"/>
                  <a:pt x="4858273" y="3668878"/>
                  <a:pt x="4848093" y="3913475"/>
                </a:cubicBezTo>
                <a:cubicBezTo>
                  <a:pt x="4837903" y="4158061"/>
                  <a:pt x="4858273" y="4519633"/>
                  <a:pt x="4817532" y="4838667"/>
                </a:cubicBezTo>
                <a:cubicBezTo>
                  <a:pt x="4797162" y="4966279"/>
                  <a:pt x="4613831" y="4987548"/>
                  <a:pt x="4471241" y="5008818"/>
                </a:cubicBezTo>
                <a:cubicBezTo>
                  <a:pt x="4389759" y="5019457"/>
                  <a:pt x="4236989" y="4998188"/>
                  <a:pt x="4114767" y="5019457"/>
                </a:cubicBezTo>
                <a:cubicBezTo>
                  <a:pt x="4023097" y="5040726"/>
                  <a:pt x="3849956" y="5072624"/>
                  <a:pt x="3748105" y="5072624"/>
                </a:cubicBezTo>
                <a:cubicBezTo>
                  <a:pt x="2709228" y="5104533"/>
                  <a:pt x="2199975" y="5040726"/>
                  <a:pt x="998137" y="5030086"/>
                </a:cubicBezTo>
                <a:cubicBezTo>
                  <a:pt x="886096" y="5030086"/>
                  <a:pt x="733325" y="5030086"/>
                  <a:pt x="488884" y="4976920"/>
                </a:cubicBezTo>
                <a:cubicBezTo>
                  <a:pt x="264812" y="4934382"/>
                  <a:pt x="152771" y="4976920"/>
                  <a:pt x="81481" y="4742962"/>
                </a:cubicBezTo>
                <a:cubicBezTo>
                  <a:pt x="20371" y="4551542"/>
                  <a:pt x="50920" y="3924104"/>
                  <a:pt x="40741" y="3679517"/>
                </a:cubicBezTo>
                <a:cubicBezTo>
                  <a:pt x="20371" y="3126526"/>
                  <a:pt x="20371" y="2743686"/>
                  <a:pt x="20371" y="2084351"/>
                </a:cubicBezTo>
                <a:lnTo>
                  <a:pt x="0" y="1552629"/>
                </a:lnTo>
                <a:cubicBezTo>
                  <a:pt x="50920" y="1254863"/>
                  <a:pt x="-30560" y="1031534"/>
                  <a:pt x="20371" y="723142"/>
                </a:cubicBezTo>
                <a:cubicBezTo>
                  <a:pt x="30551" y="616798"/>
                  <a:pt x="30551" y="627426"/>
                  <a:pt x="30551" y="457275"/>
                </a:cubicBezTo>
                <a:cubicBezTo>
                  <a:pt x="30551" y="393469"/>
                  <a:pt x="-31630" y="221930"/>
                  <a:pt x="71291" y="74435"/>
                </a:cubicBezTo>
                <a:cubicBezTo>
                  <a:pt x="358675" y="-52826"/>
                  <a:pt x="1476830" y="42537"/>
                  <a:pt x="2261085" y="42537"/>
                </a:cubicBezTo>
                <a:cubicBezTo>
                  <a:pt x="2658297" y="42537"/>
                  <a:pt x="3167551" y="21269"/>
                  <a:pt x="3554584" y="31898"/>
                </a:cubicBezTo>
                <a:cubicBezTo>
                  <a:pt x="3676805" y="42537"/>
                  <a:pt x="4481430" y="0"/>
                  <a:pt x="4603651" y="0"/>
                </a:cubicBezTo>
                <a:close/>
              </a:path>
            </a:pathLst>
          </a:custGeom>
          <a:solidFill>
            <a:srgbClr val="D9D9D9"/>
          </a:solidFill>
        </p:spPr>
        <p:txBody>
          <a:bodyPr wrap="square" tIns="155448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half slide image is 640 x 720 pixels)</a:t>
            </a:r>
          </a:p>
        </p:txBody>
      </p:sp>
    </p:spTree>
    <p:extLst>
      <p:ext uri="{BB962C8B-B14F-4D97-AF65-F5344CB8AC3E}">
        <p14:creationId xmlns:p14="http://schemas.microsoft.com/office/powerpoint/2010/main" val="270871163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icture with Circ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66CA63B-C1B1-43E5-8904-2600EAA42658}"/>
              </a:ext>
            </a:extLst>
          </p:cNvPr>
          <p:cNvSpPr/>
          <p:nvPr/>
        </p:nvSpPr>
        <p:spPr bwMode="ltGray">
          <a:xfrm>
            <a:off x="10451952" y="5963196"/>
            <a:ext cx="1606316" cy="894804"/>
          </a:xfrm>
          <a:custGeom>
            <a:avLst/>
            <a:gdLst>
              <a:gd name="connsiteX0" fmla="*/ 838774 w 1585477"/>
              <a:gd name="connsiteY0" fmla="*/ 14 h 883197"/>
              <a:gd name="connsiteX1" fmla="*/ 996107 w 1585477"/>
              <a:gd name="connsiteY1" fmla="*/ 18377 h 883197"/>
              <a:gd name="connsiteX2" fmla="*/ 1585477 w 1585477"/>
              <a:gd name="connsiteY2" fmla="*/ 746145 h 883197"/>
              <a:gd name="connsiteX3" fmla="*/ 1585202 w 1585477"/>
              <a:gd name="connsiteY3" fmla="*/ 883197 h 883197"/>
              <a:gd name="connsiteX4" fmla="*/ 695 w 1585477"/>
              <a:gd name="connsiteY4" fmla="*/ 883197 h 883197"/>
              <a:gd name="connsiteX5" fmla="*/ 294 w 1585477"/>
              <a:gd name="connsiteY5" fmla="*/ 879328 h 883197"/>
              <a:gd name="connsiteX6" fmla="*/ 20167 w 1585477"/>
              <a:gd name="connsiteY6" fmla="*/ 648487 h 883197"/>
              <a:gd name="connsiteX7" fmla="*/ 838774 w 1585477"/>
              <a:gd name="connsiteY7" fmla="*/ 14 h 883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85477" h="883197">
                <a:moveTo>
                  <a:pt x="838774" y="14"/>
                </a:moveTo>
                <a:cubicBezTo>
                  <a:pt x="891699" y="335"/>
                  <a:pt x="944452" y="6288"/>
                  <a:pt x="996107" y="18377"/>
                </a:cubicBezTo>
                <a:cubicBezTo>
                  <a:pt x="1344865" y="100437"/>
                  <a:pt x="1558993" y="409128"/>
                  <a:pt x="1585477" y="746145"/>
                </a:cubicBezTo>
                <a:lnTo>
                  <a:pt x="1585202" y="883197"/>
                </a:lnTo>
                <a:lnTo>
                  <a:pt x="695" y="883197"/>
                </a:lnTo>
                <a:lnTo>
                  <a:pt x="294" y="879328"/>
                </a:lnTo>
                <a:cubicBezTo>
                  <a:pt x="-1813" y="797038"/>
                  <a:pt x="7712" y="718092"/>
                  <a:pt x="20167" y="648487"/>
                </a:cubicBezTo>
                <a:cubicBezTo>
                  <a:pt x="89408" y="271519"/>
                  <a:pt x="468297" y="-2229"/>
                  <a:pt x="838774" y="14"/>
                </a:cubicBezTo>
                <a:close/>
              </a:path>
            </a:pathLst>
          </a:custGeom>
          <a:solidFill>
            <a:srgbClr val="4F2170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56" name="Picture Placeholder 55">
            <a:extLst>
              <a:ext uri="{FF2B5EF4-FFF2-40B4-BE49-F238E27FC236}">
                <a16:creationId xmlns:a16="http://schemas.microsoft.com/office/drawing/2014/main" id="{A5EAFFDE-7D79-4F83-9864-FE3F4E8DFC8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2 h 6858000"/>
              <a:gd name="connsiteX3" fmla="*/ 7663103 w 12192000"/>
              <a:gd name="connsiteY3" fmla="*/ 2 h 6858000"/>
              <a:gd name="connsiteX4" fmla="*/ 7480204 w 12192000"/>
              <a:gd name="connsiteY4" fmla="*/ 153025 h 6858000"/>
              <a:gd name="connsiteX5" fmla="*/ 6428049 w 12192000"/>
              <a:gd name="connsiteY5" fmla="*/ 1989352 h 6858000"/>
              <a:gd name="connsiteX6" fmla="*/ 8885900 w 12192000"/>
              <a:gd name="connsiteY6" fmla="*/ 5978297 h 6858000"/>
              <a:gd name="connsiteX7" fmla="*/ 12154972 w 12192000"/>
              <a:gd name="connsiteY7" fmla="*/ 5329397 h 6858000"/>
              <a:gd name="connsiteX8" fmla="*/ 12192000 w 12192000"/>
              <a:gd name="connsiteY8" fmla="*/ 5302368 h 6858000"/>
              <a:gd name="connsiteX9" fmla="*/ 12192000 w 12192000"/>
              <a:gd name="connsiteY9" fmla="*/ 6858000 h 6858000"/>
              <a:gd name="connsiteX10" fmla="*/ 12047573 w 12192000"/>
              <a:gd name="connsiteY10" fmla="*/ 6858000 h 6858000"/>
              <a:gd name="connsiteX11" fmla="*/ 12047848 w 12192000"/>
              <a:gd name="connsiteY11" fmla="*/ 6720949 h 6858000"/>
              <a:gd name="connsiteX12" fmla="*/ 11458478 w 12192000"/>
              <a:gd name="connsiteY12" fmla="*/ 5993181 h 6858000"/>
              <a:gd name="connsiteX13" fmla="*/ 11301145 w 12192000"/>
              <a:gd name="connsiteY13" fmla="*/ 5974818 h 6858000"/>
              <a:gd name="connsiteX14" fmla="*/ 10482538 w 12192000"/>
              <a:gd name="connsiteY14" fmla="*/ 6623291 h 6858000"/>
              <a:gd name="connsiteX15" fmla="*/ 10462665 w 12192000"/>
              <a:gd name="connsiteY15" fmla="*/ 6854132 h 6858000"/>
              <a:gd name="connsiteX16" fmla="*/ 10463066 w 12192000"/>
              <a:gd name="connsiteY16" fmla="*/ 6858000 h 6858000"/>
              <a:gd name="connsiteX17" fmla="*/ 0 w 12192000"/>
              <a:gd name="connsiteY1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2"/>
                </a:lnTo>
                <a:lnTo>
                  <a:pt x="7663103" y="2"/>
                </a:lnTo>
                <a:lnTo>
                  <a:pt x="7480204" y="153025"/>
                </a:lnTo>
                <a:cubicBezTo>
                  <a:pt x="6949276" y="640885"/>
                  <a:pt x="6561130" y="1273092"/>
                  <a:pt x="6428049" y="1989352"/>
                </a:cubicBezTo>
                <a:cubicBezTo>
                  <a:pt x="6204615" y="3223711"/>
                  <a:pt x="6191465" y="5120738"/>
                  <a:pt x="8885900" y="5978297"/>
                </a:cubicBezTo>
                <a:cubicBezTo>
                  <a:pt x="9477360" y="6165081"/>
                  <a:pt x="11023781" y="6103162"/>
                  <a:pt x="12154972" y="5329397"/>
                </a:cubicBezTo>
                <a:lnTo>
                  <a:pt x="12192000" y="5302368"/>
                </a:lnTo>
                <a:lnTo>
                  <a:pt x="12192000" y="6858000"/>
                </a:lnTo>
                <a:lnTo>
                  <a:pt x="12047573" y="6858000"/>
                </a:lnTo>
                <a:lnTo>
                  <a:pt x="12047848" y="6720949"/>
                </a:lnTo>
                <a:cubicBezTo>
                  <a:pt x="12021364" y="6383932"/>
                  <a:pt x="11807236" y="6075241"/>
                  <a:pt x="11458478" y="5993181"/>
                </a:cubicBezTo>
                <a:cubicBezTo>
                  <a:pt x="11406823" y="5981092"/>
                  <a:pt x="11354070" y="5975139"/>
                  <a:pt x="11301145" y="5974818"/>
                </a:cubicBezTo>
                <a:cubicBezTo>
                  <a:pt x="10930668" y="5972575"/>
                  <a:pt x="10551779" y="6246323"/>
                  <a:pt x="10482538" y="6623291"/>
                </a:cubicBezTo>
                <a:cubicBezTo>
                  <a:pt x="10470083" y="6692896"/>
                  <a:pt x="10460558" y="6771842"/>
                  <a:pt x="10462665" y="6854132"/>
                </a:cubicBezTo>
                <a:lnTo>
                  <a:pt x="10463066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rIns="347472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full slide image is 1280 x 7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54D87F-D170-4CA6-B8DB-A068AAB2EE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84556" y="909045"/>
            <a:ext cx="4626444" cy="84182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BB3B4C9-10AF-4C1C-BD4C-19B5526DA837}"/>
              </a:ext>
            </a:extLst>
          </p:cNvPr>
          <p:cNvGrpSpPr>
            <a:grpSpLocks noChangeAspect="1"/>
          </p:cNvGrpSpPr>
          <p:nvPr/>
        </p:nvGrpSpPr>
        <p:grpSpPr>
          <a:xfrm>
            <a:off x="10676779" y="6205751"/>
            <a:ext cx="1143000" cy="440144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AA55965-C91C-46A8-84D3-9426B2920951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FA7C3306-5AFD-4197-B039-52B9B3D0AC6E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C31767F-4ADA-45F2-B354-AEF2579A6A70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B6DA548-0CD9-4078-B433-D61F10371744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D688978-BCBB-42C3-8877-14A7C1EF64F9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3EAD6C8-DC12-4BCC-8993-9CD4B9FF1B4B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0A3D4A8-5179-4579-86DA-E3BE1D9939BC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DB9A871-4A68-495F-A3EF-392427AED281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001B3D6-C1BC-4979-BF9B-2956B2C7EC99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6367185-B7D6-4C5F-BFDB-408FCE04E3F2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7770C8A-5B84-4503-8D5D-B710B131CCB1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7E3A062-DDC7-49B6-A3D5-B32A3A38D180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B52140B-5C19-4D8B-93F0-72CFECE86CC0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9A100D8-96DD-4438-B034-852ACD48360A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435034-3BFA-4E05-A947-D42274FB4ACD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F94EEDF-4DA9-4C49-8D81-4FEAA7A00790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47FAE4D-6929-4A6E-B735-59F6ED016FDD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61A7D8E-A6BF-40D7-95EB-1191999BD2EC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1409C27-3D54-4E7E-B608-F8D1F36BC68E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D063CBE-F520-471D-99C8-586943DE0D8C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DC003CD-8A26-432E-9060-84F8E0B2AA1B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8EA46793-C37F-42AD-B0A2-1B9D19975188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00046F6B-E5D4-4598-93CE-3280F6A1E048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D9E3FEEA-893B-4BCB-878A-93F25BBD9C29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C294731-92AD-4771-A321-6B09FBA089E6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E06B157-DBF4-4A2A-A41B-A23CBB507D06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06E6070-9EF3-4ED3-9C75-E6CAC8EA9E4A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417FE90C-6359-4A38-A932-B9E34A36EB87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0195EC85-116E-4D1D-AAC5-E1EE778E9F14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1199EB2-8CF7-412C-88D7-2C906A9B506E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A54ECDD-525B-4F0D-A32C-CAD98CC4E1E2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99AA5A5-B810-47BF-9870-E078E580E225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176AE20-94DB-48D9-93A0-3EB3C1F5FB2E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5CAD56A-462D-4366-9EFB-54581CD299AF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277C2FCB-7D05-4824-AE10-F453FE482C72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6019EDE9-B07A-4FD5-87B9-487B5E3194EF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E57DE58C-884C-473D-88BB-56EE3548B302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4E622CD9-12E7-481D-9568-392632F69D07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2CB86C1E-34D9-4E0F-88EC-65476446F32C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D932AD99-53C0-46CD-960C-6F1735F80A7B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6C6EC568-17DB-458F-9492-F1CC33DF1A00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045AFC19-C641-4E38-8827-516270B72E11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0" name="Content Placeholder 59">
            <a:extLst>
              <a:ext uri="{FF2B5EF4-FFF2-40B4-BE49-F238E27FC236}">
                <a16:creationId xmlns:a16="http://schemas.microsoft.com/office/drawing/2014/main" id="{8EFE1F84-4849-448C-8C35-33EC553AD83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185025" y="1981200"/>
            <a:ext cx="4625975" cy="29083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354361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icture with Squa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66CA63B-C1B1-43E5-8904-2600EAA42658}"/>
              </a:ext>
            </a:extLst>
          </p:cNvPr>
          <p:cNvSpPr/>
          <p:nvPr/>
        </p:nvSpPr>
        <p:spPr bwMode="ltGray">
          <a:xfrm>
            <a:off x="10442039" y="5952152"/>
            <a:ext cx="1626142" cy="905848"/>
          </a:xfrm>
          <a:custGeom>
            <a:avLst/>
            <a:gdLst>
              <a:gd name="connsiteX0" fmla="*/ 838774 w 1585477"/>
              <a:gd name="connsiteY0" fmla="*/ 14 h 883197"/>
              <a:gd name="connsiteX1" fmla="*/ 996107 w 1585477"/>
              <a:gd name="connsiteY1" fmla="*/ 18377 h 883197"/>
              <a:gd name="connsiteX2" fmla="*/ 1585477 w 1585477"/>
              <a:gd name="connsiteY2" fmla="*/ 746145 h 883197"/>
              <a:gd name="connsiteX3" fmla="*/ 1585202 w 1585477"/>
              <a:gd name="connsiteY3" fmla="*/ 883197 h 883197"/>
              <a:gd name="connsiteX4" fmla="*/ 695 w 1585477"/>
              <a:gd name="connsiteY4" fmla="*/ 883197 h 883197"/>
              <a:gd name="connsiteX5" fmla="*/ 294 w 1585477"/>
              <a:gd name="connsiteY5" fmla="*/ 879328 h 883197"/>
              <a:gd name="connsiteX6" fmla="*/ 20167 w 1585477"/>
              <a:gd name="connsiteY6" fmla="*/ 648487 h 883197"/>
              <a:gd name="connsiteX7" fmla="*/ 838774 w 1585477"/>
              <a:gd name="connsiteY7" fmla="*/ 14 h 883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85477" h="883197">
                <a:moveTo>
                  <a:pt x="838774" y="14"/>
                </a:moveTo>
                <a:cubicBezTo>
                  <a:pt x="891699" y="335"/>
                  <a:pt x="944452" y="6288"/>
                  <a:pt x="996107" y="18377"/>
                </a:cubicBezTo>
                <a:cubicBezTo>
                  <a:pt x="1344865" y="100437"/>
                  <a:pt x="1558993" y="409128"/>
                  <a:pt x="1585477" y="746145"/>
                </a:cubicBezTo>
                <a:lnTo>
                  <a:pt x="1585202" y="883197"/>
                </a:lnTo>
                <a:lnTo>
                  <a:pt x="695" y="883197"/>
                </a:lnTo>
                <a:lnTo>
                  <a:pt x="294" y="879328"/>
                </a:lnTo>
                <a:cubicBezTo>
                  <a:pt x="-1813" y="797038"/>
                  <a:pt x="7712" y="718092"/>
                  <a:pt x="20167" y="648487"/>
                </a:cubicBezTo>
                <a:cubicBezTo>
                  <a:pt x="89408" y="271519"/>
                  <a:pt x="468297" y="-2229"/>
                  <a:pt x="838774" y="14"/>
                </a:cubicBezTo>
                <a:close/>
              </a:path>
            </a:pathLst>
          </a:custGeom>
          <a:solidFill>
            <a:srgbClr val="4F2170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57" name="Picture Placeholder 56">
            <a:extLst>
              <a:ext uri="{FF2B5EF4-FFF2-40B4-BE49-F238E27FC236}">
                <a16:creationId xmlns:a16="http://schemas.microsoft.com/office/drawing/2014/main" id="{1992DD06-529E-413D-A391-D73017C8142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568889 w 12192000"/>
              <a:gd name="connsiteY0" fmla="*/ 372706 h 6858000"/>
              <a:gd name="connsiteX1" fmla="*/ 10371380 w 12192000"/>
              <a:gd name="connsiteY1" fmla="*/ 401205 h 6858000"/>
              <a:gd name="connsiteX2" fmla="*/ 8894854 w 12192000"/>
              <a:gd name="connsiteY2" fmla="*/ 410711 h 6858000"/>
              <a:gd name="connsiteX3" fmla="*/ 6395207 w 12192000"/>
              <a:gd name="connsiteY3" fmla="*/ 439209 h 6858000"/>
              <a:gd name="connsiteX4" fmla="*/ 6348702 w 12192000"/>
              <a:gd name="connsiteY4" fmla="*/ 781250 h 6858000"/>
              <a:gd name="connsiteX5" fmla="*/ 6337082 w 12192000"/>
              <a:gd name="connsiteY5" fmla="*/ 1018784 h 6858000"/>
              <a:gd name="connsiteX6" fmla="*/ 6313829 w 12192000"/>
              <a:gd name="connsiteY6" fmla="*/ 1759872 h 6858000"/>
              <a:gd name="connsiteX7" fmla="*/ 6337082 w 12192000"/>
              <a:gd name="connsiteY7" fmla="*/ 2234929 h 6858000"/>
              <a:gd name="connsiteX8" fmla="*/ 6360334 w 12192000"/>
              <a:gd name="connsiteY8" fmla="*/ 3660100 h 6858000"/>
              <a:gd name="connsiteX9" fmla="*/ 6406839 w 12192000"/>
              <a:gd name="connsiteY9" fmla="*/ 4610214 h 6858000"/>
              <a:gd name="connsiteX10" fmla="*/ 6871889 w 12192000"/>
              <a:gd name="connsiteY10" fmla="*/ 4819239 h 6858000"/>
              <a:gd name="connsiteX11" fmla="*/ 7453200 w 12192000"/>
              <a:gd name="connsiteY11" fmla="*/ 4866740 h 6858000"/>
              <a:gd name="connsiteX12" fmla="*/ 10592284 w 12192000"/>
              <a:gd name="connsiteY12" fmla="*/ 4904744 h 6858000"/>
              <a:gd name="connsiteX13" fmla="*/ 11010830 w 12192000"/>
              <a:gd name="connsiteY13" fmla="*/ 4857244 h 6858000"/>
              <a:gd name="connsiteX14" fmla="*/ 11417742 w 12192000"/>
              <a:gd name="connsiteY14" fmla="*/ 4847738 h 6858000"/>
              <a:gd name="connsiteX15" fmla="*/ 11813034 w 12192000"/>
              <a:gd name="connsiteY15" fmla="*/ 4695719 h 6858000"/>
              <a:gd name="connsiteX16" fmla="*/ 11847918 w 12192000"/>
              <a:gd name="connsiteY16" fmla="*/ 3869125 h 6858000"/>
              <a:gd name="connsiteX17" fmla="*/ 11847918 w 12192000"/>
              <a:gd name="connsiteY17" fmla="*/ 3204046 h 6858000"/>
              <a:gd name="connsiteX18" fmla="*/ 11836286 w 12192000"/>
              <a:gd name="connsiteY18" fmla="*/ 2244426 h 6858000"/>
              <a:gd name="connsiteX19" fmla="*/ 11824666 w 12192000"/>
              <a:gd name="connsiteY19" fmla="*/ 971273 h 6858000"/>
              <a:gd name="connsiteX20" fmla="*/ 11568889 w 12192000"/>
              <a:gd name="connsiteY20" fmla="*/ 372706 h 6858000"/>
              <a:gd name="connsiteX21" fmla="*/ 0 w 12192000"/>
              <a:gd name="connsiteY21" fmla="*/ 0 h 6858000"/>
              <a:gd name="connsiteX22" fmla="*/ 12192000 w 12192000"/>
              <a:gd name="connsiteY22" fmla="*/ 0 h 6858000"/>
              <a:gd name="connsiteX23" fmla="*/ 12192000 w 12192000"/>
              <a:gd name="connsiteY23" fmla="*/ 6858000 h 6858000"/>
              <a:gd name="connsiteX24" fmla="*/ 12047573 w 12192000"/>
              <a:gd name="connsiteY24" fmla="*/ 6858000 h 6858000"/>
              <a:gd name="connsiteX25" fmla="*/ 12047848 w 12192000"/>
              <a:gd name="connsiteY25" fmla="*/ 6720949 h 6858000"/>
              <a:gd name="connsiteX26" fmla="*/ 11458478 w 12192000"/>
              <a:gd name="connsiteY26" fmla="*/ 5993181 h 6858000"/>
              <a:gd name="connsiteX27" fmla="*/ 11301145 w 12192000"/>
              <a:gd name="connsiteY27" fmla="*/ 5974818 h 6858000"/>
              <a:gd name="connsiteX28" fmla="*/ 10482538 w 12192000"/>
              <a:gd name="connsiteY28" fmla="*/ 6623291 h 6858000"/>
              <a:gd name="connsiteX29" fmla="*/ 10462665 w 12192000"/>
              <a:gd name="connsiteY29" fmla="*/ 6854132 h 6858000"/>
              <a:gd name="connsiteX30" fmla="*/ 10463066 w 12192000"/>
              <a:gd name="connsiteY30" fmla="*/ 6858000 h 6858000"/>
              <a:gd name="connsiteX31" fmla="*/ 0 w 12192000"/>
              <a:gd name="connsiteY3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2192000" h="6858000">
                <a:moveTo>
                  <a:pt x="11568889" y="372706"/>
                </a:moveTo>
                <a:cubicBezTo>
                  <a:pt x="11429374" y="372706"/>
                  <a:pt x="10510895" y="410711"/>
                  <a:pt x="10371380" y="401205"/>
                </a:cubicBezTo>
                <a:cubicBezTo>
                  <a:pt x="9929583" y="391708"/>
                  <a:pt x="9348271" y="410711"/>
                  <a:pt x="8894854" y="410711"/>
                </a:cubicBezTo>
                <a:cubicBezTo>
                  <a:pt x="7999628" y="410711"/>
                  <a:pt x="7150918" y="353704"/>
                  <a:pt x="6395207" y="439209"/>
                </a:cubicBezTo>
                <a:cubicBezTo>
                  <a:pt x="6371954" y="458211"/>
                  <a:pt x="6348702" y="724243"/>
                  <a:pt x="6348702" y="781250"/>
                </a:cubicBezTo>
                <a:cubicBezTo>
                  <a:pt x="6348702" y="933268"/>
                  <a:pt x="6348702" y="923772"/>
                  <a:pt x="6337082" y="1018784"/>
                </a:cubicBezTo>
                <a:cubicBezTo>
                  <a:pt x="6278944" y="1294312"/>
                  <a:pt x="6371954" y="1493841"/>
                  <a:pt x="6313829" y="1759872"/>
                </a:cubicBezTo>
                <a:lnTo>
                  <a:pt x="6337082" y="2234929"/>
                </a:lnTo>
                <a:cubicBezTo>
                  <a:pt x="6337082" y="2824000"/>
                  <a:pt x="6337082" y="3166041"/>
                  <a:pt x="6360334" y="3660100"/>
                </a:cubicBezTo>
                <a:cubicBezTo>
                  <a:pt x="6371954" y="3878621"/>
                  <a:pt x="6337082" y="4439194"/>
                  <a:pt x="6406839" y="4610214"/>
                </a:cubicBezTo>
                <a:cubicBezTo>
                  <a:pt x="6488217" y="4819239"/>
                  <a:pt x="6616111" y="4781235"/>
                  <a:pt x="6871889" y="4819239"/>
                </a:cubicBezTo>
                <a:cubicBezTo>
                  <a:pt x="7150918" y="4866740"/>
                  <a:pt x="7325306" y="4866740"/>
                  <a:pt x="7453200" y="4866740"/>
                </a:cubicBezTo>
                <a:cubicBezTo>
                  <a:pt x="8825096" y="4876246"/>
                  <a:pt x="9406408" y="4933253"/>
                  <a:pt x="10592284" y="4904744"/>
                </a:cubicBezTo>
                <a:cubicBezTo>
                  <a:pt x="10708547" y="4904744"/>
                  <a:pt x="10906187" y="4876246"/>
                  <a:pt x="11010830" y="4857244"/>
                </a:cubicBezTo>
                <a:cubicBezTo>
                  <a:pt x="11150344" y="4838242"/>
                  <a:pt x="11324732" y="4857244"/>
                  <a:pt x="11417742" y="4847738"/>
                </a:cubicBezTo>
                <a:cubicBezTo>
                  <a:pt x="11580509" y="4828735"/>
                  <a:pt x="11789781" y="4809733"/>
                  <a:pt x="11813034" y="4695719"/>
                </a:cubicBezTo>
                <a:cubicBezTo>
                  <a:pt x="11859538" y="4410685"/>
                  <a:pt x="11836286" y="4087646"/>
                  <a:pt x="11847918" y="3869125"/>
                </a:cubicBezTo>
                <a:cubicBezTo>
                  <a:pt x="11859538" y="3650594"/>
                  <a:pt x="11836286" y="3422567"/>
                  <a:pt x="11847918" y="3204046"/>
                </a:cubicBezTo>
                <a:cubicBezTo>
                  <a:pt x="11859538" y="2890503"/>
                  <a:pt x="11824666" y="2557968"/>
                  <a:pt x="11836286" y="2244426"/>
                </a:cubicBezTo>
                <a:cubicBezTo>
                  <a:pt x="11859538" y="1816879"/>
                  <a:pt x="11813034" y="1398829"/>
                  <a:pt x="11824666" y="971273"/>
                </a:cubicBezTo>
                <a:cubicBezTo>
                  <a:pt x="11824666" y="676743"/>
                  <a:pt x="11871171" y="372706"/>
                  <a:pt x="11568889" y="372706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047573" y="6858000"/>
                </a:lnTo>
                <a:lnTo>
                  <a:pt x="12047848" y="6720949"/>
                </a:lnTo>
                <a:cubicBezTo>
                  <a:pt x="12021364" y="6383932"/>
                  <a:pt x="11807236" y="6075241"/>
                  <a:pt x="11458478" y="5993181"/>
                </a:cubicBezTo>
                <a:cubicBezTo>
                  <a:pt x="11406823" y="5981092"/>
                  <a:pt x="11354070" y="5975139"/>
                  <a:pt x="11301145" y="5974818"/>
                </a:cubicBezTo>
                <a:cubicBezTo>
                  <a:pt x="10930668" y="5972575"/>
                  <a:pt x="10551779" y="6246323"/>
                  <a:pt x="10482538" y="6623291"/>
                </a:cubicBezTo>
                <a:cubicBezTo>
                  <a:pt x="10470083" y="6692896"/>
                  <a:pt x="10460558" y="6771842"/>
                  <a:pt x="10462665" y="6854132"/>
                </a:cubicBezTo>
                <a:lnTo>
                  <a:pt x="10463066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rIns="347472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full slide image is 1280 x 720 pixels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54D87F-D170-4CA6-B8DB-A068AAB2EE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8914" y="656717"/>
            <a:ext cx="5065253" cy="9398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BB3B4C9-10AF-4C1C-BD4C-19B5526DA837}"/>
              </a:ext>
            </a:extLst>
          </p:cNvPr>
          <p:cNvGrpSpPr>
            <a:grpSpLocks noChangeAspect="1"/>
          </p:cNvGrpSpPr>
          <p:nvPr/>
        </p:nvGrpSpPr>
        <p:grpSpPr>
          <a:xfrm>
            <a:off x="10676779" y="6205751"/>
            <a:ext cx="1143000" cy="440144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AA55965-C91C-46A8-84D3-9426B2920951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FA7C3306-5AFD-4197-B039-52B9B3D0AC6E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C31767F-4ADA-45F2-B354-AEF2579A6A70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B6DA548-0CD9-4078-B433-D61F10371744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D688978-BCBB-42C3-8877-14A7C1EF64F9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3EAD6C8-DC12-4BCC-8993-9CD4B9FF1B4B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0A3D4A8-5179-4579-86DA-E3BE1D9939BC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DB9A871-4A68-495F-A3EF-392427AED281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001B3D6-C1BC-4979-BF9B-2956B2C7EC99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6367185-B7D6-4C5F-BFDB-408FCE04E3F2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7770C8A-5B84-4503-8D5D-B710B131CCB1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7E3A062-DDC7-49B6-A3D5-B32A3A38D180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B52140B-5C19-4D8B-93F0-72CFECE86CC0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9A100D8-96DD-4438-B034-852ACD48360A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435034-3BFA-4E05-A947-D42274FB4ACD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F94EEDF-4DA9-4C49-8D81-4FEAA7A00790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47FAE4D-6929-4A6E-B735-59F6ED016FDD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61A7D8E-A6BF-40D7-95EB-1191999BD2EC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1409C27-3D54-4E7E-B608-F8D1F36BC68E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D063CBE-F520-471D-99C8-586943DE0D8C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DC003CD-8A26-432E-9060-84F8E0B2AA1B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8EA46793-C37F-42AD-B0A2-1B9D19975188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00046F6B-E5D4-4598-93CE-3280F6A1E048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D9E3FEEA-893B-4BCB-878A-93F25BBD9C29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C294731-92AD-4771-A321-6B09FBA089E6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E06B157-DBF4-4A2A-A41B-A23CBB507D06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06E6070-9EF3-4ED3-9C75-E6CAC8EA9E4A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417FE90C-6359-4A38-A932-B9E34A36EB87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0195EC85-116E-4D1D-AAC5-E1EE778E9F14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1199EB2-8CF7-412C-88D7-2C906A9B506E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A54ECDD-525B-4F0D-A32C-CAD98CC4E1E2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99AA5A5-B810-47BF-9870-E078E580E225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176AE20-94DB-48D9-93A0-3EB3C1F5FB2E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5CAD56A-462D-4366-9EFB-54581CD299AF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277C2FCB-7D05-4824-AE10-F453FE482C72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6019EDE9-B07A-4FD5-87B9-487B5E3194EF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E57DE58C-884C-473D-88BB-56EE3548B302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4E622CD9-12E7-481D-9568-392632F69D07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2CB86C1E-34D9-4E0F-88EC-65476446F32C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D932AD99-53C0-46CD-960C-6F1735F80A7B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6C6EC568-17DB-458F-9492-F1CC33DF1A00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045AFC19-C641-4E38-8827-516270B72E11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0" name="Content Placeholder 59">
            <a:extLst>
              <a:ext uri="{FF2B5EF4-FFF2-40B4-BE49-F238E27FC236}">
                <a16:creationId xmlns:a16="http://schemas.microsoft.com/office/drawing/2014/main" id="{8EFE1F84-4849-448C-8C35-33EC553AD83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538914" y="1860550"/>
            <a:ext cx="5065254" cy="26860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or choose an icon below to insert othe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849973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fram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CB31FDED-D159-4F4F-8CA3-B83301DF537B}"/>
              </a:ext>
            </a:extLst>
          </p:cNvPr>
          <p:cNvSpPr/>
          <p:nvPr/>
        </p:nvSpPr>
        <p:spPr bwMode="ltGray">
          <a:xfrm>
            <a:off x="10441275" y="5951300"/>
            <a:ext cx="1627670" cy="906700"/>
          </a:xfrm>
          <a:custGeom>
            <a:avLst/>
            <a:gdLst>
              <a:gd name="connsiteX0" fmla="*/ 838774 w 1585477"/>
              <a:gd name="connsiteY0" fmla="*/ 14 h 883197"/>
              <a:gd name="connsiteX1" fmla="*/ 996107 w 1585477"/>
              <a:gd name="connsiteY1" fmla="*/ 18377 h 883197"/>
              <a:gd name="connsiteX2" fmla="*/ 1585477 w 1585477"/>
              <a:gd name="connsiteY2" fmla="*/ 746145 h 883197"/>
              <a:gd name="connsiteX3" fmla="*/ 1585202 w 1585477"/>
              <a:gd name="connsiteY3" fmla="*/ 883197 h 883197"/>
              <a:gd name="connsiteX4" fmla="*/ 695 w 1585477"/>
              <a:gd name="connsiteY4" fmla="*/ 883197 h 883197"/>
              <a:gd name="connsiteX5" fmla="*/ 294 w 1585477"/>
              <a:gd name="connsiteY5" fmla="*/ 879328 h 883197"/>
              <a:gd name="connsiteX6" fmla="*/ 20167 w 1585477"/>
              <a:gd name="connsiteY6" fmla="*/ 648487 h 883197"/>
              <a:gd name="connsiteX7" fmla="*/ 838774 w 1585477"/>
              <a:gd name="connsiteY7" fmla="*/ 14 h 883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85477" h="883197">
                <a:moveTo>
                  <a:pt x="838774" y="14"/>
                </a:moveTo>
                <a:cubicBezTo>
                  <a:pt x="891699" y="335"/>
                  <a:pt x="944452" y="6288"/>
                  <a:pt x="996107" y="18377"/>
                </a:cubicBezTo>
                <a:cubicBezTo>
                  <a:pt x="1344865" y="100437"/>
                  <a:pt x="1558993" y="409128"/>
                  <a:pt x="1585477" y="746145"/>
                </a:cubicBezTo>
                <a:lnTo>
                  <a:pt x="1585202" y="883197"/>
                </a:lnTo>
                <a:lnTo>
                  <a:pt x="695" y="883197"/>
                </a:lnTo>
                <a:lnTo>
                  <a:pt x="294" y="879328"/>
                </a:lnTo>
                <a:cubicBezTo>
                  <a:pt x="-1813" y="797038"/>
                  <a:pt x="7712" y="718092"/>
                  <a:pt x="20167" y="648487"/>
                </a:cubicBezTo>
                <a:cubicBezTo>
                  <a:pt x="89408" y="271519"/>
                  <a:pt x="468297" y="-2229"/>
                  <a:pt x="838774" y="14"/>
                </a:cubicBezTo>
                <a:close/>
              </a:path>
            </a:pathLst>
          </a:custGeom>
          <a:solidFill>
            <a:srgbClr val="4F2170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9A604104-23C8-45DB-B8E5-CC8FD54A777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047573 w 12192000"/>
              <a:gd name="connsiteY3" fmla="*/ 6858000 h 6858000"/>
              <a:gd name="connsiteX4" fmla="*/ 12047848 w 12192000"/>
              <a:gd name="connsiteY4" fmla="*/ 6720949 h 6858000"/>
              <a:gd name="connsiteX5" fmla="*/ 11458478 w 12192000"/>
              <a:gd name="connsiteY5" fmla="*/ 5993181 h 6858000"/>
              <a:gd name="connsiteX6" fmla="*/ 11301145 w 12192000"/>
              <a:gd name="connsiteY6" fmla="*/ 5974818 h 6858000"/>
              <a:gd name="connsiteX7" fmla="*/ 10482538 w 12192000"/>
              <a:gd name="connsiteY7" fmla="*/ 6623291 h 6858000"/>
              <a:gd name="connsiteX8" fmla="*/ 10462665 w 12192000"/>
              <a:gd name="connsiteY8" fmla="*/ 6854132 h 6858000"/>
              <a:gd name="connsiteX9" fmla="*/ 10463066 w 12192000"/>
              <a:gd name="connsiteY9" fmla="*/ 6858000 h 6858000"/>
              <a:gd name="connsiteX10" fmla="*/ 0 w 12192000"/>
              <a:gd name="connsiteY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047573" y="6858000"/>
                </a:lnTo>
                <a:lnTo>
                  <a:pt x="12047848" y="6720949"/>
                </a:lnTo>
                <a:cubicBezTo>
                  <a:pt x="12021364" y="6383932"/>
                  <a:pt x="11807236" y="6075241"/>
                  <a:pt x="11458478" y="5993181"/>
                </a:cubicBezTo>
                <a:cubicBezTo>
                  <a:pt x="11406823" y="5981092"/>
                  <a:pt x="11354070" y="5975139"/>
                  <a:pt x="11301145" y="5974818"/>
                </a:cubicBezTo>
                <a:cubicBezTo>
                  <a:pt x="10930668" y="5972575"/>
                  <a:pt x="10551779" y="6246323"/>
                  <a:pt x="10482538" y="6623291"/>
                </a:cubicBezTo>
                <a:cubicBezTo>
                  <a:pt x="10470083" y="6692896"/>
                  <a:pt x="10460558" y="6771842"/>
                  <a:pt x="10462665" y="6854132"/>
                </a:cubicBezTo>
                <a:lnTo>
                  <a:pt x="10463066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3657600" tIns="0" rIns="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insert picture</a:t>
            </a:r>
            <a:br>
              <a:rPr lang="en-US"/>
            </a:br>
            <a:r>
              <a:rPr lang="en-US"/>
              <a:t>(minimum recommended size for </a:t>
            </a:r>
            <a:br>
              <a:rPr lang="en-US"/>
            </a:br>
            <a:r>
              <a:rPr lang="en-US"/>
              <a:t>full slide image is 1280 x 720 pixels)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C975EE0-AD02-4365-B012-AEF1EB027E17}"/>
              </a:ext>
            </a:extLst>
          </p:cNvPr>
          <p:cNvGrpSpPr>
            <a:grpSpLocks noChangeAspect="1"/>
          </p:cNvGrpSpPr>
          <p:nvPr/>
        </p:nvGrpSpPr>
        <p:grpSpPr>
          <a:xfrm>
            <a:off x="10676779" y="6205751"/>
            <a:ext cx="1143000" cy="440144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E98E784-FC01-4610-B058-2CCB322671BA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FF2B29D-E74D-4303-BB3A-2284D731A034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FD16FEA-B5DB-4F05-ABCB-F67FBB3F290E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73DE2517-FFDB-44E3-991E-865C415B8826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56F7D03-AC74-4987-8247-B58A990351E5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DBEEF49-1973-43EE-ABD4-7E037813A7B0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DB7EADA-FB78-4FA9-9520-D83E0D8F84CD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48CB4A2-0C87-47C9-8C4B-B9BA3E2C90BC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2D2D5C1-4179-4736-BA45-C19AC8497060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8B32661-72D5-4F04-ACE1-EC30AB0CDE8C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A331478-F85F-4D3E-A6DA-5647BA14CD3D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F8068D5-9178-44A0-AAEB-6F35EED63A67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3593E3-C1E4-4BBB-8B41-202BB57C5F6D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5BB18E18-DA27-4B34-9C93-966E6D88235F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499867C-A199-4323-96E0-4E372C32987F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F5424D8-84CB-4710-93EA-67FB2CF29EAF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DDB42FA-72B7-4EC6-8731-88363F1EC79A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178809C4-0D47-4B10-9CB8-45403FAB078D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8D60CB4-24EE-4286-B104-B1E7780F25F7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AC807290-9044-47A7-90E1-CA3E462987B6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344258D2-EA42-49C8-AB37-BBF96FAEA587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CAE1932C-E9CE-473B-AC83-46E902037AB3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D230A14-0748-4725-BC9F-A79515DCCFDB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C00DD94-854F-4950-9148-B594259CA291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80C20D3-903A-4021-AA27-6ABEDC98B36B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D2B49219-FA68-4BFE-A6FB-19D2B0D4C1FF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3B3E68FC-F99A-473C-A1B9-AA803E7F6CFB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974323F7-3F56-422F-B8F9-319B4269C514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D6AB36C-2BB9-458F-9B65-F616640B5697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7CD6E50-E0F0-4933-B850-6730D4173539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2771C143-A1F3-4138-9AAE-B59B0482EED3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87BD61EB-293E-42B3-9B29-34C68BECB4A0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85E6D875-3902-4C5B-BBC1-7ADBFCB34A9E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28EECE7A-152F-483E-BC66-3DB3F1A6A039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559998B0-FBE4-4736-A71B-DC348C340448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D6B1EBFD-5AF9-4242-8571-9084369DA914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DACE59F3-2EE9-4012-9B0E-5DB4FD2A2FEB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D787845E-4C98-468A-9220-DFECC42D7793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F01B5A5D-AC20-4D4A-B5F5-61EADCE4E37B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EBB7AA59-7E0F-4BB4-B767-0A6C688AD926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208AE6F-C8BE-4B86-B1BE-7988067A1FC0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9BE78E02-CB57-4CB4-BB07-0110782AEE7D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2" name="Title 51">
            <a:extLst>
              <a:ext uri="{FF2B5EF4-FFF2-40B4-BE49-F238E27FC236}">
                <a16:creationId xmlns:a16="http://schemas.microsoft.com/office/drawing/2014/main" id="{A2A18BD8-58F2-477C-8542-F5233F2756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" y="457200"/>
            <a:ext cx="5950857" cy="1904999"/>
          </a:xfrm>
        </p:spPr>
        <p:txBody>
          <a:bodyPr/>
          <a:lstStyle>
            <a:lvl1pPr>
              <a:lnSpc>
                <a:spcPct val="82000"/>
              </a:lnSpc>
              <a:defRPr sz="6000"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7774675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e Statement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1AE889-7B80-4DAF-BFF1-2CAC896A36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8400" y="914400"/>
            <a:ext cx="7315200" cy="2174793"/>
          </a:xfrm>
        </p:spPr>
        <p:txBody>
          <a:bodyPr/>
          <a:lstStyle>
            <a:lvl1pPr algn="ctr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71F4C7A-D51B-409D-B308-C00E68C12219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4953000" y="5133162"/>
            <a:ext cx="2286000" cy="880288"/>
            <a:chOff x="2078951" y="1888610"/>
            <a:chExt cx="8030200" cy="3092248"/>
          </a:xfrm>
          <a:solidFill>
            <a:srgbClr val="FFFFFF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62DCCC1-7C34-4D1F-92D6-D0FF7F1B2A08}"/>
                </a:ext>
              </a:extLst>
            </p:cNvPr>
            <p:cNvSpPr/>
            <p:nvPr/>
          </p:nvSpPr>
          <p:spPr bwMode="black"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B13D148-83B4-497C-BE6D-DB88AFAE198E}"/>
                </a:ext>
              </a:extLst>
            </p:cNvPr>
            <p:cNvSpPr/>
            <p:nvPr/>
          </p:nvSpPr>
          <p:spPr bwMode="black"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9906698-4C68-4028-AC80-CD35DAA2E8F3}"/>
                </a:ext>
              </a:extLst>
            </p:cNvPr>
            <p:cNvSpPr/>
            <p:nvPr/>
          </p:nvSpPr>
          <p:spPr bwMode="black"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3AA08F4D-A063-49F1-9F3A-664ECBD5F559}"/>
                </a:ext>
              </a:extLst>
            </p:cNvPr>
            <p:cNvSpPr/>
            <p:nvPr/>
          </p:nvSpPr>
          <p:spPr bwMode="black"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0E708B89-C029-4E8F-90DC-F57AF9480A68}"/>
                </a:ext>
              </a:extLst>
            </p:cNvPr>
            <p:cNvSpPr/>
            <p:nvPr/>
          </p:nvSpPr>
          <p:spPr bwMode="black"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DDD9D23-0A6F-4E21-A479-DEAE1945838C}"/>
                </a:ext>
              </a:extLst>
            </p:cNvPr>
            <p:cNvSpPr/>
            <p:nvPr/>
          </p:nvSpPr>
          <p:spPr bwMode="black"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1724715-0A45-4BE3-A597-2830FDE28465}"/>
                </a:ext>
              </a:extLst>
            </p:cNvPr>
            <p:cNvSpPr/>
            <p:nvPr/>
          </p:nvSpPr>
          <p:spPr bwMode="black"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593EB291-8728-49FA-9E36-DE65910405B8}"/>
                </a:ext>
              </a:extLst>
            </p:cNvPr>
            <p:cNvSpPr/>
            <p:nvPr/>
          </p:nvSpPr>
          <p:spPr bwMode="black"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63A2B5F-9AD4-4AAF-AD5C-3745453610BF}"/>
                </a:ext>
              </a:extLst>
            </p:cNvPr>
            <p:cNvSpPr/>
            <p:nvPr/>
          </p:nvSpPr>
          <p:spPr bwMode="black"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29DE044-2228-4555-82E1-80DD994AA315}"/>
                </a:ext>
              </a:extLst>
            </p:cNvPr>
            <p:cNvSpPr/>
            <p:nvPr/>
          </p:nvSpPr>
          <p:spPr bwMode="black"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7F92585-5CB0-465E-966D-B7CD61BB094D}"/>
                </a:ext>
              </a:extLst>
            </p:cNvPr>
            <p:cNvSpPr/>
            <p:nvPr/>
          </p:nvSpPr>
          <p:spPr bwMode="black"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C2EF953C-F1A9-48A1-8B50-74DC119D4014}"/>
                </a:ext>
              </a:extLst>
            </p:cNvPr>
            <p:cNvSpPr/>
            <p:nvPr/>
          </p:nvSpPr>
          <p:spPr bwMode="black"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8FBF042-8DD5-4B32-9D19-E3D2DA0CDCC4}"/>
                </a:ext>
              </a:extLst>
            </p:cNvPr>
            <p:cNvSpPr/>
            <p:nvPr/>
          </p:nvSpPr>
          <p:spPr bwMode="black"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95AAF35-711C-45B3-8B74-63476C9F4CA3}"/>
                </a:ext>
              </a:extLst>
            </p:cNvPr>
            <p:cNvSpPr/>
            <p:nvPr/>
          </p:nvSpPr>
          <p:spPr bwMode="black"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E13AA7EB-514D-4A09-BD66-80053F00347D}"/>
                </a:ext>
              </a:extLst>
            </p:cNvPr>
            <p:cNvSpPr/>
            <p:nvPr/>
          </p:nvSpPr>
          <p:spPr bwMode="black"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B6801FA-EDF1-44B7-B74A-D233D1901FB2}"/>
                </a:ext>
              </a:extLst>
            </p:cNvPr>
            <p:cNvSpPr/>
            <p:nvPr/>
          </p:nvSpPr>
          <p:spPr bwMode="black"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B2E6C61-DDF2-47D9-8A25-89BB69487158}"/>
                </a:ext>
              </a:extLst>
            </p:cNvPr>
            <p:cNvSpPr/>
            <p:nvPr/>
          </p:nvSpPr>
          <p:spPr bwMode="black"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6DF9C6F1-437C-49ED-BDB4-BFA7F469DBE7}"/>
                </a:ext>
              </a:extLst>
            </p:cNvPr>
            <p:cNvSpPr/>
            <p:nvPr/>
          </p:nvSpPr>
          <p:spPr bwMode="black"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1980F842-8843-4ECD-BDE7-3CD6D542F555}"/>
                </a:ext>
              </a:extLst>
            </p:cNvPr>
            <p:cNvSpPr/>
            <p:nvPr/>
          </p:nvSpPr>
          <p:spPr bwMode="black"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5814236-BEAA-4CFC-B101-3AEF7AA8B77B}"/>
                </a:ext>
              </a:extLst>
            </p:cNvPr>
            <p:cNvSpPr/>
            <p:nvPr/>
          </p:nvSpPr>
          <p:spPr bwMode="black"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ED7C96E-27D1-4907-930F-0FBC0B6CF852}"/>
                </a:ext>
              </a:extLst>
            </p:cNvPr>
            <p:cNvSpPr/>
            <p:nvPr/>
          </p:nvSpPr>
          <p:spPr bwMode="black"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7858C7E-AF70-4F67-B2E8-5ADA3F580674}"/>
                </a:ext>
              </a:extLst>
            </p:cNvPr>
            <p:cNvSpPr/>
            <p:nvPr/>
          </p:nvSpPr>
          <p:spPr bwMode="black"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C38C734-4415-4F9B-B96B-AE7393B02692}"/>
                </a:ext>
              </a:extLst>
            </p:cNvPr>
            <p:cNvSpPr/>
            <p:nvPr/>
          </p:nvSpPr>
          <p:spPr bwMode="black"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BCC10D7-F9B5-4884-95E0-76FFA954D306}"/>
                </a:ext>
              </a:extLst>
            </p:cNvPr>
            <p:cNvSpPr/>
            <p:nvPr/>
          </p:nvSpPr>
          <p:spPr bwMode="black"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C3432CC-EC60-49E1-82E4-7E2CBE3EE40A}"/>
                </a:ext>
              </a:extLst>
            </p:cNvPr>
            <p:cNvSpPr/>
            <p:nvPr/>
          </p:nvSpPr>
          <p:spPr bwMode="black"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96C76B7-245D-481E-B35F-7C1ECEB9548A}"/>
                </a:ext>
              </a:extLst>
            </p:cNvPr>
            <p:cNvSpPr/>
            <p:nvPr/>
          </p:nvSpPr>
          <p:spPr bwMode="black"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8338E1C-6445-4350-AB97-162B440CB474}"/>
                </a:ext>
              </a:extLst>
            </p:cNvPr>
            <p:cNvSpPr/>
            <p:nvPr/>
          </p:nvSpPr>
          <p:spPr bwMode="black"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520C9512-69D6-40AE-A46C-46C7A8C18D0E}"/>
                </a:ext>
              </a:extLst>
            </p:cNvPr>
            <p:cNvSpPr/>
            <p:nvPr/>
          </p:nvSpPr>
          <p:spPr bwMode="black"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76824091-EA77-4290-B5D8-D9ABB8E8F443}"/>
                </a:ext>
              </a:extLst>
            </p:cNvPr>
            <p:cNvSpPr/>
            <p:nvPr/>
          </p:nvSpPr>
          <p:spPr bwMode="black"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71747A0A-4A0D-474C-A3A8-8C14A8B72D4D}"/>
                </a:ext>
              </a:extLst>
            </p:cNvPr>
            <p:cNvSpPr/>
            <p:nvPr/>
          </p:nvSpPr>
          <p:spPr bwMode="black"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5536A8A-2076-4C05-9C5C-7E9AD95BA4CB}"/>
                </a:ext>
              </a:extLst>
            </p:cNvPr>
            <p:cNvSpPr/>
            <p:nvPr/>
          </p:nvSpPr>
          <p:spPr bwMode="black"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A9620A82-35FD-44A4-8994-CE526DA47B24}"/>
                </a:ext>
              </a:extLst>
            </p:cNvPr>
            <p:cNvSpPr/>
            <p:nvPr/>
          </p:nvSpPr>
          <p:spPr bwMode="black"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26D7F20F-A650-4743-9FC0-A2573AB641DE}"/>
                </a:ext>
              </a:extLst>
            </p:cNvPr>
            <p:cNvSpPr/>
            <p:nvPr/>
          </p:nvSpPr>
          <p:spPr bwMode="black"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DCBE3A4A-2817-40F0-9829-E5E0844F1DDF}"/>
                </a:ext>
              </a:extLst>
            </p:cNvPr>
            <p:cNvSpPr/>
            <p:nvPr/>
          </p:nvSpPr>
          <p:spPr bwMode="black"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71994F37-B45E-48F6-A426-16BA0C3A0618}"/>
                </a:ext>
              </a:extLst>
            </p:cNvPr>
            <p:cNvSpPr/>
            <p:nvPr/>
          </p:nvSpPr>
          <p:spPr bwMode="black"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127A624-42CC-4E96-BDC2-D7800A80C6A5}"/>
                </a:ext>
              </a:extLst>
            </p:cNvPr>
            <p:cNvSpPr/>
            <p:nvPr/>
          </p:nvSpPr>
          <p:spPr bwMode="black"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5EB8DCA6-2948-47B4-BC21-51F554D02642}"/>
                </a:ext>
              </a:extLst>
            </p:cNvPr>
            <p:cNvSpPr/>
            <p:nvPr/>
          </p:nvSpPr>
          <p:spPr bwMode="black"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987E6C4C-5076-4CC1-8A31-4708BB874E99}"/>
                </a:ext>
              </a:extLst>
            </p:cNvPr>
            <p:cNvSpPr/>
            <p:nvPr/>
          </p:nvSpPr>
          <p:spPr bwMode="black"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55A557F2-2B51-4A94-8BAD-38C184786E6F}"/>
                </a:ext>
              </a:extLst>
            </p:cNvPr>
            <p:cNvSpPr/>
            <p:nvPr/>
          </p:nvSpPr>
          <p:spPr bwMode="black"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91CD0877-E703-46CC-91C2-0B64DCDDC22E}"/>
                </a:ext>
              </a:extLst>
            </p:cNvPr>
            <p:cNvSpPr/>
            <p:nvPr/>
          </p:nvSpPr>
          <p:spPr bwMode="black"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5D27D3A3-0135-48AE-8310-53F0B4338891}"/>
                </a:ext>
              </a:extLst>
            </p:cNvPr>
            <p:cNvSpPr/>
            <p:nvPr/>
          </p:nvSpPr>
          <p:spPr bwMode="black"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D3100DEA-196D-4FF4-B6C0-73F96315C0B0}"/>
                </a:ext>
              </a:extLst>
            </p:cNvPr>
            <p:cNvSpPr/>
            <p:nvPr/>
          </p:nvSpPr>
          <p:spPr bwMode="black"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9" name="Text Placeholder 53">
            <a:extLst>
              <a:ext uri="{FF2B5EF4-FFF2-40B4-BE49-F238E27FC236}">
                <a16:creationId xmlns:a16="http://schemas.microsoft.com/office/drawing/2014/main" id="{5B8EF472-40A4-439A-B62A-2B3D53CEFD5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38400" y="3422650"/>
            <a:ext cx="7315200" cy="64008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13817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AA6159-B06A-4786-B440-2BBF2AD8C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914400"/>
            <a:ext cx="7353300" cy="3467100"/>
          </a:xfrm>
        </p:spPr>
        <p:txBody>
          <a:bodyPr anchor="b"/>
          <a:lstStyle>
            <a:lvl1pPr>
              <a:lnSpc>
                <a:spcPct val="82000"/>
              </a:lnSpc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1094D5-7DA6-4745-8DC9-C1C7B6A3584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601" y="4726213"/>
            <a:ext cx="7353300" cy="73152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 text (optional)</a:t>
            </a:r>
          </a:p>
        </p:txBody>
      </p:sp>
    </p:spTree>
    <p:extLst>
      <p:ext uri="{BB962C8B-B14F-4D97-AF65-F5344CB8AC3E}">
        <p14:creationId xmlns:p14="http://schemas.microsoft.com/office/powerpoint/2010/main" val="29082975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8BD37D-F050-4443-A487-60726AD46F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884B931-F05F-4E7D-B4A8-15A4ABE7DE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E0D7A9-D51E-4346-B207-B8159C3E19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FEB38-5A4E-45E5-A640-26D00BC1F3AB}" type="datetimeFigureOut">
              <a:rPr lang="en-US"/>
              <a:t>6/1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A6C9F8-2065-4458-BCFA-8C9ECE20BB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6B46DC-8DF4-4C60-9170-18A1563C49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F95A1E-4E3E-4AAD-A517-7DAD9580D6B2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82626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1DA1F28-9C93-4336-8693-7CB6A06B6BA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0655300" y="457200"/>
            <a:ext cx="1155700" cy="55626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ECB423A-9022-4A15-B482-E98FE360EDA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81000" y="457200"/>
            <a:ext cx="10033000" cy="55626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132CDD-31EE-4AA1-8BDA-B32EF5407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FEB38-5A4E-45E5-A640-26D00BC1F3AB}" type="datetimeFigureOut">
              <a:rPr lang="en-US"/>
              <a:t>6/1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3E4C41-B1D2-4534-9A0D-8BA94B6B8F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A2C4A0-B694-46FC-BC70-9DD74904A4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F95A1E-4E3E-4AAD-A517-7DAD9580D6B2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24287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slideLayout" Target="../slideLayouts/slideLayout61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slideLayout" Target="../slideLayouts/slideLayout6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5.xml"/><Relationship Id="rId18" Type="http://schemas.openxmlformats.org/officeDocument/2006/relationships/slideLayout" Target="../slideLayouts/slideLayout80.xml"/><Relationship Id="rId26" Type="http://schemas.openxmlformats.org/officeDocument/2006/relationships/slideLayout" Target="../slideLayouts/slideLayout88.xml"/><Relationship Id="rId3" Type="http://schemas.openxmlformats.org/officeDocument/2006/relationships/slideLayout" Target="../slideLayouts/slideLayout65.xml"/><Relationship Id="rId21" Type="http://schemas.openxmlformats.org/officeDocument/2006/relationships/slideLayout" Target="../slideLayouts/slideLayout83.xml"/><Relationship Id="rId34" Type="http://schemas.openxmlformats.org/officeDocument/2006/relationships/image" Target="../media/image7.emf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9.xml"/><Relationship Id="rId25" Type="http://schemas.openxmlformats.org/officeDocument/2006/relationships/slideLayout" Target="../slideLayouts/slideLayout87.xml"/><Relationship Id="rId33" Type="http://schemas.openxmlformats.org/officeDocument/2006/relationships/oleObject" Target="../embeddings/oleObject3.bin"/><Relationship Id="rId2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82.xml"/><Relationship Id="rId29" Type="http://schemas.openxmlformats.org/officeDocument/2006/relationships/slideLayout" Target="../slideLayouts/slideLayout91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24" Type="http://schemas.openxmlformats.org/officeDocument/2006/relationships/slideLayout" Target="../slideLayouts/slideLayout86.xml"/><Relationship Id="rId32" Type="http://schemas.openxmlformats.org/officeDocument/2006/relationships/tags" Target="../tags/tag4.xml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23" Type="http://schemas.openxmlformats.org/officeDocument/2006/relationships/slideLayout" Target="../slideLayouts/slideLayout85.xml"/><Relationship Id="rId28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81.xml"/><Relationship Id="rId31" Type="http://schemas.openxmlformats.org/officeDocument/2006/relationships/tags" Target="../tags/tag3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Relationship Id="rId22" Type="http://schemas.openxmlformats.org/officeDocument/2006/relationships/slideLayout" Target="../slideLayouts/slideLayout84.xml"/><Relationship Id="rId27" Type="http://schemas.openxmlformats.org/officeDocument/2006/relationships/slideLayout" Target="../slideLayouts/slideLayout89.xml"/><Relationship Id="rId30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1C3EA3B-7385-407F-B31D-54E05682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152400"/>
            <a:ext cx="11430001" cy="48533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361816-B597-4099-B06F-8143822EEE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1" y="914400"/>
            <a:ext cx="11430000" cy="5105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FE5C58-BFA4-48F6-B378-D01D44FD9B6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055389" y="6307159"/>
            <a:ext cx="914400" cy="15895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EB1475D-EF5B-48A6-8CCB-3BD08F726926}" type="datetimeFigureOut">
              <a:rPr lang="en-US" smtClean="0"/>
              <a:pPr/>
              <a:t>6/1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8099AD-9927-4956-A3D5-E4606FDF09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2534" y="6307159"/>
            <a:ext cx="7104770" cy="15895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314636-AB6E-4ED7-B39A-C71F11A513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1001" y="6307159"/>
            <a:ext cx="306083" cy="158953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565A54F4-DB31-4FC5-B748-3F06867349C3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75DF94D-DF42-4DC1-B915-F4687A8A6C9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676779" y="6205751"/>
            <a:ext cx="1143000" cy="440144"/>
            <a:chOff x="2078951" y="1888610"/>
            <a:chExt cx="8030200" cy="3092248"/>
          </a:xfrm>
          <a:solidFill>
            <a:srgbClr val="4F2170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DDFB966-99CE-4D00-B369-4873B39B0045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2D4893C-4239-4261-AAAA-144E77C081DA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3F3835C-7401-448E-A828-2AB0236A2950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1D31F7F-A45A-4A7D-9412-437ED4532711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CFFA8A5-B56A-4E5D-84C7-1DA7EC642538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46382E1-A9BA-4A26-983B-2982AB4A1E99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61943EE-46A4-4440-BF00-038EF24C3294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89999A4-40ED-44FF-8230-ACE6D5A307FF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6298649-002A-4EEF-ACB1-CFCDC30BCA2B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B2091D89-9B4E-4856-9468-815914855F9A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7F2BB29-4780-4E13-9447-551D7705D3EF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71254D5-4491-4E5C-A533-A0FDC183833D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A453BC8-0B36-4D4E-AC2E-A19401EAC3CD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17E3687-21BC-4B66-82A1-9652DB0C0A88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7E08B6C-E100-4F26-B629-3732E3E024EC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7F095C42-829F-4A42-936F-5E5F8E797CAC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00D3CA62-E398-459B-A561-78BE2297E0B2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495AE45-21CF-4D1B-B9A4-3378621E31F8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C216FC84-D2D6-4A19-8ECF-E28FA6872E1A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064D8E5A-0B60-43A6-9CB4-0637AD08F72C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ADC8310-343B-4477-9D7F-D6D4956A7823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8FAAD271-016E-4F1D-8EF6-91D222D38060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2742EF4-689F-485B-BB36-526335213608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93F6E36-55ED-4F20-8333-159A45A3E524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BD920CE9-16CC-42EA-AAD6-0680F860CC1E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0987E9D-29E3-4FAD-B97E-DC5A0FA2C3B3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4934AA60-0EF3-44BF-AB11-460538F37AFA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02C14CBB-D0EA-4098-8F25-912BA05B86AD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990F68E-345F-4F2A-88A6-34880AC52359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59B53308-CE8E-45AD-BA18-F188CE4630E5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E3F4F14-A16D-4D77-9802-11BABF614845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BC607246-0D6B-4302-A63C-E82116AD65DF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333FD0A1-B4A7-40CA-B9EE-32085C096039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A3BFD3D4-F4DA-42C1-8F72-C50C400F25E5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21C17497-81A0-4FD0-9BEB-3D32B47739B3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5DC50316-A07C-4F98-A88F-9678B26F0223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C7E78CC9-07D3-4E5F-9486-4571F99E25AF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283C7F09-BDBA-419E-A82F-29A47CF06020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67094D88-7910-4ABA-AB84-F44B55F3B694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6F0F00D5-B1EC-45A7-A3B2-BE9B8DD2EEB7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661B4D71-5303-4C03-83AA-70CBCD0F8408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F28577AE-EFA5-4972-9144-42D3352495EC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45070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2" r:id="rId31"/>
    <p:sldLayoutId id="2147483693" r:id="rId32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b="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indent="-230188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146304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146304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600" indent="-146304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46304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371600" indent="-146304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40">
          <p15:clr>
            <a:srgbClr val="F26B43"/>
          </p15:clr>
        </p15:guide>
        <p15:guide id="4" pos="2592">
          <p15:clr>
            <a:srgbClr val="F26B43"/>
          </p15:clr>
        </p15:guide>
        <p15:guide id="5" pos="2664">
          <p15:clr>
            <a:srgbClr val="F26B43"/>
          </p15:clr>
        </p15:guide>
        <p15:guide id="6" pos="5016">
          <p15:clr>
            <a:srgbClr val="F26B43"/>
          </p15:clr>
        </p15:guide>
        <p15:guide id="7" pos="5088">
          <p15:clr>
            <a:srgbClr val="F26B43"/>
          </p15:clr>
        </p15:guide>
        <p15:guide id="8" pos="7440">
          <p15:clr>
            <a:srgbClr val="F26B43"/>
          </p15:clr>
        </p15:guide>
        <p15:guide id="13" orient="horz" pos="2160">
          <p15:clr>
            <a:srgbClr val="5ACBF0"/>
          </p15:clr>
        </p15:guide>
        <p15:guide id="17" orient="horz" pos="576">
          <p15:clr>
            <a:srgbClr val="F26B43"/>
          </p15:clr>
        </p15:guide>
        <p15:guide id="18" orient="horz" pos="3792">
          <p15:clr>
            <a:srgbClr val="F26B43"/>
          </p15:clr>
        </p15:guide>
        <p15:guide id="19" pos="3840">
          <p15:clr>
            <a:srgbClr val="5ACBF0"/>
          </p15:clr>
        </p15:guide>
        <p15:guide id="20" orient="horz" pos="41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1C3EA3B-7385-407F-B31D-54E05682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152400"/>
            <a:ext cx="11430001" cy="48533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361816-B597-4099-B06F-8143822EEE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1" y="914400"/>
            <a:ext cx="11430000" cy="5105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</a:t>
            </a:r>
          </a:p>
          <a:p>
            <a:pPr lvl="6"/>
            <a:r>
              <a:rPr lang="en-US"/>
              <a:t>Seven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FE5C58-BFA4-48F6-B378-D01D44FD9B6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055389" y="6307159"/>
            <a:ext cx="914400" cy="15895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EB1475D-EF5B-48A6-8CCB-3BD08F726926}" type="datetimeFigureOut">
              <a:rPr lang="en-US" smtClean="0"/>
              <a:pPr/>
              <a:t>6/1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8099AD-9927-4956-A3D5-E4606FDF09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2534" y="6307159"/>
            <a:ext cx="7104770" cy="15895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314636-AB6E-4ED7-B39A-C71F11A513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1001" y="6307159"/>
            <a:ext cx="306083" cy="158953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565A54F4-DB31-4FC5-B748-3F06867349C3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75DF94D-DF42-4DC1-B915-F4687A8A6C9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676779" y="6205751"/>
            <a:ext cx="1143000" cy="440144"/>
            <a:chOff x="2078951" y="1888610"/>
            <a:chExt cx="8030200" cy="3092248"/>
          </a:xfrm>
          <a:solidFill>
            <a:srgbClr val="4F2170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DDFB966-99CE-4D00-B369-4873B39B0045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2D4893C-4239-4261-AAAA-144E77C081DA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3F3835C-7401-448E-A828-2AB0236A2950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1D31F7F-A45A-4A7D-9412-437ED4532711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CFFA8A5-B56A-4E5D-84C7-1DA7EC642538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46382E1-A9BA-4A26-983B-2982AB4A1E99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61943EE-46A4-4440-BF00-038EF24C3294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89999A4-40ED-44FF-8230-ACE6D5A307FF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6298649-002A-4EEF-ACB1-CFCDC30BCA2B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B2091D89-9B4E-4856-9468-815914855F9A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7F2BB29-4780-4E13-9447-551D7705D3EF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71254D5-4491-4E5C-A533-A0FDC183833D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A453BC8-0B36-4D4E-AC2E-A19401EAC3CD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17E3687-21BC-4B66-82A1-9652DB0C0A88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7E08B6C-E100-4F26-B629-3732E3E024EC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7F095C42-829F-4A42-936F-5E5F8E797CAC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00D3CA62-E398-459B-A561-78BE2297E0B2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495AE45-21CF-4D1B-B9A4-3378621E31F8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C216FC84-D2D6-4A19-8ECF-E28FA6872E1A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064D8E5A-0B60-43A6-9CB4-0637AD08F72C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ADC8310-343B-4477-9D7F-D6D4956A7823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8FAAD271-016E-4F1D-8EF6-91D222D38060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2742EF4-689F-485B-BB36-526335213608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93F6E36-55ED-4F20-8333-159A45A3E524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BD920CE9-16CC-42EA-AAD6-0680F860CC1E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0987E9D-29E3-4FAD-B97E-DC5A0FA2C3B3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4934AA60-0EF3-44BF-AB11-460538F37AFA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02C14CBB-D0EA-4098-8F25-912BA05B86AD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990F68E-345F-4F2A-88A6-34880AC52359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59B53308-CE8E-45AD-BA18-F188CE4630E5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E3F4F14-A16D-4D77-9802-11BABF614845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BC607246-0D6B-4302-A63C-E82116AD65DF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333FD0A1-B4A7-40CA-B9EE-32085C096039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A3BFD3D4-F4DA-42C1-8F72-C50C400F25E5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21C17497-81A0-4FD0-9BEB-3D32B47739B3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5DC50316-A07C-4F98-A88F-9678B26F0223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C7E78CC9-07D3-4E5F-9486-4571F99E25AF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283C7F09-BDBA-419E-A82F-29A47CF06020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67094D88-7910-4ABA-AB84-F44B55F3B694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6F0F00D5-B1EC-45A7-A3B2-BE9B8DD2EEB7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661B4D71-5303-4C03-83AA-70CBCD0F8408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F28577AE-EFA5-4972-9144-42D3352495EC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78970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  <p:sldLayoutId id="2147483778" r:id="rId12"/>
    <p:sldLayoutId id="2147483779" r:id="rId13"/>
    <p:sldLayoutId id="2147483780" r:id="rId14"/>
    <p:sldLayoutId id="2147483781" r:id="rId15"/>
    <p:sldLayoutId id="2147483782" r:id="rId16"/>
    <p:sldLayoutId id="2147483783" r:id="rId17"/>
    <p:sldLayoutId id="2147483784" r:id="rId18"/>
    <p:sldLayoutId id="2147483785" r:id="rId19"/>
    <p:sldLayoutId id="2147483786" r:id="rId20"/>
    <p:sldLayoutId id="2147483787" r:id="rId21"/>
    <p:sldLayoutId id="2147483788" r:id="rId22"/>
    <p:sldLayoutId id="2147483789" r:id="rId23"/>
    <p:sldLayoutId id="2147483790" r:id="rId24"/>
    <p:sldLayoutId id="2147483791" r:id="rId25"/>
    <p:sldLayoutId id="2147483792" r:id="rId26"/>
    <p:sldLayoutId id="2147483793" r:id="rId27"/>
    <p:sldLayoutId id="2147483794" r:id="rId28"/>
    <p:sldLayoutId id="2147483795" r:id="rId29"/>
    <p:sldLayoutId id="2147483796" r:id="rId30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b="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indent="-230188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146304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146304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600" indent="-146304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46304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371600" indent="-146304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40">
          <p15:clr>
            <a:srgbClr val="F26B43"/>
          </p15:clr>
        </p15:guide>
        <p15:guide id="4" pos="2592">
          <p15:clr>
            <a:srgbClr val="F26B43"/>
          </p15:clr>
        </p15:guide>
        <p15:guide id="5" pos="2664">
          <p15:clr>
            <a:srgbClr val="F26B43"/>
          </p15:clr>
        </p15:guide>
        <p15:guide id="6" pos="5016">
          <p15:clr>
            <a:srgbClr val="F26B43"/>
          </p15:clr>
        </p15:guide>
        <p15:guide id="7" pos="5088">
          <p15:clr>
            <a:srgbClr val="F26B43"/>
          </p15:clr>
        </p15:guide>
        <p15:guide id="8" pos="7440">
          <p15:clr>
            <a:srgbClr val="F26B43"/>
          </p15:clr>
        </p15:guide>
        <p15:guide id="13" orient="horz" pos="2160">
          <p15:clr>
            <a:srgbClr val="5ACBF0"/>
          </p15:clr>
        </p15:guide>
        <p15:guide id="17" orient="horz" pos="576">
          <p15:clr>
            <a:srgbClr val="F26B43"/>
          </p15:clr>
        </p15:guide>
        <p15:guide id="18" orient="horz" pos="3792">
          <p15:clr>
            <a:srgbClr val="F26B43"/>
          </p15:clr>
        </p15:guide>
        <p15:guide id="19" pos="3840">
          <p15:clr>
            <a:srgbClr val="5ACBF0"/>
          </p15:clr>
        </p15:guide>
        <p15:guide id="20" orient="horz" pos="41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BBC012A-6576-44A4-AFBA-14D78BC1E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360" imgH="360" progId="TCLayout.ActiveDocument.1">
                  <p:embed/>
                </p:oleObj>
              </mc:Choice>
              <mc:Fallback>
                <p:oleObj name="think-cell Slide" r:id="rId33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BBC012A-6576-44A4-AFBA-14D78BC1E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3722F93-185C-4C01-9527-D842E557FEB3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MDLZ BITE TYPE" panose="00000500000000000000" pitchFamily="50" charset="0"/>
              <a:ea typeface="+mj-ea"/>
              <a:cs typeface="+mj-cs"/>
              <a:sym typeface="MDLZ BITE TYPE" panose="00000500000000000000" pitchFamily="50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1C3EA3B-7385-407F-B31D-54E05682D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152400"/>
            <a:ext cx="11430001" cy="48533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361816-B597-4099-B06F-8143822EEE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1" y="914400"/>
            <a:ext cx="11430000" cy="5105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</a:t>
            </a:r>
          </a:p>
          <a:p>
            <a:pPr lvl="6"/>
            <a:r>
              <a:rPr lang="en-US"/>
              <a:t>Seven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FE5C58-BFA4-48F6-B378-D01D44FD9B6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055389" y="6307159"/>
            <a:ext cx="914400" cy="15895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EB1475D-EF5B-48A6-8CCB-3BD08F726926}" type="datetimeFigureOut">
              <a:rPr lang="en-US" smtClean="0"/>
              <a:pPr/>
              <a:t>6/1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8099AD-9927-4956-A3D5-E4606FDF09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2534" y="6307159"/>
            <a:ext cx="7104770" cy="15895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314636-AB6E-4ED7-B39A-C71F11A513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1001" y="6307159"/>
            <a:ext cx="306083" cy="158953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565A54F4-DB31-4FC5-B748-3F06867349C3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75DF94D-DF42-4DC1-B915-F4687A8A6C9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676779" y="6205751"/>
            <a:ext cx="1143000" cy="440144"/>
            <a:chOff x="2078951" y="1888610"/>
            <a:chExt cx="8030200" cy="3092248"/>
          </a:xfrm>
          <a:solidFill>
            <a:srgbClr val="4F2170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DDFB966-99CE-4D00-B369-4873B39B0045}"/>
                </a:ext>
              </a:extLst>
            </p:cNvPr>
            <p:cNvSpPr/>
            <p:nvPr/>
          </p:nvSpPr>
          <p:spPr>
            <a:xfrm>
              <a:off x="2078951" y="2872694"/>
              <a:ext cx="951880" cy="652717"/>
            </a:xfrm>
            <a:custGeom>
              <a:avLst/>
              <a:gdLst>
                <a:gd name="connsiteX0" fmla="*/ 903041 w 951880"/>
                <a:gd name="connsiteY0" fmla="*/ 330574 h 652717"/>
                <a:gd name="connsiteX1" fmla="*/ 780656 w 951880"/>
                <a:gd name="connsiteY1" fmla="*/ 379528 h 652717"/>
                <a:gd name="connsiteX2" fmla="*/ 598439 w 951880"/>
                <a:gd name="connsiteY2" fmla="*/ 311537 h 652717"/>
                <a:gd name="connsiteX3" fmla="*/ 505970 w 951880"/>
                <a:gd name="connsiteY3" fmla="*/ 164675 h 652717"/>
                <a:gd name="connsiteX4" fmla="*/ 266640 w 951880"/>
                <a:gd name="connsiteY4" fmla="*/ 61329 h 652717"/>
                <a:gd name="connsiteX5" fmla="*/ 103461 w 951880"/>
                <a:gd name="connsiteY5" fmla="*/ 458398 h 652717"/>
                <a:gd name="connsiteX6" fmla="*/ 756179 w 951880"/>
                <a:gd name="connsiteY6" fmla="*/ 485595 h 652717"/>
                <a:gd name="connsiteX7" fmla="*/ 903041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903041" y="330574"/>
                  </a:moveTo>
                  <a:cubicBezTo>
                    <a:pt x="867685" y="363210"/>
                    <a:pt x="813292" y="374089"/>
                    <a:pt x="780656" y="379528"/>
                  </a:cubicBezTo>
                  <a:cubicBezTo>
                    <a:pt x="712664" y="387687"/>
                    <a:pt x="641953" y="365930"/>
                    <a:pt x="598439" y="311537"/>
                  </a:cubicBezTo>
                  <a:cubicBezTo>
                    <a:pt x="563083" y="268022"/>
                    <a:pt x="544046" y="210910"/>
                    <a:pt x="505970" y="164675"/>
                  </a:cubicBezTo>
                  <a:cubicBezTo>
                    <a:pt x="448858" y="93964"/>
                    <a:pt x="359109" y="45011"/>
                    <a:pt x="266640" y="61329"/>
                  </a:cubicBezTo>
                  <a:cubicBezTo>
                    <a:pt x="81704" y="93964"/>
                    <a:pt x="114" y="308817"/>
                    <a:pt x="103461" y="458398"/>
                  </a:cubicBezTo>
                  <a:cubicBezTo>
                    <a:pt x="253042" y="670531"/>
                    <a:pt x="584840" y="635176"/>
                    <a:pt x="756179" y="485595"/>
                  </a:cubicBezTo>
                  <a:cubicBezTo>
                    <a:pt x="813292" y="442080"/>
                    <a:pt x="862246" y="390407"/>
                    <a:pt x="903041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2D4893C-4239-4261-AAAA-144E77C081DA}"/>
                </a:ext>
              </a:extLst>
            </p:cNvPr>
            <p:cNvSpPr/>
            <p:nvPr/>
          </p:nvSpPr>
          <p:spPr>
            <a:xfrm>
              <a:off x="9151831" y="2872694"/>
              <a:ext cx="951880" cy="652717"/>
            </a:xfrm>
            <a:custGeom>
              <a:avLst/>
              <a:gdLst>
                <a:gd name="connsiteX0" fmla="*/ 58178 w 951880"/>
                <a:gd name="connsiteY0" fmla="*/ 330574 h 652717"/>
                <a:gd name="connsiteX1" fmla="*/ 180563 w 951880"/>
                <a:gd name="connsiteY1" fmla="*/ 379528 h 652717"/>
                <a:gd name="connsiteX2" fmla="*/ 362780 w 951880"/>
                <a:gd name="connsiteY2" fmla="*/ 311537 h 652717"/>
                <a:gd name="connsiteX3" fmla="*/ 455249 w 951880"/>
                <a:gd name="connsiteY3" fmla="*/ 164675 h 652717"/>
                <a:gd name="connsiteX4" fmla="*/ 694578 w 951880"/>
                <a:gd name="connsiteY4" fmla="*/ 61329 h 652717"/>
                <a:gd name="connsiteX5" fmla="*/ 857758 w 951880"/>
                <a:gd name="connsiteY5" fmla="*/ 458398 h 652717"/>
                <a:gd name="connsiteX6" fmla="*/ 205040 w 951880"/>
                <a:gd name="connsiteY6" fmla="*/ 485595 h 652717"/>
                <a:gd name="connsiteX7" fmla="*/ 58178 w 951880"/>
                <a:gd name="connsiteY7" fmla="*/ 330574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1880" h="652717">
                  <a:moveTo>
                    <a:pt x="58178" y="330574"/>
                  </a:moveTo>
                  <a:cubicBezTo>
                    <a:pt x="96253" y="363210"/>
                    <a:pt x="147927" y="374089"/>
                    <a:pt x="180563" y="379528"/>
                  </a:cubicBezTo>
                  <a:cubicBezTo>
                    <a:pt x="248554" y="387687"/>
                    <a:pt x="319266" y="365930"/>
                    <a:pt x="362780" y="311537"/>
                  </a:cubicBezTo>
                  <a:cubicBezTo>
                    <a:pt x="398136" y="268022"/>
                    <a:pt x="417174" y="210910"/>
                    <a:pt x="455249" y="164675"/>
                  </a:cubicBezTo>
                  <a:cubicBezTo>
                    <a:pt x="512362" y="93964"/>
                    <a:pt x="602110" y="45011"/>
                    <a:pt x="694578" y="61329"/>
                  </a:cubicBezTo>
                  <a:cubicBezTo>
                    <a:pt x="879515" y="93964"/>
                    <a:pt x="961105" y="308817"/>
                    <a:pt x="857758" y="458398"/>
                  </a:cubicBezTo>
                  <a:cubicBezTo>
                    <a:pt x="708176" y="670531"/>
                    <a:pt x="376379" y="635176"/>
                    <a:pt x="205040" y="485595"/>
                  </a:cubicBezTo>
                  <a:cubicBezTo>
                    <a:pt x="150646" y="442080"/>
                    <a:pt x="101693" y="390407"/>
                    <a:pt x="58178" y="33057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3F3835C-7401-448E-A828-2AB0236A2950}"/>
                </a:ext>
              </a:extLst>
            </p:cNvPr>
            <p:cNvSpPr/>
            <p:nvPr/>
          </p:nvSpPr>
          <p:spPr>
            <a:xfrm>
              <a:off x="8001294" y="2010994"/>
              <a:ext cx="734308" cy="299162"/>
            </a:xfrm>
            <a:custGeom>
              <a:avLst/>
              <a:gdLst>
                <a:gd name="connsiteX0" fmla="*/ 596792 w 734307"/>
                <a:gd name="connsiteY0" fmla="*/ 58178 h 299162"/>
                <a:gd name="connsiteX1" fmla="*/ 148048 w 734307"/>
                <a:gd name="connsiteY1" fmla="*/ 58178 h 299162"/>
                <a:gd name="connsiteX2" fmla="*/ 58299 w 734307"/>
                <a:gd name="connsiteY2" fmla="*/ 150646 h 299162"/>
                <a:gd name="connsiteX3" fmla="*/ 148048 w 734307"/>
                <a:gd name="connsiteY3" fmla="*/ 251274 h 299162"/>
                <a:gd name="connsiteX4" fmla="*/ 596792 w 734307"/>
                <a:gd name="connsiteY4" fmla="*/ 251274 h 299162"/>
                <a:gd name="connsiteX5" fmla="*/ 686541 w 734307"/>
                <a:gd name="connsiteY5" fmla="*/ 158805 h 299162"/>
                <a:gd name="connsiteX6" fmla="*/ 596792 w 734307"/>
                <a:gd name="connsiteY6" fmla="*/ 58178 h 29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4307" h="299162">
                  <a:moveTo>
                    <a:pt x="596792" y="58178"/>
                  </a:moveTo>
                  <a:cubicBezTo>
                    <a:pt x="591353" y="58178"/>
                    <a:pt x="153487" y="58178"/>
                    <a:pt x="148048" y="58178"/>
                  </a:cubicBezTo>
                  <a:cubicBezTo>
                    <a:pt x="99094" y="60898"/>
                    <a:pt x="61019" y="104412"/>
                    <a:pt x="58299" y="150646"/>
                  </a:cubicBezTo>
                  <a:cubicBezTo>
                    <a:pt x="55580" y="199600"/>
                    <a:pt x="99094" y="248554"/>
                    <a:pt x="148048" y="251274"/>
                  </a:cubicBezTo>
                  <a:cubicBezTo>
                    <a:pt x="153487" y="251274"/>
                    <a:pt x="591353" y="251274"/>
                    <a:pt x="596792" y="251274"/>
                  </a:cubicBezTo>
                  <a:cubicBezTo>
                    <a:pt x="645746" y="248554"/>
                    <a:pt x="683821" y="205040"/>
                    <a:pt x="686541" y="158805"/>
                  </a:cubicBezTo>
                  <a:cubicBezTo>
                    <a:pt x="689260" y="109852"/>
                    <a:pt x="648465" y="60898"/>
                    <a:pt x="596792" y="581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1D31F7F-A45A-4A7D-9412-437ED4532711}"/>
                </a:ext>
              </a:extLst>
            </p:cNvPr>
            <p:cNvSpPr/>
            <p:nvPr/>
          </p:nvSpPr>
          <p:spPr>
            <a:xfrm>
              <a:off x="4920042" y="2277520"/>
              <a:ext cx="1006274" cy="951879"/>
            </a:xfrm>
            <a:custGeom>
              <a:avLst/>
              <a:gdLst>
                <a:gd name="connsiteX0" fmla="*/ 884954 w 1006273"/>
                <a:gd name="connsiteY0" fmla="*/ 746251 h 951879"/>
                <a:gd name="connsiteX1" fmla="*/ 874076 w 1006273"/>
                <a:gd name="connsiteY1" fmla="*/ 670101 h 951879"/>
                <a:gd name="connsiteX2" fmla="*/ 874076 w 1006273"/>
                <a:gd name="connsiteY2" fmla="*/ 536837 h 951879"/>
                <a:gd name="connsiteX3" fmla="*/ 689139 w 1006273"/>
                <a:gd name="connsiteY3" fmla="*/ 88094 h 951879"/>
                <a:gd name="connsiteX4" fmla="*/ 428052 w 1006273"/>
                <a:gd name="connsiteY4" fmla="*/ 253993 h 951879"/>
                <a:gd name="connsiteX5" fmla="*/ 196881 w 1006273"/>
                <a:gd name="connsiteY5" fmla="*/ 58178 h 951879"/>
                <a:gd name="connsiteX6" fmla="*/ 58178 w 1006273"/>
                <a:gd name="connsiteY6" fmla="*/ 128889 h 951879"/>
                <a:gd name="connsiteX7" fmla="*/ 142488 w 1006273"/>
                <a:gd name="connsiteY7" fmla="*/ 273031 h 951879"/>
                <a:gd name="connsiteX8" fmla="*/ 142488 w 1006273"/>
                <a:gd name="connsiteY8" fmla="*/ 757130 h 951879"/>
                <a:gd name="connsiteX9" fmla="*/ 283910 w 1006273"/>
                <a:gd name="connsiteY9" fmla="*/ 895832 h 951879"/>
                <a:gd name="connsiteX10" fmla="*/ 428052 w 1006273"/>
                <a:gd name="connsiteY10" fmla="*/ 757130 h 951879"/>
                <a:gd name="connsiteX11" fmla="*/ 428052 w 1006273"/>
                <a:gd name="connsiteY11" fmla="*/ 400855 h 951879"/>
                <a:gd name="connsiteX12" fmla="*/ 523240 w 1006273"/>
                <a:gd name="connsiteY12" fmla="*/ 283910 h 951879"/>
                <a:gd name="connsiteX13" fmla="*/ 591231 w 1006273"/>
                <a:gd name="connsiteY13" fmla="*/ 354621 h 951879"/>
                <a:gd name="connsiteX14" fmla="*/ 591231 w 1006273"/>
                <a:gd name="connsiteY14" fmla="*/ 697297 h 951879"/>
                <a:gd name="connsiteX15" fmla="*/ 593951 w 1006273"/>
                <a:gd name="connsiteY15" fmla="*/ 729933 h 951879"/>
                <a:gd name="connsiteX16" fmla="*/ 610269 w 1006273"/>
                <a:gd name="connsiteY16" fmla="*/ 778887 h 951879"/>
                <a:gd name="connsiteX17" fmla="*/ 822402 w 1006273"/>
                <a:gd name="connsiteY17" fmla="*/ 893112 h 951879"/>
                <a:gd name="connsiteX18" fmla="*/ 961105 w 1006273"/>
                <a:gd name="connsiteY18" fmla="*/ 822401 h 951879"/>
                <a:gd name="connsiteX19" fmla="*/ 884954 w 1006273"/>
                <a:gd name="connsiteY19" fmla="*/ 74625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06273" h="951879">
                  <a:moveTo>
                    <a:pt x="884954" y="746251"/>
                  </a:moveTo>
                  <a:cubicBezTo>
                    <a:pt x="879515" y="721774"/>
                    <a:pt x="876795" y="694578"/>
                    <a:pt x="874076" y="670101"/>
                  </a:cubicBezTo>
                  <a:cubicBezTo>
                    <a:pt x="874076" y="634745"/>
                    <a:pt x="874076" y="583072"/>
                    <a:pt x="874076" y="536837"/>
                  </a:cubicBezTo>
                  <a:cubicBezTo>
                    <a:pt x="879515" y="373658"/>
                    <a:pt x="909431" y="88094"/>
                    <a:pt x="689139" y="88094"/>
                  </a:cubicBezTo>
                  <a:cubicBezTo>
                    <a:pt x="539558" y="88094"/>
                    <a:pt x="452529" y="213199"/>
                    <a:pt x="428052" y="253993"/>
                  </a:cubicBezTo>
                  <a:cubicBezTo>
                    <a:pt x="425332" y="139768"/>
                    <a:pt x="335583" y="58178"/>
                    <a:pt x="196881" y="58178"/>
                  </a:cubicBezTo>
                  <a:cubicBezTo>
                    <a:pt x="109852" y="58178"/>
                    <a:pt x="58178" y="128889"/>
                    <a:pt x="58178" y="128889"/>
                  </a:cubicBezTo>
                  <a:cubicBezTo>
                    <a:pt x="58178" y="128889"/>
                    <a:pt x="142488" y="158805"/>
                    <a:pt x="142488" y="273031"/>
                  </a:cubicBezTo>
                  <a:cubicBezTo>
                    <a:pt x="142488" y="354621"/>
                    <a:pt x="142488" y="757130"/>
                    <a:pt x="142488" y="757130"/>
                  </a:cubicBezTo>
                  <a:cubicBezTo>
                    <a:pt x="145207" y="827841"/>
                    <a:pt x="194161" y="895832"/>
                    <a:pt x="283910" y="895832"/>
                  </a:cubicBezTo>
                  <a:cubicBezTo>
                    <a:pt x="373659" y="895832"/>
                    <a:pt x="428052" y="827841"/>
                    <a:pt x="428052" y="757130"/>
                  </a:cubicBezTo>
                  <a:lnTo>
                    <a:pt x="428052" y="400855"/>
                  </a:lnTo>
                  <a:cubicBezTo>
                    <a:pt x="441650" y="343742"/>
                    <a:pt x="474286" y="283910"/>
                    <a:pt x="523240" y="283910"/>
                  </a:cubicBezTo>
                  <a:cubicBezTo>
                    <a:pt x="585792" y="283910"/>
                    <a:pt x="591231" y="354621"/>
                    <a:pt x="591231" y="354621"/>
                  </a:cubicBezTo>
                  <a:lnTo>
                    <a:pt x="591231" y="697297"/>
                  </a:lnTo>
                  <a:cubicBezTo>
                    <a:pt x="591231" y="708176"/>
                    <a:pt x="593951" y="719054"/>
                    <a:pt x="593951" y="729933"/>
                  </a:cubicBezTo>
                  <a:cubicBezTo>
                    <a:pt x="596671" y="748971"/>
                    <a:pt x="602110" y="765289"/>
                    <a:pt x="610269" y="778887"/>
                  </a:cubicBezTo>
                  <a:cubicBezTo>
                    <a:pt x="645624" y="846878"/>
                    <a:pt x="719055" y="893112"/>
                    <a:pt x="822402" y="893112"/>
                  </a:cubicBezTo>
                  <a:cubicBezTo>
                    <a:pt x="909431" y="893112"/>
                    <a:pt x="961105" y="822401"/>
                    <a:pt x="961105" y="822401"/>
                  </a:cubicBezTo>
                  <a:cubicBezTo>
                    <a:pt x="961105" y="822401"/>
                    <a:pt x="909431" y="808803"/>
                    <a:pt x="884954" y="74625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CFFA8A5-B56A-4E5D-84C7-1DA7EC642538}"/>
                </a:ext>
              </a:extLst>
            </p:cNvPr>
            <p:cNvSpPr/>
            <p:nvPr/>
          </p:nvSpPr>
          <p:spPr>
            <a:xfrm>
              <a:off x="7552331" y="1888610"/>
              <a:ext cx="489539" cy="1332631"/>
            </a:xfrm>
            <a:custGeom>
              <a:avLst/>
              <a:gdLst>
                <a:gd name="connsiteX0" fmla="*/ 368560 w 489538"/>
                <a:gd name="connsiteY0" fmla="*/ 1135162 h 1332630"/>
                <a:gd name="connsiteX1" fmla="*/ 357681 w 489538"/>
                <a:gd name="connsiteY1" fmla="*/ 1059011 h 1332630"/>
                <a:gd name="connsiteX2" fmla="*/ 357681 w 489538"/>
                <a:gd name="connsiteY2" fmla="*/ 207759 h 1332630"/>
                <a:gd name="connsiteX3" fmla="*/ 208099 w 489538"/>
                <a:gd name="connsiteY3" fmla="*/ 58178 h 1332630"/>
                <a:gd name="connsiteX4" fmla="*/ 58518 w 489538"/>
                <a:gd name="connsiteY4" fmla="*/ 207759 h 1332630"/>
                <a:gd name="connsiteX5" fmla="*/ 58518 w 489538"/>
                <a:gd name="connsiteY5" fmla="*/ 961104 h 1332630"/>
                <a:gd name="connsiteX6" fmla="*/ 85715 w 489538"/>
                <a:gd name="connsiteY6" fmla="*/ 1159639 h 1332630"/>
                <a:gd name="connsiteX7" fmla="*/ 306007 w 489538"/>
                <a:gd name="connsiteY7" fmla="*/ 1282023 h 1332630"/>
                <a:gd name="connsiteX8" fmla="*/ 444710 w 489538"/>
                <a:gd name="connsiteY8" fmla="*/ 1211312 h 1332630"/>
                <a:gd name="connsiteX9" fmla="*/ 368560 w 489538"/>
                <a:gd name="connsiteY9" fmla="*/ 1135162 h 1332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9538" h="1332630">
                  <a:moveTo>
                    <a:pt x="368560" y="1135162"/>
                  </a:moveTo>
                  <a:cubicBezTo>
                    <a:pt x="363120" y="1110685"/>
                    <a:pt x="357681" y="1083488"/>
                    <a:pt x="357681" y="1059011"/>
                  </a:cubicBezTo>
                  <a:lnTo>
                    <a:pt x="357681" y="207759"/>
                  </a:lnTo>
                  <a:cubicBezTo>
                    <a:pt x="357681" y="126170"/>
                    <a:pt x="289689" y="58178"/>
                    <a:pt x="208099" y="58178"/>
                  </a:cubicBezTo>
                  <a:cubicBezTo>
                    <a:pt x="126510" y="58178"/>
                    <a:pt x="58518" y="126170"/>
                    <a:pt x="58518" y="207759"/>
                  </a:cubicBezTo>
                  <a:lnTo>
                    <a:pt x="58518" y="961104"/>
                  </a:lnTo>
                  <a:cubicBezTo>
                    <a:pt x="58518" y="1029095"/>
                    <a:pt x="53079" y="1097086"/>
                    <a:pt x="85715" y="1159639"/>
                  </a:cubicBezTo>
                  <a:cubicBezTo>
                    <a:pt x="118351" y="1227630"/>
                    <a:pt x="202660" y="1282023"/>
                    <a:pt x="306007" y="1282023"/>
                  </a:cubicBezTo>
                  <a:cubicBezTo>
                    <a:pt x="393036" y="1282023"/>
                    <a:pt x="444710" y="1211312"/>
                    <a:pt x="444710" y="1211312"/>
                  </a:cubicBezTo>
                  <a:cubicBezTo>
                    <a:pt x="444710" y="1211312"/>
                    <a:pt x="393036" y="1197714"/>
                    <a:pt x="368560" y="113516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46382E1-A9BA-4A26-983B-2982AB4A1E99}"/>
                </a:ext>
              </a:extLst>
            </p:cNvPr>
            <p:cNvSpPr/>
            <p:nvPr/>
          </p:nvSpPr>
          <p:spPr>
            <a:xfrm>
              <a:off x="4162324" y="2357456"/>
              <a:ext cx="815899" cy="815898"/>
            </a:xfrm>
            <a:custGeom>
              <a:avLst/>
              <a:gdLst>
                <a:gd name="connsiteX0" fmla="*/ 407949 w 815899"/>
                <a:gd name="connsiteY0" fmla="*/ 174058 h 815898"/>
                <a:gd name="connsiteX1" fmla="*/ 293723 w 815899"/>
                <a:gd name="connsiteY1" fmla="*/ 407950 h 815898"/>
                <a:gd name="connsiteX2" fmla="*/ 410669 w 815899"/>
                <a:gd name="connsiteY2" fmla="*/ 641840 h 815898"/>
                <a:gd name="connsiteX3" fmla="*/ 522175 w 815899"/>
                <a:gd name="connsiteY3" fmla="*/ 407950 h 815898"/>
                <a:gd name="connsiteX4" fmla="*/ 407949 w 815899"/>
                <a:gd name="connsiteY4" fmla="*/ 174058 h 815898"/>
                <a:gd name="connsiteX5" fmla="*/ 407950 w 815899"/>
                <a:gd name="connsiteY5" fmla="*/ 0 h 815898"/>
                <a:gd name="connsiteX6" fmla="*/ 815899 w 815899"/>
                <a:gd name="connsiteY6" fmla="*/ 407949 h 815898"/>
                <a:gd name="connsiteX7" fmla="*/ 407950 w 815899"/>
                <a:gd name="connsiteY7" fmla="*/ 815898 h 815898"/>
                <a:gd name="connsiteX8" fmla="*/ 0 w 815899"/>
                <a:gd name="connsiteY8" fmla="*/ 407949 h 815898"/>
                <a:gd name="connsiteX9" fmla="*/ 407950 w 815899"/>
                <a:gd name="connsiteY9" fmla="*/ 0 h 815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5899" h="815898">
                  <a:moveTo>
                    <a:pt x="407949" y="174058"/>
                  </a:moveTo>
                  <a:cubicBezTo>
                    <a:pt x="342677" y="174058"/>
                    <a:pt x="293723" y="263807"/>
                    <a:pt x="293723" y="407950"/>
                  </a:cubicBezTo>
                  <a:cubicBezTo>
                    <a:pt x="293723" y="552091"/>
                    <a:pt x="331799" y="639120"/>
                    <a:pt x="410669" y="641840"/>
                  </a:cubicBezTo>
                  <a:cubicBezTo>
                    <a:pt x="489539" y="641840"/>
                    <a:pt x="527614" y="552091"/>
                    <a:pt x="522175" y="407950"/>
                  </a:cubicBezTo>
                  <a:cubicBezTo>
                    <a:pt x="522175" y="263807"/>
                    <a:pt x="473221" y="176778"/>
                    <a:pt x="407949" y="174058"/>
                  </a:cubicBezTo>
                  <a:close/>
                  <a:moveTo>
                    <a:pt x="407950" y="0"/>
                  </a:moveTo>
                  <a:cubicBezTo>
                    <a:pt x="633682" y="0"/>
                    <a:pt x="815899" y="182217"/>
                    <a:pt x="815899" y="407949"/>
                  </a:cubicBezTo>
                  <a:cubicBezTo>
                    <a:pt x="815899" y="633681"/>
                    <a:pt x="633682" y="815898"/>
                    <a:pt x="407950" y="815898"/>
                  </a:cubicBezTo>
                  <a:cubicBezTo>
                    <a:pt x="182218" y="815898"/>
                    <a:pt x="0" y="633681"/>
                    <a:pt x="0" y="407949"/>
                  </a:cubicBezTo>
                  <a:cubicBezTo>
                    <a:pt x="0" y="182217"/>
                    <a:pt x="182218" y="0"/>
                    <a:pt x="407950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61943EE-46A4-4440-BF00-038EF24C3294}"/>
                </a:ext>
              </a:extLst>
            </p:cNvPr>
            <p:cNvSpPr/>
            <p:nvPr/>
          </p:nvSpPr>
          <p:spPr>
            <a:xfrm>
              <a:off x="5884871" y="1946788"/>
              <a:ext cx="912802" cy="1223846"/>
            </a:xfrm>
            <a:custGeom>
              <a:avLst/>
              <a:gdLst>
                <a:gd name="connsiteX0" fmla="*/ 387907 w 912802"/>
                <a:gd name="connsiteY0" fmla="*/ 620081 h 1223846"/>
                <a:gd name="connsiteX1" fmla="*/ 273681 w 912802"/>
                <a:gd name="connsiteY1" fmla="*/ 824055 h 1223846"/>
                <a:gd name="connsiteX2" fmla="*/ 390627 w 912802"/>
                <a:gd name="connsiteY2" fmla="*/ 1028029 h 1223846"/>
                <a:gd name="connsiteX3" fmla="*/ 502132 w 912802"/>
                <a:gd name="connsiteY3" fmla="*/ 824055 h 1223846"/>
                <a:gd name="connsiteX4" fmla="*/ 387907 w 912802"/>
                <a:gd name="connsiteY4" fmla="*/ 620081 h 1223846"/>
                <a:gd name="connsiteX5" fmla="*/ 676192 w 912802"/>
                <a:gd name="connsiteY5" fmla="*/ 0 h 1223846"/>
                <a:gd name="connsiteX6" fmla="*/ 825773 w 912802"/>
                <a:gd name="connsiteY6" fmla="*/ 149581 h 1223846"/>
                <a:gd name="connsiteX7" fmla="*/ 825773 w 912802"/>
                <a:gd name="connsiteY7" fmla="*/ 1000834 h 1223846"/>
                <a:gd name="connsiteX8" fmla="*/ 836651 w 912802"/>
                <a:gd name="connsiteY8" fmla="*/ 1076985 h 1223846"/>
                <a:gd name="connsiteX9" fmla="*/ 912802 w 912802"/>
                <a:gd name="connsiteY9" fmla="*/ 1150415 h 1223846"/>
                <a:gd name="connsiteX10" fmla="*/ 774099 w 912802"/>
                <a:gd name="connsiteY10" fmla="*/ 1221126 h 1223846"/>
                <a:gd name="connsiteX11" fmla="*/ 553807 w 912802"/>
                <a:gd name="connsiteY11" fmla="*/ 1098742 h 1223846"/>
                <a:gd name="connsiteX12" fmla="*/ 548367 w 912802"/>
                <a:gd name="connsiteY12" fmla="*/ 1085144 h 1223846"/>
                <a:gd name="connsiteX13" fmla="*/ 398786 w 912802"/>
                <a:gd name="connsiteY13" fmla="*/ 1212967 h 1223846"/>
                <a:gd name="connsiteX14" fmla="*/ 156736 w 912802"/>
                <a:gd name="connsiteY14" fmla="*/ 1180332 h 1223846"/>
                <a:gd name="connsiteX15" fmla="*/ 287280 w 912802"/>
                <a:gd name="connsiteY15" fmla="*/ 416107 h 1223846"/>
                <a:gd name="connsiteX16" fmla="*/ 526611 w 912802"/>
                <a:gd name="connsiteY16" fmla="*/ 552091 h 1223846"/>
                <a:gd name="connsiteX17" fmla="*/ 526611 w 912802"/>
                <a:gd name="connsiteY17" fmla="*/ 149581 h 1223846"/>
                <a:gd name="connsiteX18" fmla="*/ 676192 w 912802"/>
                <a:gd name="connsiteY18" fmla="*/ 0 h 122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2802" h="1223846">
                  <a:moveTo>
                    <a:pt x="387907" y="620081"/>
                  </a:moveTo>
                  <a:cubicBezTo>
                    <a:pt x="322635" y="620081"/>
                    <a:pt x="273681" y="698951"/>
                    <a:pt x="273681" y="824055"/>
                  </a:cubicBezTo>
                  <a:cubicBezTo>
                    <a:pt x="273681" y="949160"/>
                    <a:pt x="311756" y="1028029"/>
                    <a:pt x="390627" y="1028029"/>
                  </a:cubicBezTo>
                  <a:cubicBezTo>
                    <a:pt x="466777" y="1025310"/>
                    <a:pt x="504852" y="949160"/>
                    <a:pt x="502132" y="824055"/>
                  </a:cubicBezTo>
                  <a:cubicBezTo>
                    <a:pt x="502132" y="698951"/>
                    <a:pt x="455898" y="622801"/>
                    <a:pt x="387907" y="620081"/>
                  </a:cubicBezTo>
                  <a:close/>
                  <a:moveTo>
                    <a:pt x="676192" y="0"/>
                  </a:moveTo>
                  <a:cubicBezTo>
                    <a:pt x="757781" y="0"/>
                    <a:pt x="825773" y="67992"/>
                    <a:pt x="825773" y="149581"/>
                  </a:cubicBezTo>
                  <a:lnTo>
                    <a:pt x="825773" y="1000834"/>
                  </a:lnTo>
                  <a:cubicBezTo>
                    <a:pt x="828492" y="1025311"/>
                    <a:pt x="831212" y="1052508"/>
                    <a:pt x="836651" y="1076985"/>
                  </a:cubicBezTo>
                  <a:cubicBezTo>
                    <a:pt x="861128" y="1139537"/>
                    <a:pt x="912802" y="1150415"/>
                    <a:pt x="912802" y="1150415"/>
                  </a:cubicBezTo>
                  <a:cubicBezTo>
                    <a:pt x="912802" y="1150415"/>
                    <a:pt x="861128" y="1221126"/>
                    <a:pt x="774099" y="1221126"/>
                  </a:cubicBezTo>
                  <a:cubicBezTo>
                    <a:pt x="670752" y="1221126"/>
                    <a:pt x="589162" y="1166733"/>
                    <a:pt x="553807" y="1098742"/>
                  </a:cubicBezTo>
                  <a:cubicBezTo>
                    <a:pt x="551087" y="1093303"/>
                    <a:pt x="551087" y="1090583"/>
                    <a:pt x="548367" y="1085144"/>
                  </a:cubicBezTo>
                  <a:cubicBezTo>
                    <a:pt x="534769" y="1147696"/>
                    <a:pt x="450460" y="1199369"/>
                    <a:pt x="398786" y="1212967"/>
                  </a:cubicBezTo>
                  <a:cubicBezTo>
                    <a:pt x="322636" y="1234725"/>
                    <a:pt x="222008" y="1223846"/>
                    <a:pt x="156736" y="1180332"/>
                  </a:cubicBezTo>
                  <a:cubicBezTo>
                    <a:pt x="-79874" y="1028031"/>
                    <a:pt x="-58117" y="416107"/>
                    <a:pt x="287280" y="416107"/>
                  </a:cubicBezTo>
                  <a:cubicBezTo>
                    <a:pt x="412385" y="416107"/>
                    <a:pt x="491255" y="503137"/>
                    <a:pt x="526611" y="552091"/>
                  </a:cubicBezTo>
                  <a:lnTo>
                    <a:pt x="526611" y="149581"/>
                  </a:lnTo>
                  <a:cubicBezTo>
                    <a:pt x="526611" y="67992"/>
                    <a:pt x="594602" y="0"/>
                    <a:pt x="67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89999A4-40ED-44FF-8230-ACE6D5A307FF}"/>
                </a:ext>
              </a:extLst>
            </p:cNvPr>
            <p:cNvSpPr/>
            <p:nvPr/>
          </p:nvSpPr>
          <p:spPr>
            <a:xfrm>
              <a:off x="6789513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8 w 747906"/>
                <a:gd name="connsiteY9" fmla="*/ 617363 h 810458"/>
                <a:gd name="connsiteX10" fmla="*/ 712551 w 747906"/>
                <a:gd name="connsiteY10" fmla="*/ 557530 h 810458"/>
                <a:gd name="connsiteX11" fmla="*/ 388912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5" y="345396"/>
                    <a:pt x="473220" y="301881"/>
                    <a:pt x="473220" y="239329"/>
                  </a:cubicBezTo>
                  <a:cubicBezTo>
                    <a:pt x="471181" y="194455"/>
                    <a:pt x="433956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3" y="484100"/>
                    <a:pt x="291004" y="484100"/>
                  </a:cubicBezTo>
                  <a:cubicBezTo>
                    <a:pt x="291004" y="484100"/>
                    <a:pt x="326359" y="617363"/>
                    <a:pt x="497698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2" y="810458"/>
                  </a:cubicBezTo>
                  <a:cubicBezTo>
                    <a:pt x="212134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6298649-002A-4EEF-ACB1-CFCDC30BCA2B}"/>
                </a:ext>
              </a:extLst>
            </p:cNvPr>
            <p:cNvSpPr/>
            <p:nvPr/>
          </p:nvSpPr>
          <p:spPr>
            <a:xfrm>
              <a:off x="7988882" y="2362895"/>
              <a:ext cx="747906" cy="810458"/>
            </a:xfrm>
            <a:custGeom>
              <a:avLst/>
              <a:gdLst>
                <a:gd name="connsiteX0" fmla="*/ 394818 w 747906"/>
                <a:gd name="connsiteY0" fmla="*/ 163222 h 810458"/>
                <a:gd name="connsiteX1" fmla="*/ 356275 w 747906"/>
                <a:gd name="connsiteY1" fmla="*/ 174058 h 810458"/>
                <a:gd name="connsiteX2" fmla="*/ 274685 w 747906"/>
                <a:gd name="connsiteY2" fmla="*/ 356275 h 810458"/>
                <a:gd name="connsiteX3" fmla="*/ 375313 w 747906"/>
                <a:gd name="connsiteY3" fmla="*/ 358994 h 810458"/>
                <a:gd name="connsiteX4" fmla="*/ 473220 w 747906"/>
                <a:gd name="connsiteY4" fmla="*/ 239329 h 810458"/>
                <a:gd name="connsiteX5" fmla="*/ 394818 w 747906"/>
                <a:gd name="connsiteY5" fmla="*/ 163222 h 810458"/>
                <a:gd name="connsiteX6" fmla="*/ 386192 w 747906"/>
                <a:gd name="connsiteY6" fmla="*/ 0 h 810458"/>
                <a:gd name="connsiteX7" fmla="*/ 747906 w 747906"/>
                <a:gd name="connsiteY7" fmla="*/ 266526 h 810458"/>
                <a:gd name="connsiteX8" fmla="*/ 291004 w 747906"/>
                <a:gd name="connsiteY8" fmla="*/ 484100 h 810458"/>
                <a:gd name="connsiteX9" fmla="*/ 497697 w 747906"/>
                <a:gd name="connsiteY9" fmla="*/ 617363 h 810458"/>
                <a:gd name="connsiteX10" fmla="*/ 712551 w 747906"/>
                <a:gd name="connsiteY10" fmla="*/ 557530 h 810458"/>
                <a:gd name="connsiteX11" fmla="*/ 388911 w 747906"/>
                <a:gd name="connsiteY11" fmla="*/ 810458 h 810458"/>
                <a:gd name="connsiteX12" fmla="*/ 0 w 747906"/>
                <a:gd name="connsiteY12" fmla="*/ 413389 h 810458"/>
                <a:gd name="connsiteX13" fmla="*/ 386192 w 747906"/>
                <a:gd name="connsiteY13" fmla="*/ 0 h 810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906" h="810458">
                  <a:moveTo>
                    <a:pt x="394818" y="163222"/>
                  </a:moveTo>
                  <a:cubicBezTo>
                    <a:pt x="381772" y="163179"/>
                    <a:pt x="368514" y="166579"/>
                    <a:pt x="356275" y="174058"/>
                  </a:cubicBezTo>
                  <a:cubicBezTo>
                    <a:pt x="299162" y="212133"/>
                    <a:pt x="282844" y="291003"/>
                    <a:pt x="274685" y="356275"/>
                  </a:cubicBezTo>
                  <a:cubicBezTo>
                    <a:pt x="274685" y="364434"/>
                    <a:pt x="369873" y="358994"/>
                    <a:pt x="375313" y="358994"/>
                  </a:cubicBezTo>
                  <a:cubicBezTo>
                    <a:pt x="432426" y="345396"/>
                    <a:pt x="473220" y="301881"/>
                    <a:pt x="473220" y="239329"/>
                  </a:cubicBezTo>
                  <a:cubicBezTo>
                    <a:pt x="471181" y="194455"/>
                    <a:pt x="433955" y="163349"/>
                    <a:pt x="394818" y="163222"/>
                  </a:cubicBezTo>
                  <a:close/>
                  <a:moveTo>
                    <a:pt x="386192" y="0"/>
                  </a:moveTo>
                  <a:cubicBezTo>
                    <a:pt x="519455" y="0"/>
                    <a:pt x="747906" y="65272"/>
                    <a:pt x="747906" y="266526"/>
                  </a:cubicBezTo>
                  <a:cubicBezTo>
                    <a:pt x="747906" y="467782"/>
                    <a:pt x="538492" y="484100"/>
                    <a:pt x="291004" y="484100"/>
                  </a:cubicBezTo>
                  <a:cubicBezTo>
                    <a:pt x="291004" y="484100"/>
                    <a:pt x="326359" y="617363"/>
                    <a:pt x="497697" y="617363"/>
                  </a:cubicBezTo>
                  <a:cubicBezTo>
                    <a:pt x="669036" y="617363"/>
                    <a:pt x="712551" y="557530"/>
                    <a:pt x="712551" y="557530"/>
                  </a:cubicBezTo>
                  <a:cubicBezTo>
                    <a:pt x="712551" y="557530"/>
                    <a:pt x="696233" y="810458"/>
                    <a:pt x="388911" y="810458"/>
                  </a:cubicBezTo>
                  <a:cubicBezTo>
                    <a:pt x="212133" y="810458"/>
                    <a:pt x="0" y="677195"/>
                    <a:pt x="0" y="413389"/>
                  </a:cubicBezTo>
                  <a:cubicBezTo>
                    <a:pt x="0" y="176778"/>
                    <a:pt x="163180" y="0"/>
                    <a:pt x="386192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B2091D89-9B4E-4856-9468-815914855F9A}"/>
                </a:ext>
              </a:extLst>
            </p:cNvPr>
            <p:cNvSpPr/>
            <p:nvPr/>
          </p:nvSpPr>
          <p:spPr>
            <a:xfrm>
              <a:off x="8683414" y="2274801"/>
              <a:ext cx="897487" cy="951879"/>
            </a:xfrm>
            <a:custGeom>
              <a:avLst/>
              <a:gdLst>
                <a:gd name="connsiteX0" fmla="*/ 580988 w 897487"/>
                <a:gd name="connsiteY0" fmla="*/ 667381 h 951879"/>
                <a:gd name="connsiteX1" fmla="*/ 409649 w 897487"/>
                <a:gd name="connsiteY1" fmla="*/ 667381 h 951879"/>
                <a:gd name="connsiteX2" fmla="*/ 591866 w 897487"/>
                <a:gd name="connsiteY2" fmla="*/ 525959 h 951879"/>
                <a:gd name="connsiteX3" fmla="*/ 842075 w 897487"/>
                <a:gd name="connsiteY3" fmla="*/ 123450 h 951879"/>
                <a:gd name="connsiteX4" fmla="*/ 842075 w 897487"/>
                <a:gd name="connsiteY4" fmla="*/ 123450 h 951879"/>
                <a:gd name="connsiteX5" fmla="*/ 798560 w 897487"/>
                <a:gd name="connsiteY5" fmla="*/ 58178 h 951879"/>
                <a:gd name="connsiteX6" fmla="*/ 746887 w 897487"/>
                <a:gd name="connsiteY6" fmla="*/ 107132 h 951879"/>
                <a:gd name="connsiteX7" fmla="*/ 697933 w 897487"/>
                <a:gd name="connsiteY7" fmla="*/ 115291 h 951879"/>
                <a:gd name="connsiteX8" fmla="*/ 219273 w 897487"/>
                <a:gd name="connsiteY8" fmla="*/ 115291 h 951879"/>
                <a:gd name="connsiteX9" fmla="*/ 102328 w 897487"/>
                <a:gd name="connsiteY9" fmla="*/ 224077 h 951879"/>
                <a:gd name="connsiteX10" fmla="*/ 213834 w 897487"/>
                <a:gd name="connsiteY10" fmla="*/ 332863 h 951879"/>
                <a:gd name="connsiteX11" fmla="*/ 485800 w 897487"/>
                <a:gd name="connsiteY11" fmla="*/ 335583 h 951879"/>
                <a:gd name="connsiteX12" fmla="*/ 134964 w 897487"/>
                <a:gd name="connsiteY12" fmla="*/ 615708 h 951879"/>
                <a:gd name="connsiteX13" fmla="*/ 61533 w 897487"/>
                <a:gd name="connsiteY13" fmla="*/ 884953 h 951879"/>
                <a:gd name="connsiteX14" fmla="*/ 398771 w 897487"/>
                <a:gd name="connsiteY14" fmla="*/ 806083 h 951879"/>
                <a:gd name="connsiteX15" fmla="*/ 529314 w 897487"/>
                <a:gd name="connsiteY15" fmla="*/ 863196 h 951879"/>
                <a:gd name="connsiteX16" fmla="*/ 782242 w 897487"/>
                <a:gd name="connsiteY16" fmla="*/ 607549 h 951879"/>
                <a:gd name="connsiteX17" fmla="*/ 580988 w 897487"/>
                <a:gd name="connsiteY17" fmla="*/ 667381 h 951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7487" h="951879">
                  <a:moveTo>
                    <a:pt x="580988" y="667381"/>
                  </a:moveTo>
                  <a:lnTo>
                    <a:pt x="409649" y="667381"/>
                  </a:lnTo>
                  <a:cubicBezTo>
                    <a:pt x="423248" y="667381"/>
                    <a:pt x="548352" y="561314"/>
                    <a:pt x="591866" y="525959"/>
                  </a:cubicBezTo>
                  <a:cubicBezTo>
                    <a:pt x="700653" y="433491"/>
                    <a:pt x="899188" y="297508"/>
                    <a:pt x="842075" y="123450"/>
                  </a:cubicBezTo>
                  <a:lnTo>
                    <a:pt x="842075" y="123450"/>
                  </a:lnTo>
                  <a:cubicBezTo>
                    <a:pt x="831197" y="82655"/>
                    <a:pt x="798560" y="58178"/>
                    <a:pt x="798560" y="58178"/>
                  </a:cubicBezTo>
                  <a:cubicBezTo>
                    <a:pt x="798560" y="58178"/>
                    <a:pt x="787682" y="90814"/>
                    <a:pt x="746887" y="107132"/>
                  </a:cubicBezTo>
                  <a:cubicBezTo>
                    <a:pt x="730569" y="109852"/>
                    <a:pt x="714251" y="115291"/>
                    <a:pt x="697933" y="115291"/>
                  </a:cubicBezTo>
                  <a:cubicBezTo>
                    <a:pt x="684334" y="115291"/>
                    <a:pt x="219273" y="115291"/>
                    <a:pt x="219273" y="115291"/>
                  </a:cubicBezTo>
                  <a:cubicBezTo>
                    <a:pt x="156721" y="115291"/>
                    <a:pt x="105048" y="166964"/>
                    <a:pt x="102328" y="224077"/>
                  </a:cubicBezTo>
                  <a:cubicBezTo>
                    <a:pt x="102328" y="283910"/>
                    <a:pt x="151282" y="332863"/>
                    <a:pt x="213834" y="332863"/>
                  </a:cubicBezTo>
                  <a:lnTo>
                    <a:pt x="485800" y="335583"/>
                  </a:lnTo>
                  <a:cubicBezTo>
                    <a:pt x="360695" y="406294"/>
                    <a:pt x="211114" y="487884"/>
                    <a:pt x="134964" y="615708"/>
                  </a:cubicBezTo>
                  <a:cubicBezTo>
                    <a:pt x="91449" y="689138"/>
                    <a:pt x="45215" y="800644"/>
                    <a:pt x="61533" y="884953"/>
                  </a:cubicBezTo>
                  <a:cubicBezTo>
                    <a:pt x="121366" y="830560"/>
                    <a:pt x="279106" y="778887"/>
                    <a:pt x="398771" y="806083"/>
                  </a:cubicBezTo>
                  <a:cubicBezTo>
                    <a:pt x="445005" y="814242"/>
                    <a:pt x="491239" y="838719"/>
                    <a:pt x="529314" y="863196"/>
                  </a:cubicBezTo>
                  <a:cubicBezTo>
                    <a:pt x="755046" y="1004618"/>
                    <a:pt x="891029" y="727213"/>
                    <a:pt x="782242" y="607549"/>
                  </a:cubicBezTo>
                  <a:cubicBezTo>
                    <a:pt x="784962" y="607549"/>
                    <a:pt x="722410" y="667381"/>
                    <a:pt x="580988" y="66738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7F2BB29-4780-4E13-9447-551D7705D3EF}"/>
                </a:ext>
              </a:extLst>
            </p:cNvPr>
            <p:cNvSpPr/>
            <p:nvPr/>
          </p:nvSpPr>
          <p:spPr>
            <a:xfrm>
              <a:off x="2624650" y="1948442"/>
              <a:ext cx="1903761" cy="1577400"/>
            </a:xfrm>
            <a:custGeom>
              <a:avLst/>
              <a:gdLst>
                <a:gd name="connsiteX0" fmla="*/ 1559430 w 1903760"/>
                <a:gd name="connsiteY0" fmla="*/ 1165078 h 1577399"/>
                <a:gd name="connsiteX1" fmla="*/ 1369054 w 1903760"/>
                <a:gd name="connsiteY1" fmla="*/ 593950 h 1577399"/>
                <a:gd name="connsiteX2" fmla="*/ 1483279 w 1903760"/>
                <a:gd name="connsiteY2" fmla="*/ 126170 h 1577399"/>
                <a:gd name="connsiteX3" fmla="*/ 1311941 w 1903760"/>
                <a:gd name="connsiteY3" fmla="*/ 58178 h 1577399"/>
                <a:gd name="connsiteX4" fmla="*/ 1078050 w 1903760"/>
                <a:gd name="connsiteY4" fmla="*/ 205040 h 1577399"/>
                <a:gd name="connsiteX5" fmla="*/ 846879 w 1903760"/>
                <a:gd name="connsiteY5" fmla="*/ 523239 h 1577399"/>
                <a:gd name="connsiteX6" fmla="*/ 645624 w 1903760"/>
                <a:gd name="connsiteY6" fmla="*/ 210479 h 1577399"/>
                <a:gd name="connsiteX7" fmla="*/ 455248 w 1903760"/>
                <a:gd name="connsiteY7" fmla="*/ 63617 h 1577399"/>
                <a:gd name="connsiteX8" fmla="*/ 234956 w 1903760"/>
                <a:gd name="connsiteY8" fmla="*/ 137048 h 1577399"/>
                <a:gd name="connsiteX9" fmla="*/ 316546 w 1903760"/>
                <a:gd name="connsiteY9" fmla="*/ 588511 h 1577399"/>
                <a:gd name="connsiteX10" fmla="*/ 58178 w 1903760"/>
                <a:gd name="connsiteY10" fmla="*/ 1072610 h 1577399"/>
                <a:gd name="connsiteX11" fmla="*/ 474286 w 1903760"/>
                <a:gd name="connsiteY11" fmla="*/ 1020936 h 1577399"/>
                <a:gd name="connsiteX12" fmla="*/ 555876 w 1903760"/>
                <a:gd name="connsiteY12" fmla="*/ 572193 h 1577399"/>
                <a:gd name="connsiteX13" fmla="*/ 830561 w 1903760"/>
                <a:gd name="connsiteY13" fmla="*/ 993740 h 1577399"/>
                <a:gd name="connsiteX14" fmla="*/ 1140602 w 1903760"/>
                <a:gd name="connsiteY14" fmla="*/ 574913 h 1577399"/>
                <a:gd name="connsiteX15" fmla="*/ 1567589 w 1903760"/>
                <a:gd name="connsiteY15" fmla="*/ 1526792 h 1577399"/>
                <a:gd name="connsiteX16" fmla="*/ 1866751 w 1903760"/>
                <a:gd name="connsiteY16" fmla="*/ 1322818 h 1577399"/>
                <a:gd name="connsiteX17" fmla="*/ 1559430 w 1903760"/>
                <a:gd name="connsiteY17" fmla="*/ 1165078 h 157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03760" h="1577399">
                  <a:moveTo>
                    <a:pt x="1559430" y="1165078"/>
                  </a:moveTo>
                  <a:cubicBezTo>
                    <a:pt x="1420727" y="1012777"/>
                    <a:pt x="1377213" y="762569"/>
                    <a:pt x="1369054" y="593950"/>
                  </a:cubicBezTo>
                  <a:cubicBezTo>
                    <a:pt x="1360895" y="449809"/>
                    <a:pt x="1369054" y="199600"/>
                    <a:pt x="1483279" y="126170"/>
                  </a:cubicBezTo>
                  <a:cubicBezTo>
                    <a:pt x="1445204" y="77216"/>
                    <a:pt x="1369054" y="58178"/>
                    <a:pt x="1311941" y="58178"/>
                  </a:cubicBezTo>
                  <a:cubicBezTo>
                    <a:pt x="1184117" y="58178"/>
                    <a:pt x="1121565" y="142488"/>
                    <a:pt x="1078050" y="205040"/>
                  </a:cubicBezTo>
                  <a:cubicBezTo>
                    <a:pt x="1064452" y="224077"/>
                    <a:pt x="846879" y="523239"/>
                    <a:pt x="846879" y="523239"/>
                  </a:cubicBezTo>
                  <a:cubicBezTo>
                    <a:pt x="846879" y="523239"/>
                    <a:pt x="667382" y="243115"/>
                    <a:pt x="645624" y="210479"/>
                  </a:cubicBezTo>
                  <a:cubicBezTo>
                    <a:pt x="615708" y="164245"/>
                    <a:pt x="555876" y="77216"/>
                    <a:pt x="455248" y="63617"/>
                  </a:cubicBezTo>
                  <a:cubicBezTo>
                    <a:pt x="411734" y="58178"/>
                    <a:pt x="297508" y="52739"/>
                    <a:pt x="234956" y="137048"/>
                  </a:cubicBezTo>
                  <a:cubicBezTo>
                    <a:pt x="341023" y="221357"/>
                    <a:pt x="338303" y="438930"/>
                    <a:pt x="316546" y="588511"/>
                  </a:cubicBezTo>
                  <a:cubicBezTo>
                    <a:pt x="248554" y="1031815"/>
                    <a:pt x="58178" y="1072610"/>
                    <a:pt x="58178" y="1072610"/>
                  </a:cubicBezTo>
                  <a:cubicBezTo>
                    <a:pt x="156086" y="1333696"/>
                    <a:pt x="403575" y="1230350"/>
                    <a:pt x="474286" y="1020936"/>
                  </a:cubicBezTo>
                  <a:cubicBezTo>
                    <a:pt x="520520" y="884953"/>
                    <a:pt x="550436" y="713615"/>
                    <a:pt x="555876" y="572193"/>
                  </a:cubicBezTo>
                  <a:lnTo>
                    <a:pt x="830561" y="993740"/>
                  </a:lnTo>
                  <a:cubicBezTo>
                    <a:pt x="830561" y="993740"/>
                    <a:pt x="1140602" y="574913"/>
                    <a:pt x="1140602" y="574913"/>
                  </a:cubicBezTo>
                  <a:cubicBezTo>
                    <a:pt x="1088929" y="1314659"/>
                    <a:pt x="1344577" y="1526792"/>
                    <a:pt x="1567589" y="1526792"/>
                  </a:cubicBezTo>
                  <a:cubicBezTo>
                    <a:pt x="1790601" y="1526792"/>
                    <a:pt x="1866751" y="1322818"/>
                    <a:pt x="1866751" y="1322818"/>
                  </a:cubicBezTo>
                  <a:cubicBezTo>
                    <a:pt x="1744367" y="1314659"/>
                    <a:pt x="1641019" y="1252107"/>
                    <a:pt x="1559430" y="1165078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71254D5-4491-4E5C-A533-A0FDC183833D}"/>
                </a:ext>
              </a:extLst>
            </p:cNvPr>
            <p:cNvSpPr/>
            <p:nvPr/>
          </p:nvSpPr>
          <p:spPr>
            <a:xfrm>
              <a:off x="4792218" y="3234839"/>
              <a:ext cx="271966" cy="652717"/>
            </a:xfrm>
            <a:custGeom>
              <a:avLst/>
              <a:gdLst>
                <a:gd name="connsiteX0" fmla="*/ 88095 w 271965"/>
                <a:gd name="connsiteY0" fmla="*/ 120730 h 652717"/>
                <a:gd name="connsiteX1" fmla="*/ 93534 w 271965"/>
                <a:gd name="connsiteY1" fmla="*/ 153366 h 652717"/>
                <a:gd name="connsiteX2" fmla="*/ 93534 w 271965"/>
                <a:gd name="connsiteY2" fmla="*/ 544997 h 652717"/>
                <a:gd name="connsiteX3" fmla="*/ 156086 w 271965"/>
                <a:gd name="connsiteY3" fmla="*/ 604829 h 652717"/>
                <a:gd name="connsiteX4" fmla="*/ 221358 w 271965"/>
                <a:gd name="connsiteY4" fmla="*/ 544997 h 652717"/>
                <a:gd name="connsiteX5" fmla="*/ 221358 w 271965"/>
                <a:gd name="connsiteY5" fmla="*/ 194161 h 652717"/>
                <a:gd name="connsiteX6" fmla="*/ 210479 w 271965"/>
                <a:gd name="connsiteY6" fmla="*/ 109852 h 652717"/>
                <a:gd name="connsiteX7" fmla="*/ 118011 w 271965"/>
                <a:gd name="connsiteY7" fmla="*/ 58178 h 652717"/>
                <a:gd name="connsiteX8" fmla="*/ 58178 w 271965"/>
                <a:gd name="connsiteY8" fmla="*/ 88094 h 652717"/>
                <a:gd name="connsiteX9" fmla="*/ 88095 w 271965"/>
                <a:gd name="connsiteY9" fmla="*/ 120730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88095" y="120730"/>
                  </a:moveTo>
                  <a:cubicBezTo>
                    <a:pt x="90814" y="131609"/>
                    <a:pt x="90814" y="142487"/>
                    <a:pt x="93534" y="153366"/>
                  </a:cubicBezTo>
                  <a:cubicBezTo>
                    <a:pt x="93534" y="156086"/>
                    <a:pt x="93534" y="542277"/>
                    <a:pt x="93534" y="544997"/>
                  </a:cubicBezTo>
                  <a:cubicBezTo>
                    <a:pt x="93534" y="577632"/>
                    <a:pt x="123450" y="604829"/>
                    <a:pt x="156086" y="604829"/>
                  </a:cubicBezTo>
                  <a:cubicBezTo>
                    <a:pt x="188722" y="607548"/>
                    <a:pt x="221358" y="577632"/>
                    <a:pt x="221358" y="544997"/>
                  </a:cubicBezTo>
                  <a:cubicBezTo>
                    <a:pt x="221358" y="539557"/>
                    <a:pt x="221358" y="194161"/>
                    <a:pt x="221358" y="194161"/>
                  </a:cubicBezTo>
                  <a:cubicBezTo>
                    <a:pt x="221358" y="164245"/>
                    <a:pt x="224078" y="134329"/>
                    <a:pt x="210479" y="109852"/>
                  </a:cubicBezTo>
                  <a:cubicBezTo>
                    <a:pt x="196881" y="79935"/>
                    <a:pt x="158806" y="58178"/>
                    <a:pt x="118011" y="58178"/>
                  </a:cubicBezTo>
                  <a:cubicBezTo>
                    <a:pt x="79936" y="58178"/>
                    <a:pt x="58178" y="88094"/>
                    <a:pt x="58178" y="88094"/>
                  </a:cubicBezTo>
                  <a:cubicBezTo>
                    <a:pt x="58178" y="88094"/>
                    <a:pt x="77216" y="93534"/>
                    <a:pt x="88095" y="12073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A453BC8-0B36-4D4E-AC2E-A19401EAC3CD}"/>
                </a:ext>
              </a:extLst>
            </p:cNvPr>
            <p:cNvSpPr/>
            <p:nvPr/>
          </p:nvSpPr>
          <p:spPr>
            <a:xfrm>
              <a:off x="8751819" y="3234667"/>
              <a:ext cx="271966" cy="652717"/>
            </a:xfrm>
            <a:custGeom>
              <a:avLst/>
              <a:gdLst>
                <a:gd name="connsiteX0" fmla="*/ 191663 w 271965"/>
                <a:gd name="connsiteY0" fmla="*/ 542449 h 652717"/>
                <a:gd name="connsiteX1" fmla="*/ 186224 w 271965"/>
                <a:gd name="connsiteY1" fmla="*/ 509813 h 652717"/>
                <a:gd name="connsiteX2" fmla="*/ 186224 w 271965"/>
                <a:gd name="connsiteY2" fmla="*/ 118183 h 652717"/>
                <a:gd name="connsiteX3" fmla="*/ 123672 w 271965"/>
                <a:gd name="connsiteY3" fmla="*/ 58350 h 652717"/>
                <a:gd name="connsiteX4" fmla="*/ 58400 w 271965"/>
                <a:gd name="connsiteY4" fmla="*/ 118183 h 652717"/>
                <a:gd name="connsiteX5" fmla="*/ 58400 w 271965"/>
                <a:gd name="connsiteY5" fmla="*/ 469018 h 652717"/>
                <a:gd name="connsiteX6" fmla="*/ 69279 w 271965"/>
                <a:gd name="connsiteY6" fmla="*/ 553328 h 652717"/>
                <a:gd name="connsiteX7" fmla="*/ 161747 w 271965"/>
                <a:gd name="connsiteY7" fmla="*/ 605001 h 652717"/>
                <a:gd name="connsiteX8" fmla="*/ 221580 w 271965"/>
                <a:gd name="connsiteY8" fmla="*/ 575085 h 652717"/>
                <a:gd name="connsiteX9" fmla="*/ 191663 w 271965"/>
                <a:gd name="connsiteY9" fmla="*/ 542449 h 65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5" h="652717">
                  <a:moveTo>
                    <a:pt x="191663" y="542449"/>
                  </a:moveTo>
                  <a:cubicBezTo>
                    <a:pt x="188944" y="531570"/>
                    <a:pt x="186224" y="520692"/>
                    <a:pt x="186224" y="509813"/>
                  </a:cubicBezTo>
                  <a:cubicBezTo>
                    <a:pt x="186224" y="507093"/>
                    <a:pt x="186224" y="120902"/>
                    <a:pt x="186224" y="118183"/>
                  </a:cubicBezTo>
                  <a:cubicBezTo>
                    <a:pt x="186224" y="85547"/>
                    <a:pt x="156308" y="58350"/>
                    <a:pt x="123672" y="58350"/>
                  </a:cubicBezTo>
                  <a:cubicBezTo>
                    <a:pt x="91036" y="55631"/>
                    <a:pt x="58400" y="85547"/>
                    <a:pt x="58400" y="118183"/>
                  </a:cubicBezTo>
                  <a:cubicBezTo>
                    <a:pt x="58400" y="123622"/>
                    <a:pt x="58400" y="469018"/>
                    <a:pt x="58400" y="469018"/>
                  </a:cubicBezTo>
                  <a:cubicBezTo>
                    <a:pt x="58400" y="498934"/>
                    <a:pt x="55680" y="528851"/>
                    <a:pt x="69279" y="553328"/>
                  </a:cubicBezTo>
                  <a:cubicBezTo>
                    <a:pt x="82877" y="583244"/>
                    <a:pt x="120953" y="605001"/>
                    <a:pt x="161747" y="605001"/>
                  </a:cubicBezTo>
                  <a:cubicBezTo>
                    <a:pt x="199822" y="605001"/>
                    <a:pt x="221580" y="575085"/>
                    <a:pt x="221580" y="575085"/>
                  </a:cubicBezTo>
                  <a:cubicBezTo>
                    <a:pt x="221580" y="575085"/>
                    <a:pt x="202542" y="566926"/>
                    <a:pt x="191663" y="54244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17E3687-21BC-4B66-82A1-9652DB0C0A88}"/>
                </a:ext>
              </a:extLst>
            </p:cNvPr>
            <p:cNvSpPr/>
            <p:nvPr/>
          </p:nvSpPr>
          <p:spPr>
            <a:xfrm>
              <a:off x="6320666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3 w 435145"/>
                <a:gd name="connsiteY1" fmla="*/ 148115 h 462341"/>
                <a:gd name="connsiteX2" fmla="*/ 186003 w 435145"/>
                <a:gd name="connsiteY2" fmla="*/ 148115 h 462341"/>
                <a:gd name="connsiteX3" fmla="*/ 186003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3 w 435145"/>
                <a:gd name="connsiteY8" fmla="*/ 362967 h 462341"/>
                <a:gd name="connsiteX9" fmla="*/ 186003 w 435145"/>
                <a:gd name="connsiteY9" fmla="*/ 213386 h 462341"/>
                <a:gd name="connsiteX10" fmla="*/ 186003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3" y="148115"/>
                  </a:cubicBezTo>
                  <a:lnTo>
                    <a:pt x="186003" y="148115"/>
                  </a:lnTo>
                  <a:cubicBezTo>
                    <a:pt x="186003" y="129077"/>
                    <a:pt x="186003" y="115479"/>
                    <a:pt x="186003" y="115479"/>
                  </a:cubicBezTo>
                  <a:cubicBezTo>
                    <a:pt x="186003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3" y="395603"/>
                    <a:pt x="186003" y="362967"/>
                  </a:cubicBezTo>
                  <a:cubicBezTo>
                    <a:pt x="186003" y="360248"/>
                    <a:pt x="186003" y="281378"/>
                    <a:pt x="186003" y="213386"/>
                  </a:cubicBezTo>
                  <a:lnTo>
                    <a:pt x="186003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725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7E08B6C-E100-4F26-B629-3732E3E024EC}"/>
                </a:ext>
              </a:extLst>
            </p:cNvPr>
            <p:cNvSpPr/>
            <p:nvPr/>
          </p:nvSpPr>
          <p:spPr>
            <a:xfrm>
              <a:off x="7960620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5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7F095C42-829F-4A42-936F-5E5F8E797CAC}"/>
                </a:ext>
              </a:extLst>
            </p:cNvPr>
            <p:cNvSpPr/>
            <p:nvPr/>
          </p:nvSpPr>
          <p:spPr>
            <a:xfrm>
              <a:off x="5020669" y="3416868"/>
              <a:ext cx="435145" cy="462341"/>
            </a:xfrm>
            <a:custGeom>
              <a:avLst/>
              <a:gdLst>
                <a:gd name="connsiteX0" fmla="*/ 302948 w 435145"/>
                <a:gd name="connsiteY0" fmla="*/ 74684 h 462341"/>
                <a:gd name="connsiteX1" fmla="*/ 186002 w 435145"/>
                <a:gd name="connsiteY1" fmla="*/ 148115 h 462341"/>
                <a:gd name="connsiteX2" fmla="*/ 186002 w 435145"/>
                <a:gd name="connsiteY2" fmla="*/ 148115 h 462341"/>
                <a:gd name="connsiteX3" fmla="*/ 186002 w 435145"/>
                <a:gd name="connsiteY3" fmla="*/ 115479 h 462341"/>
                <a:gd name="connsiteX4" fmla="*/ 123450 w 435145"/>
                <a:gd name="connsiteY4" fmla="*/ 58366 h 462341"/>
                <a:gd name="connsiteX5" fmla="*/ 58178 w 435145"/>
                <a:gd name="connsiteY5" fmla="*/ 115479 h 462341"/>
                <a:gd name="connsiteX6" fmla="*/ 58178 w 435145"/>
                <a:gd name="connsiteY6" fmla="*/ 362967 h 462341"/>
                <a:gd name="connsiteX7" fmla="*/ 120730 w 435145"/>
                <a:gd name="connsiteY7" fmla="*/ 422800 h 462341"/>
                <a:gd name="connsiteX8" fmla="*/ 186002 w 435145"/>
                <a:gd name="connsiteY8" fmla="*/ 362967 h 462341"/>
                <a:gd name="connsiteX9" fmla="*/ 186002 w 435145"/>
                <a:gd name="connsiteY9" fmla="*/ 213386 h 462341"/>
                <a:gd name="connsiteX10" fmla="*/ 186002 w 435145"/>
                <a:gd name="connsiteY10" fmla="*/ 213386 h 462341"/>
                <a:gd name="connsiteX11" fmla="*/ 229517 w 435145"/>
                <a:gd name="connsiteY11" fmla="*/ 161713 h 462341"/>
                <a:gd name="connsiteX12" fmla="*/ 259433 w 435145"/>
                <a:gd name="connsiteY12" fmla="*/ 194349 h 462341"/>
                <a:gd name="connsiteX13" fmla="*/ 259433 w 435145"/>
                <a:gd name="connsiteY13" fmla="*/ 362967 h 462341"/>
                <a:gd name="connsiteX14" fmla="*/ 321985 w 435145"/>
                <a:gd name="connsiteY14" fmla="*/ 422800 h 462341"/>
                <a:gd name="connsiteX15" fmla="*/ 387257 w 435145"/>
                <a:gd name="connsiteY15" fmla="*/ 362967 h 462341"/>
                <a:gd name="connsiteX16" fmla="*/ 387257 w 435145"/>
                <a:gd name="connsiteY16" fmla="*/ 273219 h 462341"/>
                <a:gd name="connsiteX17" fmla="*/ 302948 w 435145"/>
                <a:gd name="connsiteY17" fmla="*/ 74684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5145" h="462341">
                  <a:moveTo>
                    <a:pt x="302948" y="74684"/>
                  </a:moveTo>
                  <a:cubicBezTo>
                    <a:pt x="234956" y="74684"/>
                    <a:pt x="196881" y="131797"/>
                    <a:pt x="186002" y="148115"/>
                  </a:cubicBezTo>
                  <a:lnTo>
                    <a:pt x="186002" y="148115"/>
                  </a:lnTo>
                  <a:cubicBezTo>
                    <a:pt x="186002" y="129077"/>
                    <a:pt x="186002" y="115479"/>
                    <a:pt x="186002" y="115479"/>
                  </a:cubicBezTo>
                  <a:cubicBezTo>
                    <a:pt x="186002" y="82843"/>
                    <a:pt x="156086" y="58366"/>
                    <a:pt x="123450" y="58366"/>
                  </a:cubicBezTo>
                  <a:cubicBezTo>
                    <a:pt x="90814" y="55646"/>
                    <a:pt x="58178" y="82843"/>
                    <a:pt x="58178" y="115479"/>
                  </a:cubicBezTo>
                  <a:cubicBezTo>
                    <a:pt x="58178" y="120918"/>
                    <a:pt x="58178" y="360248"/>
                    <a:pt x="58178" y="362967"/>
                  </a:cubicBezTo>
                  <a:cubicBezTo>
                    <a:pt x="58178" y="395603"/>
                    <a:pt x="88094" y="422800"/>
                    <a:pt x="120730" y="422800"/>
                  </a:cubicBezTo>
                  <a:cubicBezTo>
                    <a:pt x="153366" y="425519"/>
                    <a:pt x="186002" y="395603"/>
                    <a:pt x="186002" y="362967"/>
                  </a:cubicBezTo>
                  <a:cubicBezTo>
                    <a:pt x="186002" y="360248"/>
                    <a:pt x="186002" y="281378"/>
                    <a:pt x="186002" y="213386"/>
                  </a:cubicBezTo>
                  <a:lnTo>
                    <a:pt x="186002" y="213386"/>
                  </a:lnTo>
                  <a:cubicBezTo>
                    <a:pt x="191442" y="186190"/>
                    <a:pt x="205040" y="161713"/>
                    <a:pt x="229517" y="161713"/>
                  </a:cubicBezTo>
                  <a:cubicBezTo>
                    <a:pt x="259433" y="161713"/>
                    <a:pt x="259433" y="194349"/>
                    <a:pt x="259433" y="194349"/>
                  </a:cubicBezTo>
                  <a:lnTo>
                    <a:pt x="259433" y="362967"/>
                  </a:lnTo>
                  <a:cubicBezTo>
                    <a:pt x="259433" y="395603"/>
                    <a:pt x="289349" y="422800"/>
                    <a:pt x="321985" y="422800"/>
                  </a:cubicBezTo>
                  <a:cubicBezTo>
                    <a:pt x="354621" y="425519"/>
                    <a:pt x="387257" y="395603"/>
                    <a:pt x="387257" y="362967"/>
                  </a:cubicBezTo>
                  <a:lnTo>
                    <a:pt x="387257" y="273219"/>
                  </a:lnTo>
                  <a:cubicBezTo>
                    <a:pt x="384537" y="183470"/>
                    <a:pt x="395416" y="71964"/>
                    <a:pt x="302948" y="74684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00D3CA62-E398-459B-A561-78BE2297E0B2}"/>
                </a:ext>
              </a:extLst>
            </p:cNvPr>
            <p:cNvSpPr/>
            <p:nvPr/>
          </p:nvSpPr>
          <p:spPr>
            <a:xfrm>
              <a:off x="7616289" y="3475234"/>
              <a:ext cx="364436" cy="364434"/>
            </a:xfrm>
            <a:custGeom>
              <a:avLst/>
              <a:gdLst>
                <a:gd name="connsiteX0" fmla="*/ 182218 w 364436"/>
                <a:gd name="connsiteY0" fmla="*/ 73431 h 364434"/>
                <a:gd name="connsiteX1" fmla="*/ 130544 w 364436"/>
                <a:gd name="connsiteY1" fmla="*/ 179499 h 364434"/>
                <a:gd name="connsiteX2" fmla="*/ 182218 w 364436"/>
                <a:gd name="connsiteY2" fmla="*/ 285565 h 364434"/>
                <a:gd name="connsiteX3" fmla="*/ 233891 w 364436"/>
                <a:gd name="connsiteY3" fmla="*/ 179499 h 364434"/>
                <a:gd name="connsiteX4" fmla="*/ 182218 w 364436"/>
                <a:gd name="connsiteY4" fmla="*/ 73431 h 364434"/>
                <a:gd name="connsiteX5" fmla="*/ 182219 w 364436"/>
                <a:gd name="connsiteY5" fmla="*/ 0 h 364434"/>
                <a:gd name="connsiteX6" fmla="*/ 364436 w 364436"/>
                <a:gd name="connsiteY6" fmla="*/ 182217 h 364434"/>
                <a:gd name="connsiteX7" fmla="*/ 182219 w 364436"/>
                <a:gd name="connsiteY7" fmla="*/ 364434 h 364434"/>
                <a:gd name="connsiteX8" fmla="*/ 0 w 364436"/>
                <a:gd name="connsiteY8" fmla="*/ 182217 h 364434"/>
                <a:gd name="connsiteX9" fmla="*/ 182219 w 364436"/>
                <a:gd name="connsiteY9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4436" h="364434">
                  <a:moveTo>
                    <a:pt x="182218" y="73431"/>
                  </a:moveTo>
                  <a:cubicBezTo>
                    <a:pt x="152302" y="76151"/>
                    <a:pt x="130544" y="114226"/>
                    <a:pt x="130544" y="179499"/>
                  </a:cubicBezTo>
                  <a:cubicBezTo>
                    <a:pt x="130544" y="244770"/>
                    <a:pt x="146862" y="285565"/>
                    <a:pt x="182218" y="285565"/>
                  </a:cubicBezTo>
                  <a:cubicBezTo>
                    <a:pt x="217573" y="285565"/>
                    <a:pt x="233891" y="247490"/>
                    <a:pt x="233891" y="179499"/>
                  </a:cubicBezTo>
                  <a:cubicBezTo>
                    <a:pt x="233891" y="114226"/>
                    <a:pt x="212134" y="73431"/>
                    <a:pt x="182218" y="73431"/>
                  </a:cubicBezTo>
                  <a:close/>
                  <a:moveTo>
                    <a:pt x="182219" y="0"/>
                  </a:moveTo>
                  <a:cubicBezTo>
                    <a:pt x="282846" y="0"/>
                    <a:pt x="364436" y="81590"/>
                    <a:pt x="364436" y="182217"/>
                  </a:cubicBezTo>
                  <a:cubicBezTo>
                    <a:pt x="364436" y="282844"/>
                    <a:pt x="282846" y="364434"/>
                    <a:pt x="182219" y="364434"/>
                  </a:cubicBezTo>
                  <a:cubicBezTo>
                    <a:pt x="81591" y="364434"/>
                    <a:pt x="0" y="282844"/>
                    <a:pt x="0" y="182217"/>
                  </a:cubicBezTo>
                  <a:cubicBezTo>
                    <a:pt x="0" y="81590"/>
                    <a:pt x="81591" y="0"/>
                    <a:pt x="18221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495AE45-21CF-4D1B-B9A4-3378621E31F8}"/>
                </a:ext>
              </a:extLst>
            </p:cNvPr>
            <p:cNvSpPr/>
            <p:nvPr/>
          </p:nvSpPr>
          <p:spPr>
            <a:xfrm>
              <a:off x="6743101" y="3464184"/>
              <a:ext cx="372773" cy="375657"/>
            </a:xfrm>
            <a:custGeom>
              <a:avLst/>
              <a:gdLst>
                <a:gd name="connsiteX0" fmla="*/ 176958 w 372773"/>
                <a:gd name="connsiteY0" fmla="*/ 98080 h 375657"/>
                <a:gd name="connsiteX1" fmla="*/ 125284 w 372773"/>
                <a:gd name="connsiteY1" fmla="*/ 190548 h 375657"/>
                <a:gd name="connsiteX2" fmla="*/ 176958 w 372773"/>
                <a:gd name="connsiteY2" fmla="*/ 283017 h 375657"/>
                <a:gd name="connsiteX3" fmla="*/ 228631 w 372773"/>
                <a:gd name="connsiteY3" fmla="*/ 190548 h 375657"/>
                <a:gd name="connsiteX4" fmla="*/ 176958 w 372773"/>
                <a:gd name="connsiteY4" fmla="*/ 98080 h 375657"/>
                <a:gd name="connsiteX5" fmla="*/ 307501 w 372773"/>
                <a:gd name="connsiteY5" fmla="*/ 172 h 375657"/>
                <a:gd name="connsiteX6" fmla="*/ 372773 w 372773"/>
                <a:gd name="connsiteY6" fmla="*/ 62724 h 375657"/>
                <a:gd name="connsiteX7" fmla="*/ 372773 w 372773"/>
                <a:gd name="connsiteY7" fmla="*/ 312934 h 375657"/>
                <a:gd name="connsiteX8" fmla="*/ 302061 w 372773"/>
                <a:gd name="connsiteY8" fmla="*/ 375486 h 375657"/>
                <a:gd name="connsiteX9" fmla="*/ 239509 w 372773"/>
                <a:gd name="connsiteY9" fmla="*/ 326532 h 375657"/>
                <a:gd name="connsiteX10" fmla="*/ 179677 w 372773"/>
                <a:gd name="connsiteY10" fmla="*/ 370046 h 375657"/>
                <a:gd name="connsiteX11" fmla="*/ 70890 w 372773"/>
                <a:gd name="connsiteY11" fmla="*/ 353728 h 375657"/>
                <a:gd name="connsiteX12" fmla="*/ 128003 w 372773"/>
                <a:gd name="connsiteY12" fmla="*/ 11051 h 375657"/>
                <a:gd name="connsiteX13" fmla="*/ 236790 w 372773"/>
                <a:gd name="connsiteY13" fmla="*/ 70883 h 375657"/>
                <a:gd name="connsiteX14" fmla="*/ 236790 w 372773"/>
                <a:gd name="connsiteY14" fmla="*/ 62724 h 375657"/>
                <a:gd name="connsiteX15" fmla="*/ 307501 w 372773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3" h="375657">
                  <a:moveTo>
                    <a:pt x="176958" y="98080"/>
                  </a:moveTo>
                  <a:cubicBezTo>
                    <a:pt x="147042" y="100800"/>
                    <a:pt x="125284" y="133436"/>
                    <a:pt x="125284" y="190548"/>
                  </a:cubicBezTo>
                  <a:cubicBezTo>
                    <a:pt x="125284" y="247661"/>
                    <a:pt x="141602" y="283017"/>
                    <a:pt x="176958" y="283017"/>
                  </a:cubicBezTo>
                  <a:cubicBezTo>
                    <a:pt x="212314" y="283017"/>
                    <a:pt x="228631" y="247661"/>
                    <a:pt x="228631" y="190548"/>
                  </a:cubicBezTo>
                  <a:cubicBezTo>
                    <a:pt x="228631" y="133436"/>
                    <a:pt x="206874" y="98080"/>
                    <a:pt x="176958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3" y="30088"/>
                    <a:pt x="372773" y="62724"/>
                  </a:cubicBezTo>
                  <a:cubicBezTo>
                    <a:pt x="372773" y="65444"/>
                    <a:pt x="372773" y="307494"/>
                    <a:pt x="372773" y="312934"/>
                  </a:cubicBezTo>
                  <a:cubicBezTo>
                    <a:pt x="370053" y="348289"/>
                    <a:pt x="337417" y="378205"/>
                    <a:pt x="302061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5911" y="348289"/>
                    <a:pt x="198715" y="364607"/>
                    <a:pt x="179677" y="370046"/>
                  </a:cubicBezTo>
                  <a:cubicBezTo>
                    <a:pt x="147041" y="378205"/>
                    <a:pt x="100807" y="372766"/>
                    <a:pt x="70890" y="353728"/>
                  </a:cubicBezTo>
                  <a:cubicBezTo>
                    <a:pt x="-35177" y="285737"/>
                    <a:pt x="-27018" y="11051"/>
                    <a:pt x="128003" y="11051"/>
                  </a:cubicBezTo>
                  <a:cubicBezTo>
                    <a:pt x="185116" y="11051"/>
                    <a:pt x="220471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C216FC84-D2D6-4A19-8ECF-E28FA6872E1A}"/>
                </a:ext>
              </a:extLst>
            </p:cNvPr>
            <p:cNvSpPr/>
            <p:nvPr/>
          </p:nvSpPr>
          <p:spPr>
            <a:xfrm>
              <a:off x="8380335" y="3464184"/>
              <a:ext cx="372772" cy="375657"/>
            </a:xfrm>
            <a:custGeom>
              <a:avLst/>
              <a:gdLst>
                <a:gd name="connsiteX0" fmla="*/ 176957 w 372772"/>
                <a:gd name="connsiteY0" fmla="*/ 98080 h 375657"/>
                <a:gd name="connsiteX1" fmla="*/ 125282 w 372772"/>
                <a:gd name="connsiteY1" fmla="*/ 190548 h 375657"/>
                <a:gd name="connsiteX2" fmla="*/ 176957 w 372772"/>
                <a:gd name="connsiteY2" fmla="*/ 283017 h 375657"/>
                <a:gd name="connsiteX3" fmla="*/ 228630 w 372772"/>
                <a:gd name="connsiteY3" fmla="*/ 190548 h 375657"/>
                <a:gd name="connsiteX4" fmla="*/ 176957 w 372772"/>
                <a:gd name="connsiteY4" fmla="*/ 98080 h 375657"/>
                <a:gd name="connsiteX5" fmla="*/ 307501 w 372772"/>
                <a:gd name="connsiteY5" fmla="*/ 172 h 375657"/>
                <a:gd name="connsiteX6" fmla="*/ 372772 w 372772"/>
                <a:gd name="connsiteY6" fmla="*/ 62724 h 375657"/>
                <a:gd name="connsiteX7" fmla="*/ 372772 w 372772"/>
                <a:gd name="connsiteY7" fmla="*/ 312934 h 375657"/>
                <a:gd name="connsiteX8" fmla="*/ 302062 w 372772"/>
                <a:gd name="connsiteY8" fmla="*/ 375486 h 375657"/>
                <a:gd name="connsiteX9" fmla="*/ 239509 w 372772"/>
                <a:gd name="connsiteY9" fmla="*/ 326532 h 375657"/>
                <a:gd name="connsiteX10" fmla="*/ 179677 w 372772"/>
                <a:gd name="connsiteY10" fmla="*/ 370046 h 375657"/>
                <a:gd name="connsiteX11" fmla="*/ 70890 w 372772"/>
                <a:gd name="connsiteY11" fmla="*/ 353728 h 375657"/>
                <a:gd name="connsiteX12" fmla="*/ 128002 w 372772"/>
                <a:gd name="connsiteY12" fmla="*/ 11051 h 375657"/>
                <a:gd name="connsiteX13" fmla="*/ 236790 w 372772"/>
                <a:gd name="connsiteY13" fmla="*/ 70883 h 375657"/>
                <a:gd name="connsiteX14" fmla="*/ 236790 w 372772"/>
                <a:gd name="connsiteY14" fmla="*/ 62724 h 375657"/>
                <a:gd name="connsiteX15" fmla="*/ 307501 w 372772"/>
                <a:gd name="connsiteY15" fmla="*/ 172 h 375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772" h="375657">
                  <a:moveTo>
                    <a:pt x="176957" y="98080"/>
                  </a:moveTo>
                  <a:cubicBezTo>
                    <a:pt x="147039" y="100800"/>
                    <a:pt x="125282" y="133436"/>
                    <a:pt x="125282" y="190548"/>
                  </a:cubicBezTo>
                  <a:cubicBezTo>
                    <a:pt x="125282" y="247661"/>
                    <a:pt x="141600" y="283017"/>
                    <a:pt x="176957" y="283017"/>
                  </a:cubicBezTo>
                  <a:cubicBezTo>
                    <a:pt x="212312" y="283017"/>
                    <a:pt x="228630" y="247661"/>
                    <a:pt x="228630" y="190548"/>
                  </a:cubicBezTo>
                  <a:cubicBezTo>
                    <a:pt x="228630" y="133436"/>
                    <a:pt x="206873" y="98080"/>
                    <a:pt x="176957" y="98080"/>
                  </a:cubicBezTo>
                  <a:close/>
                  <a:moveTo>
                    <a:pt x="307501" y="172"/>
                  </a:moveTo>
                  <a:cubicBezTo>
                    <a:pt x="340137" y="172"/>
                    <a:pt x="372772" y="30088"/>
                    <a:pt x="372772" y="62724"/>
                  </a:cubicBezTo>
                  <a:cubicBezTo>
                    <a:pt x="372772" y="65444"/>
                    <a:pt x="372772" y="307494"/>
                    <a:pt x="372772" y="312934"/>
                  </a:cubicBezTo>
                  <a:cubicBezTo>
                    <a:pt x="370053" y="348289"/>
                    <a:pt x="337417" y="378205"/>
                    <a:pt x="302062" y="375486"/>
                  </a:cubicBezTo>
                  <a:cubicBezTo>
                    <a:pt x="274865" y="372766"/>
                    <a:pt x="247668" y="353728"/>
                    <a:pt x="239509" y="326532"/>
                  </a:cubicBezTo>
                  <a:cubicBezTo>
                    <a:pt x="228630" y="348289"/>
                    <a:pt x="198714" y="364607"/>
                    <a:pt x="179677" y="370046"/>
                  </a:cubicBezTo>
                  <a:cubicBezTo>
                    <a:pt x="147040" y="378205"/>
                    <a:pt x="100806" y="372766"/>
                    <a:pt x="70890" y="353728"/>
                  </a:cubicBezTo>
                  <a:cubicBezTo>
                    <a:pt x="-35177" y="285737"/>
                    <a:pt x="-27018" y="11051"/>
                    <a:pt x="128002" y="11051"/>
                  </a:cubicBezTo>
                  <a:cubicBezTo>
                    <a:pt x="185116" y="11051"/>
                    <a:pt x="220472" y="49126"/>
                    <a:pt x="236790" y="70883"/>
                  </a:cubicBezTo>
                  <a:cubicBezTo>
                    <a:pt x="236790" y="70883"/>
                    <a:pt x="236790" y="65444"/>
                    <a:pt x="236790" y="62724"/>
                  </a:cubicBezTo>
                  <a:cubicBezTo>
                    <a:pt x="239509" y="27369"/>
                    <a:pt x="272145" y="-2547"/>
                    <a:pt x="307501" y="172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064D8E5A-0B60-43A6-9CB4-0637AD08F72C}"/>
                </a:ext>
              </a:extLst>
            </p:cNvPr>
            <p:cNvSpPr/>
            <p:nvPr/>
          </p:nvSpPr>
          <p:spPr>
            <a:xfrm>
              <a:off x="7389492" y="3444253"/>
              <a:ext cx="217573" cy="435145"/>
            </a:xfrm>
            <a:custGeom>
              <a:avLst/>
              <a:gdLst>
                <a:gd name="connsiteX0" fmla="*/ 186002 w 217572"/>
                <a:gd name="connsiteY0" fmla="*/ 118011 h 435144"/>
                <a:gd name="connsiteX1" fmla="*/ 128890 w 217572"/>
                <a:gd name="connsiteY1" fmla="*/ 58178 h 435144"/>
                <a:gd name="connsiteX2" fmla="*/ 123450 w 217572"/>
                <a:gd name="connsiteY2" fmla="*/ 58178 h 435144"/>
                <a:gd name="connsiteX3" fmla="*/ 58178 w 217572"/>
                <a:gd name="connsiteY3" fmla="*/ 115291 h 435144"/>
                <a:gd name="connsiteX4" fmla="*/ 58178 w 217572"/>
                <a:gd name="connsiteY4" fmla="*/ 232236 h 435144"/>
                <a:gd name="connsiteX5" fmla="*/ 58178 w 217572"/>
                <a:gd name="connsiteY5" fmla="*/ 232236 h 435144"/>
                <a:gd name="connsiteX6" fmla="*/ 58178 w 217572"/>
                <a:gd name="connsiteY6" fmla="*/ 335583 h 435144"/>
                <a:gd name="connsiteX7" fmla="*/ 115291 w 217572"/>
                <a:gd name="connsiteY7" fmla="*/ 395415 h 435144"/>
                <a:gd name="connsiteX8" fmla="*/ 120730 w 217572"/>
                <a:gd name="connsiteY8" fmla="*/ 395415 h 435144"/>
                <a:gd name="connsiteX9" fmla="*/ 186002 w 217572"/>
                <a:gd name="connsiteY9" fmla="*/ 338303 h 435144"/>
                <a:gd name="connsiteX10" fmla="*/ 186002 w 217572"/>
                <a:gd name="connsiteY10" fmla="*/ 240395 h 435144"/>
                <a:gd name="connsiteX11" fmla="*/ 186002 w 217572"/>
                <a:gd name="connsiteY11" fmla="*/ 240395 h 435144"/>
                <a:gd name="connsiteX12" fmla="*/ 186002 w 217572"/>
                <a:gd name="connsiteY12" fmla="*/ 118011 h 435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572" h="435144">
                  <a:moveTo>
                    <a:pt x="186002" y="118011"/>
                  </a:moveTo>
                  <a:cubicBezTo>
                    <a:pt x="183283" y="85375"/>
                    <a:pt x="158806" y="60898"/>
                    <a:pt x="128890" y="58178"/>
                  </a:cubicBezTo>
                  <a:cubicBezTo>
                    <a:pt x="126170" y="58178"/>
                    <a:pt x="126170" y="58178"/>
                    <a:pt x="123450" y="58178"/>
                  </a:cubicBezTo>
                  <a:cubicBezTo>
                    <a:pt x="96254" y="58178"/>
                    <a:pt x="58178" y="82655"/>
                    <a:pt x="58178" y="115291"/>
                  </a:cubicBezTo>
                  <a:lnTo>
                    <a:pt x="58178" y="232236"/>
                  </a:lnTo>
                  <a:lnTo>
                    <a:pt x="58178" y="232236"/>
                  </a:lnTo>
                  <a:cubicBezTo>
                    <a:pt x="58178" y="270311"/>
                    <a:pt x="58178" y="335583"/>
                    <a:pt x="58178" y="335583"/>
                  </a:cubicBezTo>
                  <a:cubicBezTo>
                    <a:pt x="60898" y="368219"/>
                    <a:pt x="85375" y="392696"/>
                    <a:pt x="115291" y="395415"/>
                  </a:cubicBezTo>
                  <a:cubicBezTo>
                    <a:pt x="118011" y="395415"/>
                    <a:pt x="118011" y="395415"/>
                    <a:pt x="120730" y="395415"/>
                  </a:cubicBezTo>
                  <a:cubicBezTo>
                    <a:pt x="147927" y="395415"/>
                    <a:pt x="186002" y="370938"/>
                    <a:pt x="186002" y="338303"/>
                  </a:cubicBezTo>
                  <a:lnTo>
                    <a:pt x="186002" y="240395"/>
                  </a:lnTo>
                  <a:lnTo>
                    <a:pt x="186002" y="240395"/>
                  </a:lnTo>
                  <a:cubicBezTo>
                    <a:pt x="186002" y="202320"/>
                    <a:pt x="186002" y="118011"/>
                    <a:pt x="186002" y="11801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ADC8310-343B-4477-9D7F-D6D4956A7823}"/>
                </a:ext>
              </a:extLst>
            </p:cNvPr>
            <p:cNvSpPr/>
            <p:nvPr/>
          </p:nvSpPr>
          <p:spPr>
            <a:xfrm>
              <a:off x="7392212" y="3280901"/>
              <a:ext cx="217573" cy="217572"/>
            </a:xfrm>
            <a:custGeom>
              <a:avLst/>
              <a:gdLst>
                <a:gd name="connsiteX0" fmla="*/ 183282 w 217572"/>
                <a:gd name="connsiteY0" fmla="*/ 120902 h 217572"/>
                <a:gd name="connsiteX1" fmla="*/ 120730 w 217572"/>
                <a:gd name="connsiteY1" fmla="*/ 183454 h 217572"/>
                <a:gd name="connsiteX2" fmla="*/ 58178 w 217572"/>
                <a:gd name="connsiteY2" fmla="*/ 120902 h 217572"/>
                <a:gd name="connsiteX3" fmla="*/ 120730 w 217572"/>
                <a:gd name="connsiteY3" fmla="*/ 58350 h 217572"/>
                <a:gd name="connsiteX4" fmla="*/ 183282 w 217572"/>
                <a:gd name="connsiteY4" fmla="*/ 120902 h 21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7572" h="217572">
                  <a:moveTo>
                    <a:pt x="183282" y="120902"/>
                  </a:moveTo>
                  <a:cubicBezTo>
                    <a:pt x="183282" y="156258"/>
                    <a:pt x="156086" y="183454"/>
                    <a:pt x="120730" y="183454"/>
                  </a:cubicBezTo>
                  <a:cubicBezTo>
                    <a:pt x="85375" y="183454"/>
                    <a:pt x="58178" y="156258"/>
                    <a:pt x="58178" y="120902"/>
                  </a:cubicBezTo>
                  <a:cubicBezTo>
                    <a:pt x="58178" y="85547"/>
                    <a:pt x="85375" y="58350"/>
                    <a:pt x="120730" y="58350"/>
                  </a:cubicBezTo>
                  <a:cubicBezTo>
                    <a:pt x="153366" y="55630"/>
                    <a:pt x="183282" y="85547"/>
                    <a:pt x="183282" y="120902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8FAAD271-016E-4F1D-8EF6-91D222D38060}"/>
                </a:ext>
              </a:extLst>
            </p:cNvPr>
            <p:cNvSpPr/>
            <p:nvPr/>
          </p:nvSpPr>
          <p:spPr>
            <a:xfrm>
              <a:off x="6005186" y="3416884"/>
              <a:ext cx="380752" cy="462341"/>
            </a:xfrm>
            <a:custGeom>
              <a:avLst/>
              <a:gdLst>
                <a:gd name="connsiteX0" fmla="*/ 270312 w 380752"/>
                <a:gd name="connsiteY0" fmla="*/ 69229 h 462341"/>
                <a:gd name="connsiteX1" fmla="*/ 188722 w 380752"/>
                <a:gd name="connsiteY1" fmla="*/ 134501 h 462341"/>
                <a:gd name="connsiteX2" fmla="*/ 188722 w 380752"/>
                <a:gd name="connsiteY2" fmla="*/ 118183 h 462341"/>
                <a:gd name="connsiteX3" fmla="*/ 126170 w 380752"/>
                <a:gd name="connsiteY3" fmla="*/ 58350 h 462341"/>
                <a:gd name="connsiteX4" fmla="*/ 58178 w 380752"/>
                <a:gd name="connsiteY4" fmla="*/ 118183 h 462341"/>
                <a:gd name="connsiteX5" fmla="*/ 58178 w 380752"/>
                <a:gd name="connsiteY5" fmla="*/ 210651 h 462341"/>
                <a:gd name="connsiteX6" fmla="*/ 58178 w 380752"/>
                <a:gd name="connsiteY6" fmla="*/ 365671 h 462341"/>
                <a:gd name="connsiteX7" fmla="*/ 58178 w 380752"/>
                <a:gd name="connsiteY7" fmla="*/ 365671 h 462341"/>
                <a:gd name="connsiteX8" fmla="*/ 120730 w 380752"/>
                <a:gd name="connsiteY8" fmla="*/ 425504 h 462341"/>
                <a:gd name="connsiteX9" fmla="*/ 186002 w 380752"/>
                <a:gd name="connsiteY9" fmla="*/ 365671 h 462341"/>
                <a:gd name="connsiteX10" fmla="*/ 186002 w 380752"/>
                <a:gd name="connsiteY10" fmla="*/ 365671 h 462341"/>
                <a:gd name="connsiteX11" fmla="*/ 186002 w 380752"/>
                <a:gd name="connsiteY11" fmla="*/ 210651 h 462341"/>
                <a:gd name="connsiteX12" fmla="*/ 215919 w 380752"/>
                <a:gd name="connsiteY12" fmla="*/ 158978 h 462341"/>
                <a:gd name="connsiteX13" fmla="*/ 275751 w 380752"/>
                <a:gd name="connsiteY13" fmla="*/ 221530 h 462341"/>
                <a:gd name="connsiteX14" fmla="*/ 270312 w 380752"/>
                <a:gd name="connsiteY14" fmla="*/ 69229 h 46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0752" h="462341">
                  <a:moveTo>
                    <a:pt x="270312" y="69229"/>
                  </a:moveTo>
                  <a:cubicBezTo>
                    <a:pt x="232236" y="71949"/>
                    <a:pt x="213199" y="99145"/>
                    <a:pt x="188722" y="134501"/>
                  </a:cubicBezTo>
                  <a:cubicBezTo>
                    <a:pt x="188722" y="134501"/>
                    <a:pt x="188722" y="118183"/>
                    <a:pt x="188722" y="118183"/>
                  </a:cubicBezTo>
                  <a:cubicBezTo>
                    <a:pt x="188722" y="85547"/>
                    <a:pt x="158806" y="58350"/>
                    <a:pt x="126170" y="58350"/>
                  </a:cubicBezTo>
                  <a:cubicBezTo>
                    <a:pt x="93534" y="55631"/>
                    <a:pt x="60898" y="85547"/>
                    <a:pt x="58178" y="118183"/>
                  </a:cubicBezTo>
                  <a:lnTo>
                    <a:pt x="58178" y="210651"/>
                  </a:lnTo>
                  <a:lnTo>
                    <a:pt x="58178" y="365671"/>
                  </a:lnTo>
                  <a:lnTo>
                    <a:pt x="58178" y="365671"/>
                  </a:lnTo>
                  <a:cubicBezTo>
                    <a:pt x="58178" y="398307"/>
                    <a:pt x="88094" y="425504"/>
                    <a:pt x="120730" y="425504"/>
                  </a:cubicBezTo>
                  <a:cubicBezTo>
                    <a:pt x="153366" y="428224"/>
                    <a:pt x="186002" y="398307"/>
                    <a:pt x="186002" y="365671"/>
                  </a:cubicBezTo>
                  <a:lnTo>
                    <a:pt x="186002" y="365671"/>
                  </a:lnTo>
                  <a:lnTo>
                    <a:pt x="186002" y="210651"/>
                  </a:lnTo>
                  <a:cubicBezTo>
                    <a:pt x="188722" y="188894"/>
                    <a:pt x="196881" y="158978"/>
                    <a:pt x="215919" y="158978"/>
                  </a:cubicBezTo>
                  <a:cubicBezTo>
                    <a:pt x="243115" y="158978"/>
                    <a:pt x="215919" y="221530"/>
                    <a:pt x="275751" y="221530"/>
                  </a:cubicBezTo>
                  <a:cubicBezTo>
                    <a:pt x="362780" y="221530"/>
                    <a:pt x="373658" y="63790"/>
                    <a:pt x="270312" y="69229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2742EF4-689F-485B-BB36-526335213608}"/>
                </a:ext>
              </a:extLst>
            </p:cNvPr>
            <p:cNvSpPr/>
            <p:nvPr/>
          </p:nvSpPr>
          <p:spPr>
            <a:xfrm>
              <a:off x="5693490" y="3475234"/>
              <a:ext cx="337238" cy="364434"/>
            </a:xfrm>
            <a:custGeom>
              <a:avLst/>
              <a:gdLst>
                <a:gd name="connsiteX0" fmla="*/ 180433 w 337238"/>
                <a:gd name="connsiteY0" fmla="*/ 73984 h 364434"/>
                <a:gd name="connsiteX1" fmla="*/ 163180 w 337238"/>
                <a:gd name="connsiteY1" fmla="*/ 78870 h 364434"/>
                <a:gd name="connsiteX2" fmla="*/ 125105 w 337238"/>
                <a:gd name="connsiteY2" fmla="*/ 160461 h 364434"/>
                <a:gd name="connsiteX3" fmla="*/ 171339 w 337238"/>
                <a:gd name="connsiteY3" fmla="*/ 163180 h 364434"/>
                <a:gd name="connsiteX4" fmla="*/ 214854 w 337238"/>
                <a:gd name="connsiteY4" fmla="*/ 108787 h 364434"/>
                <a:gd name="connsiteX5" fmla="*/ 180433 w 337238"/>
                <a:gd name="connsiteY5" fmla="*/ 73984 h 364434"/>
                <a:gd name="connsiteX6" fmla="*/ 174059 w 337238"/>
                <a:gd name="connsiteY6" fmla="*/ 0 h 364434"/>
                <a:gd name="connsiteX7" fmla="*/ 337238 w 337238"/>
                <a:gd name="connsiteY7" fmla="*/ 119665 h 364434"/>
                <a:gd name="connsiteX8" fmla="*/ 133264 w 337238"/>
                <a:gd name="connsiteY8" fmla="*/ 217573 h 364434"/>
                <a:gd name="connsiteX9" fmla="*/ 225732 w 337238"/>
                <a:gd name="connsiteY9" fmla="*/ 277405 h 364434"/>
                <a:gd name="connsiteX10" fmla="*/ 320920 w 337238"/>
                <a:gd name="connsiteY10" fmla="*/ 250208 h 364434"/>
                <a:gd name="connsiteX11" fmla="*/ 174059 w 337238"/>
                <a:gd name="connsiteY11" fmla="*/ 364434 h 364434"/>
                <a:gd name="connsiteX12" fmla="*/ 0 w 337238"/>
                <a:gd name="connsiteY12" fmla="*/ 184937 h 364434"/>
                <a:gd name="connsiteX13" fmla="*/ 174059 w 337238"/>
                <a:gd name="connsiteY13" fmla="*/ 0 h 36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7238" h="364434">
                  <a:moveTo>
                    <a:pt x="180433" y="73984"/>
                  </a:moveTo>
                  <a:cubicBezTo>
                    <a:pt x="174569" y="73941"/>
                    <a:pt x="168620" y="75471"/>
                    <a:pt x="163180" y="78870"/>
                  </a:cubicBezTo>
                  <a:cubicBezTo>
                    <a:pt x="135984" y="95189"/>
                    <a:pt x="127825" y="130544"/>
                    <a:pt x="125105" y="160461"/>
                  </a:cubicBezTo>
                  <a:cubicBezTo>
                    <a:pt x="125105" y="163180"/>
                    <a:pt x="168620" y="160461"/>
                    <a:pt x="171339" y="163180"/>
                  </a:cubicBezTo>
                  <a:cubicBezTo>
                    <a:pt x="195816" y="157741"/>
                    <a:pt x="214854" y="135984"/>
                    <a:pt x="214854" y="108787"/>
                  </a:cubicBezTo>
                  <a:cubicBezTo>
                    <a:pt x="214854" y="88389"/>
                    <a:pt x="198026" y="74111"/>
                    <a:pt x="180433" y="73984"/>
                  </a:cubicBezTo>
                  <a:close/>
                  <a:moveTo>
                    <a:pt x="174059" y="0"/>
                  </a:moveTo>
                  <a:cubicBezTo>
                    <a:pt x="233891" y="0"/>
                    <a:pt x="337238" y="29916"/>
                    <a:pt x="337238" y="119665"/>
                  </a:cubicBezTo>
                  <a:cubicBezTo>
                    <a:pt x="337238" y="209414"/>
                    <a:pt x="244770" y="217573"/>
                    <a:pt x="133264" y="217573"/>
                  </a:cubicBezTo>
                  <a:cubicBezTo>
                    <a:pt x="133264" y="217573"/>
                    <a:pt x="149581" y="277405"/>
                    <a:pt x="225732" y="277405"/>
                  </a:cubicBezTo>
                  <a:cubicBezTo>
                    <a:pt x="301883" y="277405"/>
                    <a:pt x="320920" y="250208"/>
                    <a:pt x="320920" y="250208"/>
                  </a:cubicBezTo>
                  <a:cubicBezTo>
                    <a:pt x="320920" y="250208"/>
                    <a:pt x="315481" y="364434"/>
                    <a:pt x="174059" y="364434"/>
                  </a:cubicBezTo>
                  <a:cubicBezTo>
                    <a:pt x="95188" y="364434"/>
                    <a:pt x="0" y="304602"/>
                    <a:pt x="0" y="184937"/>
                  </a:cubicBezTo>
                  <a:cubicBezTo>
                    <a:pt x="0" y="78870"/>
                    <a:pt x="73431" y="0"/>
                    <a:pt x="174059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93F6E36-55ED-4F20-8333-159A45A3E524}"/>
                </a:ext>
              </a:extLst>
            </p:cNvPr>
            <p:cNvSpPr/>
            <p:nvPr/>
          </p:nvSpPr>
          <p:spPr>
            <a:xfrm>
              <a:off x="5376945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3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6797" y="409186"/>
                    <a:pt x="26759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BD920CE9-16CC-42EA-AAD6-0680F860CC1E}"/>
                </a:ext>
              </a:extLst>
            </p:cNvPr>
            <p:cNvSpPr/>
            <p:nvPr/>
          </p:nvSpPr>
          <p:spPr>
            <a:xfrm>
              <a:off x="7090329" y="3338014"/>
              <a:ext cx="353556" cy="543931"/>
            </a:xfrm>
            <a:custGeom>
              <a:avLst/>
              <a:gdLst>
                <a:gd name="connsiteX0" fmla="*/ 311107 w 353555"/>
                <a:gd name="connsiteY0" fmla="*/ 433663 h 543931"/>
                <a:gd name="connsiteX1" fmla="*/ 215919 w 353555"/>
                <a:gd name="connsiteY1" fmla="*/ 501654 h 543931"/>
                <a:gd name="connsiteX2" fmla="*/ 98973 w 353555"/>
                <a:gd name="connsiteY2" fmla="*/ 392868 h 543931"/>
                <a:gd name="connsiteX3" fmla="*/ 98973 w 353555"/>
                <a:gd name="connsiteY3" fmla="*/ 221530 h 543931"/>
                <a:gd name="connsiteX4" fmla="*/ 82655 w 353555"/>
                <a:gd name="connsiteY4" fmla="*/ 221530 h 543931"/>
                <a:gd name="connsiteX5" fmla="*/ 58178 w 353555"/>
                <a:gd name="connsiteY5" fmla="*/ 191614 h 543931"/>
                <a:gd name="connsiteX6" fmla="*/ 85375 w 353555"/>
                <a:gd name="connsiteY6" fmla="*/ 164417 h 543931"/>
                <a:gd name="connsiteX7" fmla="*/ 101693 w 353555"/>
                <a:gd name="connsiteY7" fmla="*/ 164417 h 543931"/>
                <a:gd name="connsiteX8" fmla="*/ 101693 w 353555"/>
                <a:gd name="connsiteY8" fmla="*/ 118183 h 543931"/>
                <a:gd name="connsiteX9" fmla="*/ 166965 w 353555"/>
                <a:gd name="connsiteY9" fmla="*/ 58350 h 543931"/>
                <a:gd name="connsiteX10" fmla="*/ 229517 w 353555"/>
                <a:gd name="connsiteY10" fmla="*/ 118183 h 543931"/>
                <a:gd name="connsiteX11" fmla="*/ 229517 w 353555"/>
                <a:gd name="connsiteY11" fmla="*/ 118183 h 543931"/>
                <a:gd name="connsiteX12" fmla="*/ 229517 w 353555"/>
                <a:gd name="connsiteY12" fmla="*/ 164417 h 543931"/>
                <a:gd name="connsiteX13" fmla="*/ 283910 w 353555"/>
                <a:gd name="connsiteY13" fmla="*/ 164417 h 543931"/>
                <a:gd name="connsiteX14" fmla="*/ 308387 w 353555"/>
                <a:gd name="connsiteY14" fmla="*/ 194333 h 543931"/>
                <a:gd name="connsiteX15" fmla="*/ 281190 w 353555"/>
                <a:gd name="connsiteY15" fmla="*/ 221530 h 543931"/>
                <a:gd name="connsiteX16" fmla="*/ 229517 w 353555"/>
                <a:gd name="connsiteY16" fmla="*/ 221530 h 543931"/>
                <a:gd name="connsiteX17" fmla="*/ 229517 w 353555"/>
                <a:gd name="connsiteY17" fmla="*/ 365671 h 543931"/>
                <a:gd name="connsiteX18" fmla="*/ 311107 w 353555"/>
                <a:gd name="connsiteY18" fmla="*/ 433663 h 54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53555" h="543931">
                  <a:moveTo>
                    <a:pt x="311107" y="433663"/>
                  </a:moveTo>
                  <a:cubicBezTo>
                    <a:pt x="311107" y="433663"/>
                    <a:pt x="278471" y="501654"/>
                    <a:pt x="215919" y="501654"/>
                  </a:cubicBezTo>
                  <a:cubicBezTo>
                    <a:pt x="164245" y="501654"/>
                    <a:pt x="101693" y="458140"/>
                    <a:pt x="98973" y="392868"/>
                  </a:cubicBezTo>
                  <a:cubicBezTo>
                    <a:pt x="98973" y="392868"/>
                    <a:pt x="98973" y="297680"/>
                    <a:pt x="98973" y="221530"/>
                  </a:cubicBezTo>
                  <a:lnTo>
                    <a:pt x="82655" y="221530"/>
                  </a:lnTo>
                  <a:cubicBezTo>
                    <a:pt x="74496" y="221530"/>
                    <a:pt x="58178" y="216090"/>
                    <a:pt x="58178" y="191614"/>
                  </a:cubicBezTo>
                  <a:cubicBezTo>
                    <a:pt x="58178" y="167137"/>
                    <a:pt x="77216" y="164417"/>
                    <a:pt x="85375" y="164417"/>
                  </a:cubicBezTo>
                  <a:lnTo>
                    <a:pt x="101693" y="164417"/>
                  </a:lnTo>
                  <a:cubicBezTo>
                    <a:pt x="101693" y="137220"/>
                    <a:pt x="101693" y="118183"/>
                    <a:pt x="101693" y="118183"/>
                  </a:cubicBezTo>
                  <a:cubicBezTo>
                    <a:pt x="104412" y="85547"/>
                    <a:pt x="134329" y="55631"/>
                    <a:pt x="166965" y="58350"/>
                  </a:cubicBezTo>
                  <a:cubicBezTo>
                    <a:pt x="196881" y="61070"/>
                    <a:pt x="229517" y="85547"/>
                    <a:pt x="229517" y="118183"/>
                  </a:cubicBezTo>
                  <a:lnTo>
                    <a:pt x="229517" y="118183"/>
                  </a:lnTo>
                  <a:lnTo>
                    <a:pt x="229517" y="164417"/>
                  </a:lnTo>
                  <a:lnTo>
                    <a:pt x="283910" y="164417"/>
                  </a:lnTo>
                  <a:cubicBezTo>
                    <a:pt x="292069" y="164417"/>
                    <a:pt x="308387" y="169856"/>
                    <a:pt x="308387" y="194333"/>
                  </a:cubicBezTo>
                  <a:cubicBezTo>
                    <a:pt x="308387" y="218810"/>
                    <a:pt x="292069" y="221530"/>
                    <a:pt x="281190" y="221530"/>
                  </a:cubicBezTo>
                  <a:lnTo>
                    <a:pt x="229517" y="221530"/>
                  </a:lnTo>
                  <a:lnTo>
                    <a:pt x="229517" y="365671"/>
                  </a:lnTo>
                  <a:cubicBezTo>
                    <a:pt x="229517" y="409186"/>
                    <a:pt x="270312" y="433663"/>
                    <a:pt x="311107" y="4336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0987E9D-29E3-4FAD-B97E-DC5A0FA2C3B3}"/>
                </a:ext>
              </a:extLst>
            </p:cNvPr>
            <p:cNvSpPr/>
            <p:nvPr/>
          </p:nvSpPr>
          <p:spPr>
            <a:xfrm>
              <a:off x="2080719" y="4178559"/>
              <a:ext cx="462342" cy="788700"/>
            </a:xfrm>
            <a:custGeom>
              <a:avLst/>
              <a:gdLst>
                <a:gd name="connsiteX0" fmla="*/ 403575 w 462341"/>
                <a:gd name="connsiteY0" fmla="*/ 583072 h 788699"/>
                <a:gd name="connsiteX1" fmla="*/ 406295 w 462341"/>
                <a:gd name="connsiteY1" fmla="*/ 596670 h 788699"/>
                <a:gd name="connsiteX2" fmla="*/ 400855 w 462341"/>
                <a:gd name="connsiteY2" fmla="*/ 610268 h 788699"/>
                <a:gd name="connsiteX3" fmla="*/ 389977 w 462341"/>
                <a:gd name="connsiteY3" fmla="*/ 626586 h 788699"/>
                <a:gd name="connsiteX4" fmla="*/ 354621 w 462341"/>
                <a:gd name="connsiteY4" fmla="*/ 675540 h 788699"/>
                <a:gd name="connsiteX5" fmla="*/ 327424 w 462341"/>
                <a:gd name="connsiteY5" fmla="*/ 691858 h 788699"/>
                <a:gd name="connsiteX6" fmla="*/ 292069 w 462341"/>
                <a:gd name="connsiteY6" fmla="*/ 713615 h 788699"/>
                <a:gd name="connsiteX7" fmla="*/ 251274 w 462341"/>
                <a:gd name="connsiteY7" fmla="*/ 724494 h 788699"/>
                <a:gd name="connsiteX8" fmla="*/ 221358 w 462341"/>
                <a:gd name="connsiteY8" fmla="*/ 721774 h 788699"/>
                <a:gd name="connsiteX9" fmla="*/ 191442 w 462341"/>
                <a:gd name="connsiteY9" fmla="*/ 721774 h 788699"/>
                <a:gd name="connsiteX10" fmla="*/ 153366 w 462341"/>
                <a:gd name="connsiteY10" fmla="*/ 713615 h 788699"/>
                <a:gd name="connsiteX11" fmla="*/ 104412 w 462341"/>
                <a:gd name="connsiteY11" fmla="*/ 675540 h 788699"/>
                <a:gd name="connsiteX12" fmla="*/ 104412 w 462341"/>
                <a:gd name="connsiteY12" fmla="*/ 689138 h 788699"/>
                <a:gd name="connsiteX13" fmla="*/ 101693 w 462341"/>
                <a:gd name="connsiteY13" fmla="*/ 710895 h 788699"/>
                <a:gd name="connsiteX14" fmla="*/ 85375 w 462341"/>
                <a:gd name="connsiteY14" fmla="*/ 732653 h 788699"/>
                <a:gd name="connsiteX15" fmla="*/ 69057 w 462341"/>
                <a:gd name="connsiteY15" fmla="*/ 727214 h 788699"/>
                <a:gd name="connsiteX16" fmla="*/ 60898 w 462341"/>
                <a:gd name="connsiteY16" fmla="*/ 710895 h 788699"/>
                <a:gd name="connsiteX17" fmla="*/ 58178 w 462341"/>
                <a:gd name="connsiteY17" fmla="*/ 691858 h 788699"/>
                <a:gd name="connsiteX18" fmla="*/ 60898 w 462341"/>
                <a:gd name="connsiteY18" fmla="*/ 664661 h 788699"/>
                <a:gd name="connsiteX19" fmla="*/ 60898 w 462341"/>
                <a:gd name="connsiteY19" fmla="*/ 607549 h 788699"/>
                <a:gd name="connsiteX20" fmla="*/ 63618 w 462341"/>
                <a:gd name="connsiteY20" fmla="*/ 528679 h 788699"/>
                <a:gd name="connsiteX21" fmla="*/ 69057 w 462341"/>
                <a:gd name="connsiteY21" fmla="*/ 504202 h 788699"/>
                <a:gd name="connsiteX22" fmla="*/ 74496 w 462341"/>
                <a:gd name="connsiteY22" fmla="*/ 493323 h 788699"/>
                <a:gd name="connsiteX23" fmla="*/ 82655 w 462341"/>
                <a:gd name="connsiteY23" fmla="*/ 487884 h 788699"/>
                <a:gd name="connsiteX24" fmla="*/ 90814 w 462341"/>
                <a:gd name="connsiteY24" fmla="*/ 493323 h 788699"/>
                <a:gd name="connsiteX25" fmla="*/ 98973 w 462341"/>
                <a:gd name="connsiteY25" fmla="*/ 512361 h 788699"/>
                <a:gd name="connsiteX26" fmla="*/ 101693 w 462341"/>
                <a:gd name="connsiteY26" fmla="*/ 555875 h 788699"/>
                <a:gd name="connsiteX27" fmla="*/ 101693 w 462341"/>
                <a:gd name="connsiteY27" fmla="*/ 596670 h 788699"/>
                <a:gd name="connsiteX28" fmla="*/ 109852 w 462341"/>
                <a:gd name="connsiteY28" fmla="*/ 626586 h 788699"/>
                <a:gd name="connsiteX29" fmla="*/ 128889 w 462341"/>
                <a:gd name="connsiteY29" fmla="*/ 651063 h 788699"/>
                <a:gd name="connsiteX30" fmla="*/ 153366 w 462341"/>
                <a:gd name="connsiteY30" fmla="*/ 670101 h 788699"/>
                <a:gd name="connsiteX31" fmla="*/ 196881 w 462341"/>
                <a:gd name="connsiteY31" fmla="*/ 678260 h 788699"/>
                <a:gd name="connsiteX32" fmla="*/ 221358 w 462341"/>
                <a:gd name="connsiteY32" fmla="*/ 667381 h 788699"/>
                <a:gd name="connsiteX33" fmla="*/ 253994 w 462341"/>
                <a:gd name="connsiteY33" fmla="*/ 659222 h 788699"/>
                <a:gd name="connsiteX34" fmla="*/ 275751 w 462341"/>
                <a:gd name="connsiteY34" fmla="*/ 637465 h 788699"/>
                <a:gd name="connsiteX35" fmla="*/ 281190 w 462341"/>
                <a:gd name="connsiteY35" fmla="*/ 615708 h 788699"/>
                <a:gd name="connsiteX36" fmla="*/ 278471 w 462341"/>
                <a:gd name="connsiteY36" fmla="*/ 602109 h 788699"/>
                <a:gd name="connsiteX37" fmla="*/ 262153 w 462341"/>
                <a:gd name="connsiteY37" fmla="*/ 572193 h 788699"/>
                <a:gd name="connsiteX38" fmla="*/ 245835 w 462341"/>
                <a:gd name="connsiteY38" fmla="*/ 536838 h 788699"/>
                <a:gd name="connsiteX39" fmla="*/ 196881 w 462341"/>
                <a:gd name="connsiteY39" fmla="*/ 477005 h 788699"/>
                <a:gd name="connsiteX40" fmla="*/ 145207 w 462341"/>
                <a:gd name="connsiteY40" fmla="*/ 419892 h 788699"/>
                <a:gd name="connsiteX41" fmla="*/ 93534 w 462341"/>
                <a:gd name="connsiteY41" fmla="*/ 357340 h 788699"/>
                <a:gd name="connsiteX42" fmla="*/ 66337 w 462341"/>
                <a:gd name="connsiteY42" fmla="*/ 283910 h 788699"/>
                <a:gd name="connsiteX43" fmla="*/ 58178 w 462341"/>
                <a:gd name="connsiteY43" fmla="*/ 224077 h 788699"/>
                <a:gd name="connsiteX44" fmla="*/ 82655 w 462341"/>
                <a:gd name="connsiteY44" fmla="*/ 150647 h 788699"/>
                <a:gd name="connsiteX45" fmla="*/ 137048 w 462341"/>
                <a:gd name="connsiteY45" fmla="*/ 96253 h 788699"/>
                <a:gd name="connsiteX46" fmla="*/ 196881 w 462341"/>
                <a:gd name="connsiteY46" fmla="*/ 77216 h 788699"/>
                <a:gd name="connsiteX47" fmla="*/ 232236 w 462341"/>
                <a:gd name="connsiteY47" fmla="*/ 69057 h 788699"/>
                <a:gd name="connsiteX48" fmla="*/ 262153 w 462341"/>
                <a:gd name="connsiteY48" fmla="*/ 74496 h 788699"/>
                <a:gd name="connsiteX49" fmla="*/ 294789 w 462341"/>
                <a:gd name="connsiteY49" fmla="*/ 85375 h 788699"/>
                <a:gd name="connsiteX50" fmla="*/ 327424 w 462341"/>
                <a:gd name="connsiteY50" fmla="*/ 104412 h 788699"/>
                <a:gd name="connsiteX51" fmla="*/ 332864 w 462341"/>
                <a:gd name="connsiteY51" fmla="*/ 74496 h 788699"/>
                <a:gd name="connsiteX52" fmla="*/ 338303 w 462341"/>
                <a:gd name="connsiteY52" fmla="*/ 63618 h 788699"/>
                <a:gd name="connsiteX53" fmla="*/ 349182 w 462341"/>
                <a:gd name="connsiteY53" fmla="*/ 58178 h 788699"/>
                <a:gd name="connsiteX54" fmla="*/ 357341 w 462341"/>
                <a:gd name="connsiteY54" fmla="*/ 63618 h 788699"/>
                <a:gd name="connsiteX55" fmla="*/ 365500 w 462341"/>
                <a:gd name="connsiteY55" fmla="*/ 82655 h 788699"/>
                <a:gd name="connsiteX56" fmla="*/ 368219 w 462341"/>
                <a:gd name="connsiteY56" fmla="*/ 142488 h 788699"/>
                <a:gd name="connsiteX57" fmla="*/ 368219 w 462341"/>
                <a:gd name="connsiteY57" fmla="*/ 188722 h 788699"/>
                <a:gd name="connsiteX58" fmla="*/ 370939 w 462341"/>
                <a:gd name="connsiteY58" fmla="*/ 245834 h 788699"/>
                <a:gd name="connsiteX59" fmla="*/ 354621 w 462341"/>
                <a:gd name="connsiteY59" fmla="*/ 286629 h 788699"/>
                <a:gd name="connsiteX60" fmla="*/ 338303 w 462341"/>
                <a:gd name="connsiteY60" fmla="*/ 281190 h 788699"/>
                <a:gd name="connsiteX61" fmla="*/ 330144 w 462341"/>
                <a:gd name="connsiteY61" fmla="*/ 264872 h 788699"/>
                <a:gd name="connsiteX62" fmla="*/ 327424 w 462341"/>
                <a:gd name="connsiteY62" fmla="*/ 248554 h 788699"/>
                <a:gd name="connsiteX63" fmla="*/ 330144 w 462341"/>
                <a:gd name="connsiteY63" fmla="*/ 221357 h 788699"/>
                <a:gd name="connsiteX64" fmla="*/ 330144 w 462341"/>
                <a:gd name="connsiteY64" fmla="*/ 188722 h 788699"/>
                <a:gd name="connsiteX65" fmla="*/ 327424 w 462341"/>
                <a:gd name="connsiteY65" fmla="*/ 164245 h 788699"/>
                <a:gd name="connsiteX66" fmla="*/ 311107 w 462341"/>
                <a:gd name="connsiteY66" fmla="*/ 134329 h 788699"/>
                <a:gd name="connsiteX67" fmla="*/ 283910 w 462341"/>
                <a:gd name="connsiteY67" fmla="*/ 118011 h 788699"/>
                <a:gd name="connsiteX68" fmla="*/ 251274 w 462341"/>
                <a:gd name="connsiteY68" fmla="*/ 112571 h 788699"/>
                <a:gd name="connsiteX69" fmla="*/ 215918 w 462341"/>
                <a:gd name="connsiteY69" fmla="*/ 123450 h 788699"/>
                <a:gd name="connsiteX70" fmla="*/ 202320 w 462341"/>
                <a:gd name="connsiteY70" fmla="*/ 147927 h 788699"/>
                <a:gd name="connsiteX71" fmla="*/ 188722 w 462341"/>
                <a:gd name="connsiteY71" fmla="*/ 180563 h 788699"/>
                <a:gd name="connsiteX72" fmla="*/ 183283 w 462341"/>
                <a:gd name="connsiteY72" fmla="*/ 210479 h 788699"/>
                <a:gd name="connsiteX73" fmla="*/ 188722 w 462341"/>
                <a:gd name="connsiteY73" fmla="*/ 226797 h 788699"/>
                <a:gd name="connsiteX74" fmla="*/ 188722 w 462341"/>
                <a:gd name="connsiteY74" fmla="*/ 248554 h 788699"/>
                <a:gd name="connsiteX75" fmla="*/ 210479 w 462341"/>
                <a:gd name="connsiteY75" fmla="*/ 273031 h 788699"/>
                <a:gd name="connsiteX76" fmla="*/ 226797 w 462341"/>
                <a:gd name="connsiteY76" fmla="*/ 300228 h 788699"/>
                <a:gd name="connsiteX77" fmla="*/ 256713 w 462341"/>
                <a:gd name="connsiteY77" fmla="*/ 332864 h 788699"/>
                <a:gd name="connsiteX78" fmla="*/ 275751 w 462341"/>
                <a:gd name="connsiteY78" fmla="*/ 351901 h 788699"/>
                <a:gd name="connsiteX79" fmla="*/ 324705 w 462341"/>
                <a:gd name="connsiteY79" fmla="*/ 400855 h 788699"/>
                <a:gd name="connsiteX80" fmla="*/ 343742 w 462341"/>
                <a:gd name="connsiteY80" fmla="*/ 428051 h 788699"/>
                <a:gd name="connsiteX81" fmla="*/ 351901 w 462341"/>
                <a:gd name="connsiteY81" fmla="*/ 433491 h 788699"/>
                <a:gd name="connsiteX82" fmla="*/ 360060 w 462341"/>
                <a:gd name="connsiteY82" fmla="*/ 447089 h 788699"/>
                <a:gd name="connsiteX83" fmla="*/ 384537 w 462341"/>
                <a:gd name="connsiteY83" fmla="*/ 474286 h 788699"/>
                <a:gd name="connsiteX84" fmla="*/ 395416 w 462341"/>
                <a:gd name="connsiteY84" fmla="*/ 506921 h 788699"/>
                <a:gd name="connsiteX85" fmla="*/ 406295 w 462341"/>
                <a:gd name="connsiteY85" fmla="*/ 536838 h 788699"/>
                <a:gd name="connsiteX86" fmla="*/ 409014 w 462341"/>
                <a:gd name="connsiteY86" fmla="*/ 547716 h 788699"/>
                <a:gd name="connsiteX87" fmla="*/ 406295 w 462341"/>
                <a:gd name="connsiteY87" fmla="*/ 569473 h 788699"/>
                <a:gd name="connsiteX88" fmla="*/ 403575 w 462341"/>
                <a:gd name="connsiteY88" fmla="*/ 583072 h 788699"/>
                <a:gd name="connsiteX89" fmla="*/ 403575 w 462341"/>
                <a:gd name="connsiteY89" fmla="*/ 583072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1" h="788699">
                  <a:moveTo>
                    <a:pt x="403575" y="583072"/>
                  </a:moveTo>
                  <a:cubicBezTo>
                    <a:pt x="403575" y="588511"/>
                    <a:pt x="406295" y="591231"/>
                    <a:pt x="406295" y="596670"/>
                  </a:cubicBezTo>
                  <a:cubicBezTo>
                    <a:pt x="406295" y="602109"/>
                    <a:pt x="403575" y="604829"/>
                    <a:pt x="400855" y="610268"/>
                  </a:cubicBezTo>
                  <a:cubicBezTo>
                    <a:pt x="398136" y="615708"/>
                    <a:pt x="392696" y="621147"/>
                    <a:pt x="389977" y="626586"/>
                  </a:cubicBezTo>
                  <a:cubicBezTo>
                    <a:pt x="381818" y="645624"/>
                    <a:pt x="368219" y="661942"/>
                    <a:pt x="354621" y="675540"/>
                  </a:cubicBezTo>
                  <a:cubicBezTo>
                    <a:pt x="346462" y="683699"/>
                    <a:pt x="338303" y="686419"/>
                    <a:pt x="327424" y="691858"/>
                  </a:cubicBezTo>
                  <a:cubicBezTo>
                    <a:pt x="316546" y="700017"/>
                    <a:pt x="302948" y="708176"/>
                    <a:pt x="292069" y="713615"/>
                  </a:cubicBezTo>
                  <a:cubicBezTo>
                    <a:pt x="281190" y="719054"/>
                    <a:pt x="264872" y="724494"/>
                    <a:pt x="251274" y="724494"/>
                  </a:cubicBezTo>
                  <a:cubicBezTo>
                    <a:pt x="240395" y="724494"/>
                    <a:pt x="229517" y="721774"/>
                    <a:pt x="221358" y="721774"/>
                  </a:cubicBezTo>
                  <a:cubicBezTo>
                    <a:pt x="213199" y="721774"/>
                    <a:pt x="202320" y="721774"/>
                    <a:pt x="191442" y="721774"/>
                  </a:cubicBezTo>
                  <a:cubicBezTo>
                    <a:pt x="172404" y="721774"/>
                    <a:pt x="172404" y="721774"/>
                    <a:pt x="153366" y="713615"/>
                  </a:cubicBezTo>
                  <a:cubicBezTo>
                    <a:pt x="134329" y="708176"/>
                    <a:pt x="118011" y="691858"/>
                    <a:pt x="104412" y="675540"/>
                  </a:cubicBezTo>
                  <a:cubicBezTo>
                    <a:pt x="104412" y="678260"/>
                    <a:pt x="104412" y="680979"/>
                    <a:pt x="104412" y="689138"/>
                  </a:cubicBezTo>
                  <a:cubicBezTo>
                    <a:pt x="104412" y="694578"/>
                    <a:pt x="104412" y="702737"/>
                    <a:pt x="101693" y="710895"/>
                  </a:cubicBezTo>
                  <a:cubicBezTo>
                    <a:pt x="101693" y="721774"/>
                    <a:pt x="96253" y="732653"/>
                    <a:pt x="85375" y="732653"/>
                  </a:cubicBezTo>
                  <a:cubicBezTo>
                    <a:pt x="77216" y="732653"/>
                    <a:pt x="74496" y="729933"/>
                    <a:pt x="69057" y="727214"/>
                  </a:cubicBezTo>
                  <a:cubicBezTo>
                    <a:pt x="63618" y="724494"/>
                    <a:pt x="60898" y="716335"/>
                    <a:pt x="60898" y="710895"/>
                  </a:cubicBezTo>
                  <a:cubicBezTo>
                    <a:pt x="58178" y="702737"/>
                    <a:pt x="58178" y="697297"/>
                    <a:pt x="58178" y="691858"/>
                  </a:cubicBezTo>
                  <a:cubicBezTo>
                    <a:pt x="58178" y="683699"/>
                    <a:pt x="60898" y="678260"/>
                    <a:pt x="60898" y="664661"/>
                  </a:cubicBezTo>
                  <a:cubicBezTo>
                    <a:pt x="60898" y="656502"/>
                    <a:pt x="60898" y="632026"/>
                    <a:pt x="60898" y="607549"/>
                  </a:cubicBezTo>
                  <a:cubicBezTo>
                    <a:pt x="60898" y="574913"/>
                    <a:pt x="60898" y="542277"/>
                    <a:pt x="63618" y="528679"/>
                  </a:cubicBezTo>
                  <a:cubicBezTo>
                    <a:pt x="63618" y="520520"/>
                    <a:pt x="63618" y="509641"/>
                    <a:pt x="69057" y="504202"/>
                  </a:cubicBezTo>
                  <a:cubicBezTo>
                    <a:pt x="71777" y="501482"/>
                    <a:pt x="71777" y="498762"/>
                    <a:pt x="74496" y="493323"/>
                  </a:cubicBezTo>
                  <a:cubicBezTo>
                    <a:pt x="77216" y="490603"/>
                    <a:pt x="79936" y="487884"/>
                    <a:pt x="82655" y="487884"/>
                  </a:cubicBezTo>
                  <a:cubicBezTo>
                    <a:pt x="85375" y="487884"/>
                    <a:pt x="90814" y="490603"/>
                    <a:pt x="90814" y="493323"/>
                  </a:cubicBezTo>
                  <a:cubicBezTo>
                    <a:pt x="93534" y="498762"/>
                    <a:pt x="98973" y="506921"/>
                    <a:pt x="98973" y="512361"/>
                  </a:cubicBezTo>
                  <a:cubicBezTo>
                    <a:pt x="98973" y="520520"/>
                    <a:pt x="101693" y="536838"/>
                    <a:pt x="101693" y="555875"/>
                  </a:cubicBezTo>
                  <a:cubicBezTo>
                    <a:pt x="101693" y="569473"/>
                    <a:pt x="101693" y="583072"/>
                    <a:pt x="101693" y="596670"/>
                  </a:cubicBezTo>
                  <a:cubicBezTo>
                    <a:pt x="101693" y="607549"/>
                    <a:pt x="104412" y="618427"/>
                    <a:pt x="109852" y="626586"/>
                  </a:cubicBezTo>
                  <a:cubicBezTo>
                    <a:pt x="115291" y="637465"/>
                    <a:pt x="123450" y="642904"/>
                    <a:pt x="128889" y="651063"/>
                  </a:cubicBezTo>
                  <a:cubicBezTo>
                    <a:pt x="137048" y="661942"/>
                    <a:pt x="139768" y="667381"/>
                    <a:pt x="153366" y="670101"/>
                  </a:cubicBezTo>
                  <a:cubicBezTo>
                    <a:pt x="161525" y="670101"/>
                    <a:pt x="183283" y="678260"/>
                    <a:pt x="196881" y="678260"/>
                  </a:cubicBezTo>
                  <a:cubicBezTo>
                    <a:pt x="207759" y="678260"/>
                    <a:pt x="210479" y="672820"/>
                    <a:pt x="221358" y="667381"/>
                  </a:cubicBezTo>
                  <a:cubicBezTo>
                    <a:pt x="232236" y="661942"/>
                    <a:pt x="245835" y="664661"/>
                    <a:pt x="253994" y="659222"/>
                  </a:cubicBezTo>
                  <a:cubicBezTo>
                    <a:pt x="262153" y="653783"/>
                    <a:pt x="273031" y="645624"/>
                    <a:pt x="275751" y="637465"/>
                  </a:cubicBezTo>
                  <a:cubicBezTo>
                    <a:pt x="281190" y="629306"/>
                    <a:pt x="281190" y="621147"/>
                    <a:pt x="281190" y="615708"/>
                  </a:cubicBezTo>
                  <a:cubicBezTo>
                    <a:pt x="281190" y="610268"/>
                    <a:pt x="281190" y="607549"/>
                    <a:pt x="278471" y="602109"/>
                  </a:cubicBezTo>
                  <a:cubicBezTo>
                    <a:pt x="275751" y="591231"/>
                    <a:pt x="267592" y="583072"/>
                    <a:pt x="262153" y="572193"/>
                  </a:cubicBezTo>
                  <a:cubicBezTo>
                    <a:pt x="256713" y="561314"/>
                    <a:pt x="253994" y="547716"/>
                    <a:pt x="245835" y="536838"/>
                  </a:cubicBezTo>
                  <a:cubicBezTo>
                    <a:pt x="232236" y="515080"/>
                    <a:pt x="213199" y="498762"/>
                    <a:pt x="196881" y="477005"/>
                  </a:cubicBezTo>
                  <a:cubicBezTo>
                    <a:pt x="180563" y="457968"/>
                    <a:pt x="164245" y="438930"/>
                    <a:pt x="145207" y="419892"/>
                  </a:cubicBezTo>
                  <a:cubicBezTo>
                    <a:pt x="126170" y="400855"/>
                    <a:pt x="109852" y="379098"/>
                    <a:pt x="93534" y="357340"/>
                  </a:cubicBezTo>
                  <a:cubicBezTo>
                    <a:pt x="77216" y="335583"/>
                    <a:pt x="71777" y="308387"/>
                    <a:pt x="66337" y="283910"/>
                  </a:cubicBezTo>
                  <a:cubicBezTo>
                    <a:pt x="63618" y="267592"/>
                    <a:pt x="58178" y="245834"/>
                    <a:pt x="58178" y="224077"/>
                  </a:cubicBezTo>
                  <a:cubicBezTo>
                    <a:pt x="58178" y="194161"/>
                    <a:pt x="69057" y="175123"/>
                    <a:pt x="82655" y="150647"/>
                  </a:cubicBezTo>
                  <a:cubicBezTo>
                    <a:pt x="96253" y="128889"/>
                    <a:pt x="115291" y="109852"/>
                    <a:pt x="137048" y="96253"/>
                  </a:cubicBezTo>
                  <a:cubicBezTo>
                    <a:pt x="158806" y="82655"/>
                    <a:pt x="172404" y="79936"/>
                    <a:pt x="196881" y="77216"/>
                  </a:cubicBezTo>
                  <a:cubicBezTo>
                    <a:pt x="210479" y="77216"/>
                    <a:pt x="215918" y="69057"/>
                    <a:pt x="232236" y="69057"/>
                  </a:cubicBezTo>
                  <a:cubicBezTo>
                    <a:pt x="243115" y="69057"/>
                    <a:pt x="251274" y="71776"/>
                    <a:pt x="262153" y="74496"/>
                  </a:cubicBezTo>
                  <a:cubicBezTo>
                    <a:pt x="273031" y="77216"/>
                    <a:pt x="283910" y="82655"/>
                    <a:pt x="294789" y="85375"/>
                  </a:cubicBezTo>
                  <a:cubicBezTo>
                    <a:pt x="308387" y="90814"/>
                    <a:pt x="319265" y="96253"/>
                    <a:pt x="327424" y="104412"/>
                  </a:cubicBezTo>
                  <a:cubicBezTo>
                    <a:pt x="327424" y="90814"/>
                    <a:pt x="327424" y="79936"/>
                    <a:pt x="332864" y="74496"/>
                  </a:cubicBezTo>
                  <a:cubicBezTo>
                    <a:pt x="335583" y="71776"/>
                    <a:pt x="335583" y="69057"/>
                    <a:pt x="338303" y="63618"/>
                  </a:cubicBezTo>
                  <a:cubicBezTo>
                    <a:pt x="341023" y="60898"/>
                    <a:pt x="346462" y="58178"/>
                    <a:pt x="349182" y="58178"/>
                  </a:cubicBezTo>
                  <a:cubicBezTo>
                    <a:pt x="351901" y="58178"/>
                    <a:pt x="357341" y="60898"/>
                    <a:pt x="357341" y="63618"/>
                  </a:cubicBezTo>
                  <a:cubicBezTo>
                    <a:pt x="360060" y="69057"/>
                    <a:pt x="365500" y="77216"/>
                    <a:pt x="365500" y="82655"/>
                  </a:cubicBezTo>
                  <a:cubicBezTo>
                    <a:pt x="365500" y="90814"/>
                    <a:pt x="368219" y="123450"/>
                    <a:pt x="368219" y="142488"/>
                  </a:cubicBezTo>
                  <a:cubicBezTo>
                    <a:pt x="368219" y="158806"/>
                    <a:pt x="368219" y="177843"/>
                    <a:pt x="368219" y="188722"/>
                  </a:cubicBezTo>
                  <a:cubicBezTo>
                    <a:pt x="368219" y="213199"/>
                    <a:pt x="370939" y="224077"/>
                    <a:pt x="370939" y="245834"/>
                  </a:cubicBezTo>
                  <a:cubicBezTo>
                    <a:pt x="370939" y="256713"/>
                    <a:pt x="370939" y="286629"/>
                    <a:pt x="354621" y="286629"/>
                  </a:cubicBezTo>
                  <a:cubicBezTo>
                    <a:pt x="346462" y="286629"/>
                    <a:pt x="343742" y="283910"/>
                    <a:pt x="338303" y="281190"/>
                  </a:cubicBezTo>
                  <a:cubicBezTo>
                    <a:pt x="332864" y="278470"/>
                    <a:pt x="330144" y="270311"/>
                    <a:pt x="330144" y="264872"/>
                  </a:cubicBezTo>
                  <a:cubicBezTo>
                    <a:pt x="327424" y="256713"/>
                    <a:pt x="327424" y="251274"/>
                    <a:pt x="327424" y="248554"/>
                  </a:cubicBezTo>
                  <a:cubicBezTo>
                    <a:pt x="327424" y="240395"/>
                    <a:pt x="330144" y="234956"/>
                    <a:pt x="330144" y="221357"/>
                  </a:cubicBezTo>
                  <a:cubicBezTo>
                    <a:pt x="330144" y="213199"/>
                    <a:pt x="330144" y="202320"/>
                    <a:pt x="330144" y="188722"/>
                  </a:cubicBezTo>
                  <a:cubicBezTo>
                    <a:pt x="330144" y="180563"/>
                    <a:pt x="327424" y="172404"/>
                    <a:pt x="327424" y="164245"/>
                  </a:cubicBezTo>
                  <a:cubicBezTo>
                    <a:pt x="324705" y="153366"/>
                    <a:pt x="319265" y="142488"/>
                    <a:pt x="311107" y="134329"/>
                  </a:cubicBezTo>
                  <a:cubicBezTo>
                    <a:pt x="302948" y="126170"/>
                    <a:pt x="294789" y="120730"/>
                    <a:pt x="283910" y="118011"/>
                  </a:cubicBezTo>
                  <a:cubicBezTo>
                    <a:pt x="275751" y="115291"/>
                    <a:pt x="262153" y="112571"/>
                    <a:pt x="251274" y="112571"/>
                  </a:cubicBezTo>
                  <a:cubicBezTo>
                    <a:pt x="237676" y="112571"/>
                    <a:pt x="224077" y="115291"/>
                    <a:pt x="215918" y="123450"/>
                  </a:cubicBezTo>
                  <a:cubicBezTo>
                    <a:pt x="207759" y="128889"/>
                    <a:pt x="205040" y="139768"/>
                    <a:pt x="202320" y="147927"/>
                  </a:cubicBezTo>
                  <a:cubicBezTo>
                    <a:pt x="196881" y="158806"/>
                    <a:pt x="191442" y="166964"/>
                    <a:pt x="188722" y="180563"/>
                  </a:cubicBezTo>
                  <a:cubicBezTo>
                    <a:pt x="186002" y="191441"/>
                    <a:pt x="183283" y="199600"/>
                    <a:pt x="183283" y="210479"/>
                  </a:cubicBezTo>
                  <a:cubicBezTo>
                    <a:pt x="183283" y="215918"/>
                    <a:pt x="186002" y="221357"/>
                    <a:pt x="188722" y="226797"/>
                  </a:cubicBezTo>
                  <a:cubicBezTo>
                    <a:pt x="191442" y="234956"/>
                    <a:pt x="188722" y="243115"/>
                    <a:pt x="188722" y="248554"/>
                  </a:cubicBezTo>
                  <a:cubicBezTo>
                    <a:pt x="191442" y="259433"/>
                    <a:pt x="202320" y="264872"/>
                    <a:pt x="210479" y="273031"/>
                  </a:cubicBezTo>
                  <a:cubicBezTo>
                    <a:pt x="218638" y="281190"/>
                    <a:pt x="221358" y="292069"/>
                    <a:pt x="226797" y="300228"/>
                  </a:cubicBezTo>
                  <a:cubicBezTo>
                    <a:pt x="234956" y="311106"/>
                    <a:pt x="245835" y="321985"/>
                    <a:pt x="256713" y="332864"/>
                  </a:cubicBezTo>
                  <a:cubicBezTo>
                    <a:pt x="259433" y="338303"/>
                    <a:pt x="267592" y="343742"/>
                    <a:pt x="275751" y="351901"/>
                  </a:cubicBezTo>
                  <a:cubicBezTo>
                    <a:pt x="292069" y="368219"/>
                    <a:pt x="311107" y="384537"/>
                    <a:pt x="324705" y="400855"/>
                  </a:cubicBezTo>
                  <a:cubicBezTo>
                    <a:pt x="332864" y="409014"/>
                    <a:pt x="335583" y="419892"/>
                    <a:pt x="343742" y="428051"/>
                  </a:cubicBezTo>
                  <a:cubicBezTo>
                    <a:pt x="346462" y="430771"/>
                    <a:pt x="349182" y="430771"/>
                    <a:pt x="351901" y="433491"/>
                  </a:cubicBezTo>
                  <a:cubicBezTo>
                    <a:pt x="354621" y="436210"/>
                    <a:pt x="357341" y="441650"/>
                    <a:pt x="360060" y="447089"/>
                  </a:cubicBezTo>
                  <a:cubicBezTo>
                    <a:pt x="368219" y="455248"/>
                    <a:pt x="376378" y="463407"/>
                    <a:pt x="384537" y="474286"/>
                  </a:cubicBezTo>
                  <a:cubicBezTo>
                    <a:pt x="389977" y="482445"/>
                    <a:pt x="392696" y="496043"/>
                    <a:pt x="395416" y="506921"/>
                  </a:cubicBezTo>
                  <a:cubicBezTo>
                    <a:pt x="400855" y="517800"/>
                    <a:pt x="400855" y="528679"/>
                    <a:pt x="406295" y="536838"/>
                  </a:cubicBezTo>
                  <a:cubicBezTo>
                    <a:pt x="409014" y="539557"/>
                    <a:pt x="409014" y="544997"/>
                    <a:pt x="409014" y="547716"/>
                  </a:cubicBezTo>
                  <a:cubicBezTo>
                    <a:pt x="409014" y="555875"/>
                    <a:pt x="406295" y="561314"/>
                    <a:pt x="406295" y="569473"/>
                  </a:cubicBezTo>
                  <a:cubicBezTo>
                    <a:pt x="406295" y="574913"/>
                    <a:pt x="403575" y="577632"/>
                    <a:pt x="403575" y="583072"/>
                  </a:cubicBezTo>
                  <a:lnTo>
                    <a:pt x="403575" y="583072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4934AA60-0EF3-44BF-AB11-460538F37AFA}"/>
                </a:ext>
              </a:extLst>
            </p:cNvPr>
            <p:cNvSpPr/>
            <p:nvPr/>
          </p:nvSpPr>
          <p:spPr>
            <a:xfrm>
              <a:off x="2456032" y="4192158"/>
              <a:ext cx="571128" cy="761503"/>
            </a:xfrm>
            <a:custGeom>
              <a:avLst/>
              <a:gdLst>
                <a:gd name="connsiteX0" fmla="*/ 512361 w 571128"/>
                <a:gd name="connsiteY0" fmla="*/ 79936 h 761503"/>
                <a:gd name="connsiteX1" fmla="*/ 539558 w 571128"/>
                <a:gd name="connsiteY1" fmla="*/ 96253 h 761503"/>
                <a:gd name="connsiteX2" fmla="*/ 534118 w 571128"/>
                <a:gd name="connsiteY2" fmla="*/ 112571 h 761503"/>
                <a:gd name="connsiteX3" fmla="*/ 523240 w 571128"/>
                <a:gd name="connsiteY3" fmla="*/ 120730 h 761503"/>
                <a:gd name="connsiteX4" fmla="*/ 506922 w 571128"/>
                <a:gd name="connsiteY4" fmla="*/ 123450 h 761503"/>
                <a:gd name="connsiteX5" fmla="*/ 477006 w 571128"/>
                <a:gd name="connsiteY5" fmla="*/ 123450 h 761503"/>
                <a:gd name="connsiteX6" fmla="*/ 479725 w 571128"/>
                <a:gd name="connsiteY6" fmla="*/ 145207 h 761503"/>
                <a:gd name="connsiteX7" fmla="*/ 477006 w 571128"/>
                <a:gd name="connsiteY7" fmla="*/ 180563 h 761503"/>
                <a:gd name="connsiteX8" fmla="*/ 482445 w 571128"/>
                <a:gd name="connsiteY8" fmla="*/ 232236 h 761503"/>
                <a:gd name="connsiteX9" fmla="*/ 485165 w 571128"/>
                <a:gd name="connsiteY9" fmla="*/ 283910 h 761503"/>
                <a:gd name="connsiteX10" fmla="*/ 485165 w 571128"/>
                <a:gd name="connsiteY10" fmla="*/ 327424 h 761503"/>
                <a:gd name="connsiteX11" fmla="*/ 487884 w 571128"/>
                <a:gd name="connsiteY11" fmla="*/ 373658 h 761503"/>
                <a:gd name="connsiteX12" fmla="*/ 485165 w 571128"/>
                <a:gd name="connsiteY12" fmla="*/ 419892 h 761503"/>
                <a:gd name="connsiteX13" fmla="*/ 485165 w 571128"/>
                <a:gd name="connsiteY13" fmla="*/ 463407 h 761503"/>
                <a:gd name="connsiteX14" fmla="*/ 482445 w 571128"/>
                <a:gd name="connsiteY14" fmla="*/ 515080 h 761503"/>
                <a:gd name="connsiteX15" fmla="*/ 482445 w 571128"/>
                <a:gd name="connsiteY15" fmla="*/ 558595 h 761503"/>
                <a:gd name="connsiteX16" fmla="*/ 479725 w 571128"/>
                <a:gd name="connsiteY16" fmla="*/ 602109 h 761503"/>
                <a:gd name="connsiteX17" fmla="*/ 485165 w 571128"/>
                <a:gd name="connsiteY17" fmla="*/ 648343 h 761503"/>
                <a:gd name="connsiteX18" fmla="*/ 474286 w 571128"/>
                <a:gd name="connsiteY18" fmla="*/ 675540 h 761503"/>
                <a:gd name="connsiteX19" fmla="*/ 428052 w 571128"/>
                <a:gd name="connsiteY19" fmla="*/ 691858 h 761503"/>
                <a:gd name="connsiteX20" fmla="*/ 387257 w 571128"/>
                <a:gd name="connsiteY20" fmla="*/ 683699 h 761503"/>
                <a:gd name="connsiteX21" fmla="*/ 351901 w 571128"/>
                <a:gd name="connsiteY21" fmla="*/ 664661 h 761503"/>
                <a:gd name="connsiteX22" fmla="*/ 305667 w 571128"/>
                <a:gd name="connsiteY22" fmla="*/ 596670 h 761503"/>
                <a:gd name="connsiteX23" fmla="*/ 270312 w 571128"/>
                <a:gd name="connsiteY23" fmla="*/ 509641 h 761503"/>
                <a:gd name="connsiteX24" fmla="*/ 251274 w 571128"/>
                <a:gd name="connsiteY24" fmla="*/ 460687 h 761503"/>
                <a:gd name="connsiteX25" fmla="*/ 224077 w 571128"/>
                <a:gd name="connsiteY25" fmla="*/ 381817 h 761503"/>
                <a:gd name="connsiteX26" fmla="*/ 207759 w 571128"/>
                <a:gd name="connsiteY26" fmla="*/ 330144 h 761503"/>
                <a:gd name="connsiteX27" fmla="*/ 191442 w 571128"/>
                <a:gd name="connsiteY27" fmla="*/ 286629 h 761503"/>
                <a:gd name="connsiteX28" fmla="*/ 183283 w 571128"/>
                <a:gd name="connsiteY28" fmla="*/ 278470 h 761503"/>
                <a:gd name="connsiteX29" fmla="*/ 180563 w 571128"/>
                <a:gd name="connsiteY29" fmla="*/ 292069 h 761503"/>
                <a:gd name="connsiteX30" fmla="*/ 180563 w 571128"/>
                <a:gd name="connsiteY30" fmla="*/ 305667 h 761503"/>
                <a:gd name="connsiteX31" fmla="*/ 183283 w 571128"/>
                <a:gd name="connsiteY31" fmla="*/ 354621 h 761503"/>
                <a:gd name="connsiteX32" fmla="*/ 188722 w 571128"/>
                <a:gd name="connsiteY32" fmla="*/ 449809 h 761503"/>
                <a:gd name="connsiteX33" fmla="*/ 188722 w 571128"/>
                <a:gd name="connsiteY33" fmla="*/ 479725 h 761503"/>
                <a:gd name="connsiteX34" fmla="*/ 188722 w 571128"/>
                <a:gd name="connsiteY34" fmla="*/ 542277 h 761503"/>
                <a:gd name="connsiteX35" fmla="*/ 186002 w 571128"/>
                <a:gd name="connsiteY35" fmla="*/ 615708 h 761503"/>
                <a:gd name="connsiteX36" fmla="*/ 186002 w 571128"/>
                <a:gd name="connsiteY36" fmla="*/ 637465 h 761503"/>
                <a:gd name="connsiteX37" fmla="*/ 183283 w 571128"/>
                <a:gd name="connsiteY37" fmla="*/ 664661 h 761503"/>
                <a:gd name="connsiteX38" fmla="*/ 226797 w 571128"/>
                <a:gd name="connsiteY38" fmla="*/ 664661 h 761503"/>
                <a:gd name="connsiteX39" fmla="*/ 253994 w 571128"/>
                <a:gd name="connsiteY39" fmla="*/ 680979 h 761503"/>
                <a:gd name="connsiteX40" fmla="*/ 248554 w 571128"/>
                <a:gd name="connsiteY40" fmla="*/ 697297 h 761503"/>
                <a:gd name="connsiteX41" fmla="*/ 234956 w 571128"/>
                <a:gd name="connsiteY41" fmla="*/ 705456 h 761503"/>
                <a:gd name="connsiteX42" fmla="*/ 218638 w 571128"/>
                <a:gd name="connsiteY42" fmla="*/ 708176 h 761503"/>
                <a:gd name="connsiteX43" fmla="*/ 183283 w 571128"/>
                <a:gd name="connsiteY43" fmla="*/ 708176 h 761503"/>
                <a:gd name="connsiteX44" fmla="*/ 150647 w 571128"/>
                <a:gd name="connsiteY44" fmla="*/ 708176 h 761503"/>
                <a:gd name="connsiteX45" fmla="*/ 107132 w 571128"/>
                <a:gd name="connsiteY45" fmla="*/ 708176 h 761503"/>
                <a:gd name="connsiteX46" fmla="*/ 88094 w 571128"/>
                <a:gd name="connsiteY46" fmla="*/ 708176 h 761503"/>
                <a:gd name="connsiteX47" fmla="*/ 69057 w 571128"/>
                <a:gd name="connsiteY47" fmla="*/ 702737 h 761503"/>
                <a:gd name="connsiteX48" fmla="*/ 58178 w 571128"/>
                <a:gd name="connsiteY48" fmla="*/ 686419 h 761503"/>
                <a:gd name="connsiteX49" fmla="*/ 60898 w 571128"/>
                <a:gd name="connsiteY49" fmla="*/ 678260 h 761503"/>
                <a:gd name="connsiteX50" fmla="*/ 77216 w 571128"/>
                <a:gd name="connsiteY50" fmla="*/ 670101 h 761503"/>
                <a:gd name="connsiteX51" fmla="*/ 120730 w 571128"/>
                <a:gd name="connsiteY51" fmla="*/ 664661 h 761503"/>
                <a:gd name="connsiteX52" fmla="*/ 131609 w 571128"/>
                <a:gd name="connsiteY52" fmla="*/ 664661 h 761503"/>
                <a:gd name="connsiteX53" fmla="*/ 134329 w 571128"/>
                <a:gd name="connsiteY53" fmla="*/ 539557 h 761503"/>
                <a:gd name="connsiteX54" fmla="*/ 134329 w 571128"/>
                <a:gd name="connsiteY54" fmla="*/ 504202 h 761503"/>
                <a:gd name="connsiteX55" fmla="*/ 131609 w 571128"/>
                <a:gd name="connsiteY55" fmla="*/ 376378 h 761503"/>
                <a:gd name="connsiteX56" fmla="*/ 131609 w 571128"/>
                <a:gd name="connsiteY56" fmla="*/ 302947 h 761503"/>
                <a:gd name="connsiteX57" fmla="*/ 134329 w 571128"/>
                <a:gd name="connsiteY57" fmla="*/ 221357 h 761503"/>
                <a:gd name="connsiteX58" fmla="*/ 137048 w 571128"/>
                <a:gd name="connsiteY58" fmla="*/ 123450 h 761503"/>
                <a:gd name="connsiteX59" fmla="*/ 107132 w 571128"/>
                <a:gd name="connsiteY59" fmla="*/ 123450 h 761503"/>
                <a:gd name="connsiteX60" fmla="*/ 88094 w 571128"/>
                <a:gd name="connsiteY60" fmla="*/ 123450 h 761503"/>
                <a:gd name="connsiteX61" fmla="*/ 69057 w 571128"/>
                <a:gd name="connsiteY61" fmla="*/ 118011 h 761503"/>
                <a:gd name="connsiteX62" fmla="*/ 58178 w 571128"/>
                <a:gd name="connsiteY62" fmla="*/ 101693 h 761503"/>
                <a:gd name="connsiteX63" fmla="*/ 60898 w 571128"/>
                <a:gd name="connsiteY63" fmla="*/ 93534 h 761503"/>
                <a:gd name="connsiteX64" fmla="*/ 77216 w 571128"/>
                <a:gd name="connsiteY64" fmla="*/ 85375 h 761503"/>
                <a:gd name="connsiteX65" fmla="*/ 131609 w 571128"/>
                <a:gd name="connsiteY65" fmla="*/ 79936 h 761503"/>
                <a:gd name="connsiteX66" fmla="*/ 161525 w 571128"/>
                <a:gd name="connsiteY66" fmla="*/ 79936 h 761503"/>
                <a:gd name="connsiteX67" fmla="*/ 177843 w 571128"/>
                <a:gd name="connsiteY67" fmla="*/ 66337 h 761503"/>
                <a:gd name="connsiteX68" fmla="*/ 202320 w 571128"/>
                <a:gd name="connsiteY68" fmla="*/ 58178 h 761503"/>
                <a:gd name="connsiteX69" fmla="*/ 234956 w 571128"/>
                <a:gd name="connsiteY69" fmla="*/ 77216 h 761503"/>
                <a:gd name="connsiteX70" fmla="*/ 251274 w 571128"/>
                <a:gd name="connsiteY70" fmla="*/ 107132 h 761503"/>
                <a:gd name="connsiteX71" fmla="*/ 267592 w 571128"/>
                <a:gd name="connsiteY71" fmla="*/ 147927 h 761503"/>
                <a:gd name="connsiteX72" fmla="*/ 281190 w 571128"/>
                <a:gd name="connsiteY72" fmla="*/ 183282 h 761503"/>
                <a:gd name="connsiteX73" fmla="*/ 297508 w 571128"/>
                <a:gd name="connsiteY73" fmla="*/ 224077 h 761503"/>
                <a:gd name="connsiteX74" fmla="*/ 308387 w 571128"/>
                <a:gd name="connsiteY74" fmla="*/ 264872 h 761503"/>
                <a:gd name="connsiteX75" fmla="*/ 319265 w 571128"/>
                <a:gd name="connsiteY75" fmla="*/ 300228 h 761503"/>
                <a:gd name="connsiteX76" fmla="*/ 351901 w 571128"/>
                <a:gd name="connsiteY76" fmla="*/ 379098 h 761503"/>
                <a:gd name="connsiteX77" fmla="*/ 365500 w 571128"/>
                <a:gd name="connsiteY77" fmla="*/ 417173 h 761503"/>
                <a:gd name="connsiteX78" fmla="*/ 379098 w 571128"/>
                <a:gd name="connsiteY78" fmla="*/ 457968 h 761503"/>
                <a:gd name="connsiteX79" fmla="*/ 395416 w 571128"/>
                <a:gd name="connsiteY79" fmla="*/ 496043 h 761503"/>
                <a:gd name="connsiteX80" fmla="*/ 406295 w 571128"/>
                <a:gd name="connsiteY80" fmla="*/ 512361 h 761503"/>
                <a:gd name="connsiteX81" fmla="*/ 411734 w 571128"/>
                <a:gd name="connsiteY81" fmla="*/ 531398 h 761503"/>
                <a:gd name="connsiteX82" fmla="*/ 419893 w 571128"/>
                <a:gd name="connsiteY82" fmla="*/ 558595 h 761503"/>
                <a:gd name="connsiteX83" fmla="*/ 425332 w 571128"/>
                <a:gd name="connsiteY83" fmla="*/ 564034 h 761503"/>
                <a:gd name="connsiteX84" fmla="*/ 430771 w 571128"/>
                <a:gd name="connsiteY84" fmla="*/ 558595 h 761503"/>
                <a:gd name="connsiteX85" fmla="*/ 430771 w 571128"/>
                <a:gd name="connsiteY85" fmla="*/ 550436 h 761503"/>
                <a:gd name="connsiteX86" fmla="*/ 430771 w 571128"/>
                <a:gd name="connsiteY86" fmla="*/ 501482 h 761503"/>
                <a:gd name="connsiteX87" fmla="*/ 430771 w 571128"/>
                <a:gd name="connsiteY87" fmla="*/ 403575 h 761503"/>
                <a:gd name="connsiteX88" fmla="*/ 425332 w 571128"/>
                <a:gd name="connsiteY88" fmla="*/ 313826 h 761503"/>
                <a:gd name="connsiteX89" fmla="*/ 425332 w 571128"/>
                <a:gd name="connsiteY89" fmla="*/ 248554 h 761503"/>
                <a:gd name="connsiteX90" fmla="*/ 425332 w 571128"/>
                <a:gd name="connsiteY90" fmla="*/ 210479 h 761503"/>
                <a:gd name="connsiteX91" fmla="*/ 422613 w 571128"/>
                <a:gd name="connsiteY91" fmla="*/ 153366 h 761503"/>
                <a:gd name="connsiteX92" fmla="*/ 425332 w 571128"/>
                <a:gd name="connsiteY92" fmla="*/ 123450 h 761503"/>
                <a:gd name="connsiteX93" fmla="*/ 398136 w 571128"/>
                <a:gd name="connsiteY93" fmla="*/ 123450 h 761503"/>
                <a:gd name="connsiteX94" fmla="*/ 379098 w 571128"/>
                <a:gd name="connsiteY94" fmla="*/ 123450 h 761503"/>
                <a:gd name="connsiteX95" fmla="*/ 360060 w 571128"/>
                <a:gd name="connsiteY95" fmla="*/ 118011 h 761503"/>
                <a:gd name="connsiteX96" fmla="*/ 349182 w 571128"/>
                <a:gd name="connsiteY96" fmla="*/ 101693 h 761503"/>
                <a:gd name="connsiteX97" fmla="*/ 351901 w 571128"/>
                <a:gd name="connsiteY97" fmla="*/ 93534 h 761503"/>
                <a:gd name="connsiteX98" fmla="*/ 368219 w 571128"/>
                <a:gd name="connsiteY98" fmla="*/ 85375 h 761503"/>
                <a:gd name="connsiteX99" fmla="*/ 422613 w 571128"/>
                <a:gd name="connsiteY99" fmla="*/ 79936 h 761503"/>
                <a:gd name="connsiteX100" fmla="*/ 444370 w 571128"/>
                <a:gd name="connsiteY100" fmla="*/ 79936 h 761503"/>
                <a:gd name="connsiteX101" fmla="*/ 463407 w 571128"/>
                <a:gd name="connsiteY101" fmla="*/ 71776 h 761503"/>
                <a:gd name="connsiteX102" fmla="*/ 477006 w 571128"/>
                <a:gd name="connsiteY102" fmla="*/ 79936 h 761503"/>
                <a:gd name="connsiteX103" fmla="*/ 512361 w 571128"/>
                <a:gd name="connsiteY103" fmla="*/ 79936 h 761503"/>
                <a:gd name="connsiteX104" fmla="*/ 512361 w 571128"/>
                <a:gd name="connsiteY104" fmla="*/ 79936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71128" h="761503">
                  <a:moveTo>
                    <a:pt x="512361" y="79936"/>
                  </a:moveTo>
                  <a:cubicBezTo>
                    <a:pt x="520520" y="79936"/>
                    <a:pt x="539558" y="79936"/>
                    <a:pt x="539558" y="96253"/>
                  </a:cubicBezTo>
                  <a:cubicBezTo>
                    <a:pt x="539558" y="104412"/>
                    <a:pt x="539558" y="107132"/>
                    <a:pt x="534118" y="112571"/>
                  </a:cubicBezTo>
                  <a:cubicBezTo>
                    <a:pt x="531399" y="118011"/>
                    <a:pt x="525960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10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5"/>
                    <a:pt x="485165" y="419892"/>
                  </a:cubicBezTo>
                  <a:cubicBezTo>
                    <a:pt x="485165" y="436210"/>
                    <a:pt x="485165" y="449809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9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6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9"/>
                    <a:pt x="444370" y="691858"/>
                    <a:pt x="428052" y="691858"/>
                  </a:cubicBezTo>
                  <a:cubicBezTo>
                    <a:pt x="414454" y="691858"/>
                    <a:pt x="400855" y="689138"/>
                    <a:pt x="387257" y="683699"/>
                  </a:cubicBezTo>
                  <a:cubicBezTo>
                    <a:pt x="373659" y="678260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1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8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9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1"/>
                  </a:cubicBezTo>
                  <a:cubicBezTo>
                    <a:pt x="183283" y="387257"/>
                    <a:pt x="186002" y="417173"/>
                    <a:pt x="188722" y="449809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7"/>
                    <a:pt x="186002" y="632026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7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3" y="708176"/>
                    <a:pt x="88094" y="708176"/>
                  </a:cubicBezTo>
                  <a:cubicBezTo>
                    <a:pt x="82655" y="708176"/>
                    <a:pt x="74496" y="708176"/>
                    <a:pt x="69057" y="702737"/>
                  </a:cubicBezTo>
                  <a:cubicBezTo>
                    <a:pt x="63618" y="700017"/>
                    <a:pt x="58178" y="691858"/>
                    <a:pt x="58178" y="686419"/>
                  </a:cubicBezTo>
                  <a:cubicBezTo>
                    <a:pt x="58178" y="683699"/>
                    <a:pt x="58178" y="680979"/>
                    <a:pt x="60898" y="678260"/>
                  </a:cubicBezTo>
                  <a:cubicBezTo>
                    <a:pt x="63618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7"/>
                    <a:pt x="134329" y="583072"/>
                    <a:pt x="134329" y="539557"/>
                  </a:cubicBezTo>
                  <a:cubicBezTo>
                    <a:pt x="134329" y="528679"/>
                    <a:pt x="134329" y="515080"/>
                    <a:pt x="134329" y="504202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3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8" y="90814"/>
                    <a:pt x="71777" y="88095"/>
                    <a:pt x="77216" y="85375"/>
                  </a:cubicBezTo>
                  <a:cubicBezTo>
                    <a:pt x="90814" y="82655"/>
                    <a:pt x="126170" y="79936"/>
                    <a:pt x="131609" y="79936"/>
                  </a:cubicBezTo>
                  <a:cubicBezTo>
                    <a:pt x="137048" y="79936"/>
                    <a:pt x="147927" y="79936"/>
                    <a:pt x="161525" y="79936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8"/>
                    <a:pt x="234956" y="77216"/>
                  </a:cubicBezTo>
                  <a:cubicBezTo>
                    <a:pt x="240395" y="88095"/>
                    <a:pt x="248554" y="96253"/>
                    <a:pt x="251274" y="107132"/>
                  </a:cubicBezTo>
                  <a:cubicBezTo>
                    <a:pt x="256713" y="120730"/>
                    <a:pt x="259433" y="134329"/>
                    <a:pt x="267592" y="147927"/>
                  </a:cubicBezTo>
                  <a:cubicBezTo>
                    <a:pt x="273031" y="158806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6"/>
                    <a:pt x="305667" y="251274"/>
                    <a:pt x="308387" y="264872"/>
                  </a:cubicBezTo>
                  <a:cubicBezTo>
                    <a:pt x="311107" y="278470"/>
                    <a:pt x="311107" y="289349"/>
                    <a:pt x="319265" y="300228"/>
                  </a:cubicBezTo>
                  <a:cubicBezTo>
                    <a:pt x="332864" y="324704"/>
                    <a:pt x="346462" y="351901"/>
                    <a:pt x="351901" y="379098"/>
                  </a:cubicBezTo>
                  <a:cubicBezTo>
                    <a:pt x="354621" y="392696"/>
                    <a:pt x="360060" y="403575"/>
                    <a:pt x="365500" y="417173"/>
                  </a:cubicBezTo>
                  <a:cubicBezTo>
                    <a:pt x="373659" y="430771"/>
                    <a:pt x="373659" y="444369"/>
                    <a:pt x="379098" y="457968"/>
                  </a:cubicBezTo>
                  <a:cubicBezTo>
                    <a:pt x="381818" y="471566"/>
                    <a:pt x="387257" y="482445"/>
                    <a:pt x="395416" y="496043"/>
                  </a:cubicBezTo>
                  <a:cubicBezTo>
                    <a:pt x="398136" y="501482"/>
                    <a:pt x="403575" y="506921"/>
                    <a:pt x="406295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4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6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5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9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8"/>
                    <a:pt x="422613" y="134329"/>
                    <a:pt x="425332" y="123450"/>
                  </a:cubicBezTo>
                  <a:cubicBezTo>
                    <a:pt x="417173" y="123450"/>
                    <a:pt x="406295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5"/>
                    <a:pt x="368219" y="85375"/>
                  </a:cubicBezTo>
                  <a:cubicBezTo>
                    <a:pt x="381818" y="82655"/>
                    <a:pt x="417173" y="79936"/>
                    <a:pt x="422613" y="79936"/>
                  </a:cubicBezTo>
                  <a:cubicBezTo>
                    <a:pt x="428052" y="79936"/>
                    <a:pt x="433491" y="79936"/>
                    <a:pt x="444370" y="79936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6"/>
                  </a:cubicBezTo>
                  <a:cubicBezTo>
                    <a:pt x="490604" y="82655"/>
                    <a:pt x="504202" y="79936"/>
                    <a:pt x="512361" y="79936"/>
                  </a:cubicBezTo>
                  <a:lnTo>
                    <a:pt x="512361" y="79936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02C14CBB-D0EA-4098-8F25-912BA05B86AD}"/>
                </a:ext>
              </a:extLst>
            </p:cNvPr>
            <p:cNvSpPr/>
            <p:nvPr/>
          </p:nvSpPr>
          <p:spPr>
            <a:xfrm>
              <a:off x="2987430" y="4242177"/>
              <a:ext cx="494979" cy="674476"/>
            </a:xfrm>
            <a:custGeom>
              <a:avLst/>
              <a:gdLst>
                <a:gd name="connsiteX0" fmla="*/ 228453 w 494979"/>
                <a:gd name="connsiteY0" fmla="*/ 97907 h 674476"/>
                <a:gd name="connsiteX1" fmla="*/ 212135 w 494979"/>
                <a:gd name="connsiteY1" fmla="*/ 119665 h 674476"/>
                <a:gd name="connsiteX2" fmla="*/ 203976 w 494979"/>
                <a:gd name="connsiteY2" fmla="*/ 152300 h 674476"/>
                <a:gd name="connsiteX3" fmla="*/ 201256 w 494979"/>
                <a:gd name="connsiteY3" fmla="*/ 168618 h 674476"/>
                <a:gd name="connsiteX4" fmla="*/ 198537 w 494979"/>
                <a:gd name="connsiteY4" fmla="*/ 184936 h 674476"/>
                <a:gd name="connsiteX5" fmla="*/ 190378 w 494979"/>
                <a:gd name="connsiteY5" fmla="*/ 220292 h 674476"/>
                <a:gd name="connsiteX6" fmla="*/ 171340 w 494979"/>
                <a:gd name="connsiteY6" fmla="*/ 291003 h 674476"/>
                <a:gd name="connsiteX7" fmla="*/ 163180 w 494979"/>
                <a:gd name="connsiteY7" fmla="*/ 323639 h 674476"/>
                <a:gd name="connsiteX8" fmla="*/ 152302 w 494979"/>
                <a:gd name="connsiteY8" fmla="*/ 361714 h 674476"/>
                <a:gd name="connsiteX9" fmla="*/ 146862 w 494979"/>
                <a:gd name="connsiteY9" fmla="*/ 388910 h 674476"/>
                <a:gd name="connsiteX10" fmla="*/ 152302 w 494979"/>
                <a:gd name="connsiteY10" fmla="*/ 391630 h 674476"/>
                <a:gd name="connsiteX11" fmla="*/ 174060 w 494979"/>
                <a:gd name="connsiteY11" fmla="*/ 391630 h 674476"/>
                <a:gd name="connsiteX12" fmla="*/ 195817 w 494979"/>
                <a:gd name="connsiteY12" fmla="*/ 388910 h 674476"/>
                <a:gd name="connsiteX13" fmla="*/ 214855 w 494979"/>
                <a:gd name="connsiteY13" fmla="*/ 388910 h 674476"/>
                <a:gd name="connsiteX14" fmla="*/ 239332 w 494979"/>
                <a:gd name="connsiteY14" fmla="*/ 388910 h 674476"/>
                <a:gd name="connsiteX15" fmla="*/ 252930 w 494979"/>
                <a:gd name="connsiteY15" fmla="*/ 386191 h 674476"/>
                <a:gd name="connsiteX16" fmla="*/ 261089 w 494979"/>
                <a:gd name="connsiteY16" fmla="*/ 386191 h 674476"/>
                <a:gd name="connsiteX17" fmla="*/ 258369 w 494979"/>
                <a:gd name="connsiteY17" fmla="*/ 367153 h 674476"/>
                <a:gd name="connsiteX18" fmla="*/ 252930 w 494979"/>
                <a:gd name="connsiteY18" fmla="*/ 331797 h 674476"/>
                <a:gd name="connsiteX19" fmla="*/ 250210 w 494979"/>
                <a:gd name="connsiteY19" fmla="*/ 244769 h 674476"/>
                <a:gd name="connsiteX20" fmla="*/ 244771 w 494979"/>
                <a:gd name="connsiteY20" fmla="*/ 203974 h 674476"/>
                <a:gd name="connsiteX21" fmla="*/ 239332 w 494979"/>
                <a:gd name="connsiteY21" fmla="*/ 157740 h 674476"/>
                <a:gd name="connsiteX22" fmla="*/ 236612 w 494979"/>
                <a:gd name="connsiteY22" fmla="*/ 119665 h 674476"/>
                <a:gd name="connsiteX23" fmla="*/ 228453 w 494979"/>
                <a:gd name="connsiteY23" fmla="*/ 97907 h 674476"/>
                <a:gd name="connsiteX24" fmla="*/ 274687 w 494979"/>
                <a:gd name="connsiteY24" fmla="*/ 0 h 674476"/>
                <a:gd name="connsiteX25" fmla="*/ 304603 w 494979"/>
                <a:gd name="connsiteY25" fmla="*/ 5439 h 674476"/>
                <a:gd name="connsiteX26" fmla="*/ 320921 w 494979"/>
                <a:gd name="connsiteY26" fmla="*/ 24477 h 674476"/>
                <a:gd name="connsiteX27" fmla="*/ 334519 w 494979"/>
                <a:gd name="connsiteY27" fmla="*/ 43515 h 674476"/>
                <a:gd name="connsiteX28" fmla="*/ 339959 w 494979"/>
                <a:gd name="connsiteY28" fmla="*/ 65272 h 674476"/>
                <a:gd name="connsiteX29" fmla="*/ 348118 w 494979"/>
                <a:gd name="connsiteY29" fmla="*/ 114226 h 674476"/>
                <a:gd name="connsiteX30" fmla="*/ 361716 w 494979"/>
                <a:gd name="connsiteY30" fmla="*/ 163180 h 674476"/>
                <a:gd name="connsiteX31" fmla="*/ 369875 w 494979"/>
                <a:gd name="connsiteY31" fmla="*/ 220293 h 674476"/>
                <a:gd name="connsiteX32" fmla="*/ 378034 w 494979"/>
                <a:gd name="connsiteY32" fmla="*/ 274686 h 674476"/>
                <a:gd name="connsiteX33" fmla="*/ 383473 w 494979"/>
                <a:gd name="connsiteY33" fmla="*/ 301883 h 674476"/>
                <a:gd name="connsiteX34" fmla="*/ 391632 w 494979"/>
                <a:gd name="connsiteY34" fmla="*/ 337238 h 674476"/>
                <a:gd name="connsiteX35" fmla="*/ 397071 w 494979"/>
                <a:gd name="connsiteY35" fmla="*/ 364435 h 674476"/>
                <a:gd name="connsiteX36" fmla="*/ 405230 w 494979"/>
                <a:gd name="connsiteY36" fmla="*/ 383473 h 674476"/>
                <a:gd name="connsiteX37" fmla="*/ 416109 w 494979"/>
                <a:gd name="connsiteY37" fmla="*/ 386192 h 674476"/>
                <a:gd name="connsiteX38" fmla="*/ 426988 w 494979"/>
                <a:gd name="connsiteY38" fmla="*/ 386192 h 674476"/>
                <a:gd name="connsiteX39" fmla="*/ 454184 w 494979"/>
                <a:gd name="connsiteY39" fmla="*/ 397071 h 674476"/>
                <a:gd name="connsiteX40" fmla="*/ 456904 w 494979"/>
                <a:gd name="connsiteY40" fmla="*/ 405230 h 674476"/>
                <a:gd name="connsiteX41" fmla="*/ 451465 w 494979"/>
                <a:gd name="connsiteY41" fmla="*/ 416108 h 674476"/>
                <a:gd name="connsiteX42" fmla="*/ 432427 w 494979"/>
                <a:gd name="connsiteY42" fmla="*/ 429707 h 674476"/>
                <a:gd name="connsiteX43" fmla="*/ 421548 w 494979"/>
                <a:gd name="connsiteY43" fmla="*/ 432426 h 674476"/>
                <a:gd name="connsiteX44" fmla="*/ 413389 w 494979"/>
                <a:gd name="connsiteY44" fmla="*/ 435146 h 674476"/>
                <a:gd name="connsiteX45" fmla="*/ 413389 w 494979"/>
                <a:gd name="connsiteY45" fmla="*/ 440585 h 674476"/>
                <a:gd name="connsiteX46" fmla="*/ 416109 w 494979"/>
                <a:gd name="connsiteY46" fmla="*/ 451464 h 674476"/>
                <a:gd name="connsiteX47" fmla="*/ 418829 w 494979"/>
                <a:gd name="connsiteY47" fmla="*/ 465062 h 674476"/>
                <a:gd name="connsiteX48" fmla="*/ 418829 w 494979"/>
                <a:gd name="connsiteY48" fmla="*/ 475941 h 674476"/>
                <a:gd name="connsiteX49" fmla="*/ 418829 w 494979"/>
                <a:gd name="connsiteY49" fmla="*/ 486820 h 674476"/>
                <a:gd name="connsiteX50" fmla="*/ 426988 w 494979"/>
                <a:gd name="connsiteY50" fmla="*/ 516736 h 674476"/>
                <a:gd name="connsiteX51" fmla="*/ 432427 w 494979"/>
                <a:gd name="connsiteY51" fmla="*/ 543932 h 674476"/>
                <a:gd name="connsiteX52" fmla="*/ 437866 w 494979"/>
                <a:gd name="connsiteY52" fmla="*/ 573848 h 674476"/>
                <a:gd name="connsiteX53" fmla="*/ 443306 w 494979"/>
                <a:gd name="connsiteY53" fmla="*/ 606484 h 674476"/>
                <a:gd name="connsiteX54" fmla="*/ 446025 w 494979"/>
                <a:gd name="connsiteY54" fmla="*/ 617363 h 674476"/>
                <a:gd name="connsiteX55" fmla="*/ 470502 w 494979"/>
                <a:gd name="connsiteY55" fmla="*/ 617363 h 674476"/>
                <a:gd name="connsiteX56" fmla="*/ 494979 w 494979"/>
                <a:gd name="connsiteY56" fmla="*/ 641840 h 674476"/>
                <a:gd name="connsiteX57" fmla="*/ 486820 w 494979"/>
                <a:gd name="connsiteY57" fmla="*/ 655438 h 674476"/>
                <a:gd name="connsiteX58" fmla="*/ 470502 w 494979"/>
                <a:gd name="connsiteY58" fmla="*/ 663597 h 674476"/>
                <a:gd name="connsiteX59" fmla="*/ 446025 w 494979"/>
                <a:gd name="connsiteY59" fmla="*/ 666317 h 674476"/>
                <a:gd name="connsiteX60" fmla="*/ 424268 w 494979"/>
                <a:gd name="connsiteY60" fmla="*/ 666317 h 674476"/>
                <a:gd name="connsiteX61" fmla="*/ 416109 w 494979"/>
                <a:gd name="connsiteY61" fmla="*/ 666317 h 674476"/>
                <a:gd name="connsiteX62" fmla="*/ 402511 w 494979"/>
                <a:gd name="connsiteY62" fmla="*/ 671756 h 674476"/>
                <a:gd name="connsiteX63" fmla="*/ 386193 w 494979"/>
                <a:gd name="connsiteY63" fmla="*/ 674476 h 674476"/>
                <a:gd name="connsiteX64" fmla="*/ 350837 w 494979"/>
                <a:gd name="connsiteY64" fmla="*/ 669036 h 674476"/>
                <a:gd name="connsiteX65" fmla="*/ 329080 w 494979"/>
                <a:gd name="connsiteY65" fmla="*/ 669036 h 674476"/>
                <a:gd name="connsiteX66" fmla="*/ 280126 w 494979"/>
                <a:gd name="connsiteY66" fmla="*/ 669036 h 674476"/>
                <a:gd name="connsiteX67" fmla="*/ 255649 w 494979"/>
                <a:gd name="connsiteY67" fmla="*/ 663597 h 674476"/>
                <a:gd name="connsiteX68" fmla="*/ 239331 w 494979"/>
                <a:gd name="connsiteY68" fmla="*/ 647279 h 674476"/>
                <a:gd name="connsiteX69" fmla="*/ 263808 w 494979"/>
                <a:gd name="connsiteY69" fmla="*/ 630961 h 674476"/>
                <a:gd name="connsiteX70" fmla="*/ 291005 w 494979"/>
                <a:gd name="connsiteY70" fmla="*/ 628241 h 674476"/>
                <a:gd name="connsiteX71" fmla="*/ 288285 w 494979"/>
                <a:gd name="connsiteY71" fmla="*/ 609204 h 674476"/>
                <a:gd name="connsiteX72" fmla="*/ 285565 w 494979"/>
                <a:gd name="connsiteY72" fmla="*/ 582007 h 674476"/>
                <a:gd name="connsiteX73" fmla="*/ 282846 w 494979"/>
                <a:gd name="connsiteY73" fmla="*/ 568409 h 674476"/>
                <a:gd name="connsiteX74" fmla="*/ 285565 w 494979"/>
                <a:gd name="connsiteY74" fmla="*/ 554811 h 674476"/>
                <a:gd name="connsiteX75" fmla="*/ 280126 w 494979"/>
                <a:gd name="connsiteY75" fmla="*/ 538493 h 674476"/>
                <a:gd name="connsiteX76" fmla="*/ 274687 w 494979"/>
                <a:gd name="connsiteY76" fmla="*/ 505857 h 674476"/>
                <a:gd name="connsiteX77" fmla="*/ 271967 w 494979"/>
                <a:gd name="connsiteY77" fmla="*/ 478660 h 674476"/>
                <a:gd name="connsiteX78" fmla="*/ 269247 w 494979"/>
                <a:gd name="connsiteY78" fmla="*/ 446025 h 674476"/>
                <a:gd name="connsiteX79" fmla="*/ 263808 w 494979"/>
                <a:gd name="connsiteY79" fmla="*/ 437866 h 674476"/>
                <a:gd name="connsiteX80" fmla="*/ 252929 w 494979"/>
                <a:gd name="connsiteY80" fmla="*/ 437866 h 674476"/>
                <a:gd name="connsiteX81" fmla="*/ 223013 w 494979"/>
                <a:gd name="connsiteY81" fmla="*/ 440585 h 674476"/>
                <a:gd name="connsiteX82" fmla="*/ 193097 w 494979"/>
                <a:gd name="connsiteY82" fmla="*/ 443305 h 674476"/>
                <a:gd name="connsiteX83" fmla="*/ 168620 w 494979"/>
                <a:gd name="connsiteY83" fmla="*/ 443305 h 674476"/>
                <a:gd name="connsiteX84" fmla="*/ 146862 w 494979"/>
                <a:gd name="connsiteY84" fmla="*/ 440585 h 674476"/>
                <a:gd name="connsiteX85" fmla="*/ 138703 w 494979"/>
                <a:gd name="connsiteY85" fmla="*/ 454184 h 674476"/>
                <a:gd name="connsiteX86" fmla="*/ 133263 w 494979"/>
                <a:gd name="connsiteY86" fmla="*/ 486820 h 674476"/>
                <a:gd name="connsiteX87" fmla="*/ 122385 w 494979"/>
                <a:gd name="connsiteY87" fmla="*/ 541213 h 674476"/>
                <a:gd name="connsiteX88" fmla="*/ 106067 w 494979"/>
                <a:gd name="connsiteY88" fmla="*/ 614643 h 674476"/>
                <a:gd name="connsiteX89" fmla="*/ 135983 w 494979"/>
                <a:gd name="connsiteY89" fmla="*/ 614643 h 674476"/>
                <a:gd name="connsiteX90" fmla="*/ 171340 w 494979"/>
                <a:gd name="connsiteY90" fmla="*/ 630961 h 674476"/>
                <a:gd name="connsiteX91" fmla="*/ 165900 w 494979"/>
                <a:gd name="connsiteY91" fmla="*/ 647279 h 674476"/>
                <a:gd name="connsiteX92" fmla="*/ 149581 w 494979"/>
                <a:gd name="connsiteY92" fmla="*/ 655438 h 674476"/>
                <a:gd name="connsiteX93" fmla="*/ 127824 w 494979"/>
                <a:gd name="connsiteY93" fmla="*/ 658158 h 674476"/>
                <a:gd name="connsiteX94" fmla="*/ 106067 w 494979"/>
                <a:gd name="connsiteY94" fmla="*/ 658158 h 674476"/>
                <a:gd name="connsiteX95" fmla="*/ 62552 w 494979"/>
                <a:gd name="connsiteY95" fmla="*/ 658158 h 674476"/>
                <a:gd name="connsiteX96" fmla="*/ 40795 w 494979"/>
                <a:gd name="connsiteY96" fmla="*/ 658158 h 674476"/>
                <a:gd name="connsiteX97" fmla="*/ 16318 w 494979"/>
                <a:gd name="connsiteY97" fmla="*/ 652718 h 674476"/>
                <a:gd name="connsiteX98" fmla="*/ 0 w 494979"/>
                <a:gd name="connsiteY98" fmla="*/ 636401 h 674476"/>
                <a:gd name="connsiteX99" fmla="*/ 2720 w 494979"/>
                <a:gd name="connsiteY99" fmla="*/ 628241 h 674476"/>
                <a:gd name="connsiteX100" fmla="*/ 24477 w 494979"/>
                <a:gd name="connsiteY100" fmla="*/ 620082 h 674476"/>
                <a:gd name="connsiteX101" fmla="*/ 62552 w 494979"/>
                <a:gd name="connsiteY101" fmla="*/ 617363 h 674476"/>
                <a:gd name="connsiteX102" fmla="*/ 62552 w 494979"/>
                <a:gd name="connsiteY102" fmla="*/ 614643 h 674476"/>
                <a:gd name="connsiteX103" fmla="*/ 65272 w 494979"/>
                <a:gd name="connsiteY103" fmla="*/ 587447 h 674476"/>
                <a:gd name="connsiteX104" fmla="*/ 76151 w 494979"/>
                <a:gd name="connsiteY104" fmla="*/ 522175 h 674476"/>
                <a:gd name="connsiteX105" fmla="*/ 87029 w 494979"/>
                <a:gd name="connsiteY105" fmla="*/ 470501 h 674476"/>
                <a:gd name="connsiteX106" fmla="*/ 92469 w 494979"/>
                <a:gd name="connsiteY106" fmla="*/ 446025 h 674476"/>
                <a:gd name="connsiteX107" fmla="*/ 65272 w 494979"/>
                <a:gd name="connsiteY107" fmla="*/ 432426 h 674476"/>
                <a:gd name="connsiteX108" fmla="*/ 54393 w 494979"/>
                <a:gd name="connsiteY108" fmla="*/ 421548 h 674476"/>
                <a:gd name="connsiteX109" fmla="*/ 73431 w 494979"/>
                <a:gd name="connsiteY109" fmla="*/ 407949 h 674476"/>
                <a:gd name="connsiteX110" fmla="*/ 100628 w 494979"/>
                <a:gd name="connsiteY110" fmla="*/ 399790 h 674476"/>
                <a:gd name="connsiteX111" fmla="*/ 108787 w 494979"/>
                <a:gd name="connsiteY111" fmla="*/ 369874 h 674476"/>
                <a:gd name="connsiteX112" fmla="*/ 125105 w 494979"/>
                <a:gd name="connsiteY112" fmla="*/ 307322 h 674476"/>
                <a:gd name="connsiteX113" fmla="*/ 141423 w 494979"/>
                <a:gd name="connsiteY113" fmla="*/ 242051 h 674476"/>
                <a:gd name="connsiteX114" fmla="*/ 155021 w 494979"/>
                <a:gd name="connsiteY114" fmla="*/ 179498 h 674476"/>
                <a:gd name="connsiteX115" fmla="*/ 168620 w 494979"/>
                <a:gd name="connsiteY115" fmla="*/ 119665 h 674476"/>
                <a:gd name="connsiteX116" fmla="*/ 193097 w 494979"/>
                <a:gd name="connsiteY116" fmla="*/ 57113 h 674476"/>
                <a:gd name="connsiteX117" fmla="*/ 201256 w 494979"/>
                <a:gd name="connsiteY117" fmla="*/ 38075 h 674476"/>
                <a:gd name="connsiteX118" fmla="*/ 217574 w 494979"/>
                <a:gd name="connsiteY118" fmla="*/ 13598 h 674476"/>
                <a:gd name="connsiteX119" fmla="*/ 274687 w 49497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4979" h="674476">
                  <a:moveTo>
                    <a:pt x="228453" y="97907"/>
                  </a:moveTo>
                  <a:cubicBezTo>
                    <a:pt x="220294" y="97907"/>
                    <a:pt x="212135" y="114225"/>
                    <a:pt x="212135" y="119665"/>
                  </a:cubicBezTo>
                  <a:cubicBezTo>
                    <a:pt x="209415" y="130543"/>
                    <a:pt x="206696" y="144141"/>
                    <a:pt x="203976" y="152300"/>
                  </a:cubicBezTo>
                  <a:cubicBezTo>
                    <a:pt x="201256" y="157740"/>
                    <a:pt x="201256" y="163179"/>
                    <a:pt x="201256" y="168618"/>
                  </a:cubicBezTo>
                  <a:cubicBezTo>
                    <a:pt x="201256" y="174058"/>
                    <a:pt x="198537" y="179497"/>
                    <a:pt x="198537" y="184936"/>
                  </a:cubicBezTo>
                  <a:cubicBezTo>
                    <a:pt x="195817" y="195815"/>
                    <a:pt x="193097" y="209413"/>
                    <a:pt x="190378" y="220292"/>
                  </a:cubicBezTo>
                  <a:cubicBezTo>
                    <a:pt x="187658" y="244769"/>
                    <a:pt x="179499" y="269246"/>
                    <a:pt x="171340" y="291003"/>
                  </a:cubicBezTo>
                  <a:cubicBezTo>
                    <a:pt x="168620" y="301881"/>
                    <a:pt x="165900" y="312760"/>
                    <a:pt x="163180" y="323639"/>
                  </a:cubicBezTo>
                  <a:cubicBezTo>
                    <a:pt x="160461" y="337237"/>
                    <a:pt x="157741" y="348115"/>
                    <a:pt x="152302" y="361714"/>
                  </a:cubicBezTo>
                  <a:cubicBezTo>
                    <a:pt x="149582" y="367153"/>
                    <a:pt x="146862" y="383471"/>
                    <a:pt x="146862" y="388910"/>
                  </a:cubicBezTo>
                  <a:cubicBezTo>
                    <a:pt x="146862" y="391630"/>
                    <a:pt x="149582" y="391630"/>
                    <a:pt x="152302" y="391630"/>
                  </a:cubicBezTo>
                  <a:cubicBezTo>
                    <a:pt x="157741" y="391630"/>
                    <a:pt x="171340" y="391630"/>
                    <a:pt x="174060" y="391630"/>
                  </a:cubicBezTo>
                  <a:cubicBezTo>
                    <a:pt x="182219" y="391630"/>
                    <a:pt x="190378" y="391630"/>
                    <a:pt x="195817" y="388910"/>
                  </a:cubicBezTo>
                  <a:cubicBezTo>
                    <a:pt x="201256" y="388910"/>
                    <a:pt x="206696" y="388910"/>
                    <a:pt x="214855" y="388910"/>
                  </a:cubicBezTo>
                  <a:cubicBezTo>
                    <a:pt x="220294" y="388910"/>
                    <a:pt x="228453" y="388910"/>
                    <a:pt x="239332" y="388910"/>
                  </a:cubicBezTo>
                  <a:cubicBezTo>
                    <a:pt x="244771" y="388910"/>
                    <a:pt x="250210" y="388910"/>
                    <a:pt x="252930" y="386191"/>
                  </a:cubicBezTo>
                  <a:cubicBezTo>
                    <a:pt x="258369" y="391630"/>
                    <a:pt x="261089" y="388910"/>
                    <a:pt x="261089" y="386191"/>
                  </a:cubicBezTo>
                  <a:cubicBezTo>
                    <a:pt x="261089" y="380751"/>
                    <a:pt x="258369" y="372592"/>
                    <a:pt x="258369" y="367153"/>
                  </a:cubicBezTo>
                  <a:cubicBezTo>
                    <a:pt x="255650" y="353555"/>
                    <a:pt x="252930" y="342676"/>
                    <a:pt x="252930" y="331797"/>
                  </a:cubicBezTo>
                  <a:cubicBezTo>
                    <a:pt x="252930" y="301881"/>
                    <a:pt x="252930" y="274685"/>
                    <a:pt x="250210" y="244769"/>
                  </a:cubicBezTo>
                  <a:cubicBezTo>
                    <a:pt x="250210" y="231170"/>
                    <a:pt x="247491" y="217572"/>
                    <a:pt x="244771" y="203974"/>
                  </a:cubicBezTo>
                  <a:cubicBezTo>
                    <a:pt x="242051" y="187656"/>
                    <a:pt x="239332" y="174058"/>
                    <a:pt x="239332" y="157740"/>
                  </a:cubicBezTo>
                  <a:cubicBezTo>
                    <a:pt x="239332" y="152300"/>
                    <a:pt x="239332" y="133263"/>
                    <a:pt x="236612" y="119665"/>
                  </a:cubicBezTo>
                  <a:cubicBezTo>
                    <a:pt x="236612" y="106066"/>
                    <a:pt x="233892" y="97907"/>
                    <a:pt x="22845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2" y="10879"/>
                    <a:pt x="315482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2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5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8661" y="625522"/>
                    <a:pt x="492259" y="630961"/>
                    <a:pt x="494979" y="641840"/>
                  </a:cubicBezTo>
                  <a:cubicBezTo>
                    <a:pt x="494979" y="647279"/>
                    <a:pt x="489540" y="649999"/>
                    <a:pt x="486820" y="655438"/>
                  </a:cubicBezTo>
                  <a:cubicBezTo>
                    <a:pt x="484100" y="660877"/>
                    <a:pt x="475942" y="663597"/>
                    <a:pt x="470502" y="663597"/>
                  </a:cubicBezTo>
                  <a:cubicBezTo>
                    <a:pt x="459623" y="666317"/>
                    <a:pt x="454184" y="666317"/>
                    <a:pt x="446025" y="666317"/>
                  </a:cubicBezTo>
                  <a:cubicBezTo>
                    <a:pt x="440586" y="666317"/>
                    <a:pt x="432427" y="666317"/>
                    <a:pt x="424268" y="666317"/>
                  </a:cubicBezTo>
                  <a:cubicBezTo>
                    <a:pt x="421548" y="666317"/>
                    <a:pt x="418829" y="666317"/>
                    <a:pt x="416109" y="666317"/>
                  </a:cubicBezTo>
                  <a:cubicBezTo>
                    <a:pt x="410670" y="669036"/>
                    <a:pt x="407950" y="669036"/>
                    <a:pt x="402511" y="671756"/>
                  </a:cubicBezTo>
                  <a:cubicBezTo>
                    <a:pt x="397071" y="671756"/>
                    <a:pt x="391632" y="674476"/>
                    <a:pt x="386193" y="674476"/>
                  </a:cubicBezTo>
                  <a:cubicBezTo>
                    <a:pt x="375314" y="674476"/>
                    <a:pt x="361716" y="671756"/>
                    <a:pt x="350837" y="669036"/>
                  </a:cubicBezTo>
                  <a:cubicBezTo>
                    <a:pt x="342678" y="669036"/>
                    <a:pt x="334519" y="669036"/>
                    <a:pt x="329080" y="669036"/>
                  </a:cubicBezTo>
                  <a:cubicBezTo>
                    <a:pt x="307323" y="669036"/>
                    <a:pt x="288285" y="669036"/>
                    <a:pt x="280126" y="669036"/>
                  </a:cubicBezTo>
                  <a:cubicBezTo>
                    <a:pt x="271967" y="669036"/>
                    <a:pt x="261088" y="669036"/>
                    <a:pt x="255649" y="663597"/>
                  </a:cubicBezTo>
                  <a:cubicBezTo>
                    <a:pt x="250210" y="660877"/>
                    <a:pt x="239331" y="655438"/>
                    <a:pt x="239331" y="647279"/>
                  </a:cubicBezTo>
                  <a:cubicBezTo>
                    <a:pt x="239331" y="636401"/>
                    <a:pt x="255649" y="633681"/>
                    <a:pt x="263808" y="630961"/>
                  </a:cubicBezTo>
                  <a:cubicBezTo>
                    <a:pt x="269247" y="630961"/>
                    <a:pt x="277406" y="630961"/>
                    <a:pt x="291005" y="628241"/>
                  </a:cubicBezTo>
                  <a:cubicBezTo>
                    <a:pt x="291005" y="620082"/>
                    <a:pt x="291005" y="614643"/>
                    <a:pt x="288285" y="609204"/>
                  </a:cubicBezTo>
                  <a:cubicBezTo>
                    <a:pt x="288285" y="601045"/>
                    <a:pt x="285565" y="590166"/>
                    <a:pt x="285565" y="582007"/>
                  </a:cubicBezTo>
                  <a:cubicBezTo>
                    <a:pt x="285565" y="576568"/>
                    <a:pt x="282846" y="573848"/>
                    <a:pt x="282846" y="568409"/>
                  </a:cubicBezTo>
                  <a:cubicBezTo>
                    <a:pt x="282846" y="562970"/>
                    <a:pt x="285565" y="557531"/>
                    <a:pt x="285565" y="554811"/>
                  </a:cubicBezTo>
                  <a:cubicBezTo>
                    <a:pt x="285565" y="549371"/>
                    <a:pt x="282846" y="546652"/>
                    <a:pt x="280126" y="538493"/>
                  </a:cubicBezTo>
                  <a:cubicBezTo>
                    <a:pt x="280126" y="527614"/>
                    <a:pt x="274687" y="516736"/>
                    <a:pt x="274687" y="505857"/>
                  </a:cubicBezTo>
                  <a:cubicBezTo>
                    <a:pt x="274687" y="494978"/>
                    <a:pt x="274687" y="486820"/>
                    <a:pt x="271967" y="478660"/>
                  </a:cubicBezTo>
                  <a:cubicBezTo>
                    <a:pt x="269247" y="467782"/>
                    <a:pt x="269247" y="456903"/>
                    <a:pt x="269247" y="446025"/>
                  </a:cubicBezTo>
                  <a:cubicBezTo>
                    <a:pt x="269247" y="440585"/>
                    <a:pt x="266528" y="437866"/>
                    <a:pt x="263808" y="437866"/>
                  </a:cubicBezTo>
                  <a:cubicBezTo>
                    <a:pt x="261088" y="437866"/>
                    <a:pt x="258369" y="437866"/>
                    <a:pt x="252929" y="437866"/>
                  </a:cubicBezTo>
                  <a:cubicBezTo>
                    <a:pt x="242051" y="437866"/>
                    <a:pt x="231172" y="437866"/>
                    <a:pt x="223013" y="440585"/>
                  </a:cubicBezTo>
                  <a:cubicBezTo>
                    <a:pt x="212135" y="440585"/>
                    <a:pt x="203976" y="443305"/>
                    <a:pt x="193097" y="443305"/>
                  </a:cubicBezTo>
                  <a:cubicBezTo>
                    <a:pt x="184938" y="443305"/>
                    <a:pt x="176779" y="443305"/>
                    <a:pt x="168620" y="443305"/>
                  </a:cubicBezTo>
                  <a:cubicBezTo>
                    <a:pt x="165900" y="443305"/>
                    <a:pt x="155021" y="440585"/>
                    <a:pt x="146862" y="440585"/>
                  </a:cubicBezTo>
                  <a:cubicBezTo>
                    <a:pt x="138703" y="440585"/>
                    <a:pt x="138703" y="448744"/>
                    <a:pt x="138703" y="454184"/>
                  </a:cubicBezTo>
                  <a:cubicBezTo>
                    <a:pt x="138703" y="465062"/>
                    <a:pt x="135983" y="475941"/>
                    <a:pt x="133263" y="486820"/>
                  </a:cubicBezTo>
                  <a:cubicBezTo>
                    <a:pt x="130544" y="505857"/>
                    <a:pt x="125105" y="522175"/>
                    <a:pt x="122385" y="541213"/>
                  </a:cubicBezTo>
                  <a:cubicBezTo>
                    <a:pt x="119665" y="560250"/>
                    <a:pt x="111506" y="595606"/>
                    <a:pt x="106067" y="614643"/>
                  </a:cubicBezTo>
                  <a:cubicBezTo>
                    <a:pt x="114226" y="614643"/>
                    <a:pt x="125105" y="614643"/>
                    <a:pt x="135983" y="614643"/>
                  </a:cubicBezTo>
                  <a:cubicBezTo>
                    <a:pt x="149581" y="614643"/>
                    <a:pt x="171340" y="614643"/>
                    <a:pt x="171340" y="630961"/>
                  </a:cubicBezTo>
                  <a:cubicBezTo>
                    <a:pt x="171340" y="639120"/>
                    <a:pt x="168620" y="639120"/>
                    <a:pt x="165900" y="647279"/>
                  </a:cubicBezTo>
                  <a:cubicBezTo>
                    <a:pt x="163181" y="652718"/>
                    <a:pt x="155021" y="655438"/>
                    <a:pt x="149581" y="655438"/>
                  </a:cubicBezTo>
                  <a:cubicBezTo>
                    <a:pt x="141423" y="658158"/>
                    <a:pt x="135983" y="658158"/>
                    <a:pt x="127824" y="658158"/>
                  </a:cubicBezTo>
                  <a:cubicBezTo>
                    <a:pt x="122385" y="658158"/>
                    <a:pt x="116946" y="658158"/>
                    <a:pt x="106067" y="658158"/>
                  </a:cubicBezTo>
                  <a:cubicBezTo>
                    <a:pt x="92469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9" y="451464"/>
                    <a:pt x="92469" y="446025"/>
                  </a:cubicBezTo>
                  <a:cubicBezTo>
                    <a:pt x="92469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9" y="405230"/>
                    <a:pt x="100628" y="399790"/>
                  </a:cubicBezTo>
                  <a:cubicBezTo>
                    <a:pt x="106067" y="394351"/>
                    <a:pt x="106067" y="378033"/>
                    <a:pt x="108787" y="369874"/>
                  </a:cubicBezTo>
                  <a:cubicBezTo>
                    <a:pt x="114226" y="348117"/>
                    <a:pt x="119665" y="326360"/>
                    <a:pt x="125105" y="307322"/>
                  </a:cubicBezTo>
                  <a:cubicBezTo>
                    <a:pt x="130544" y="285565"/>
                    <a:pt x="135983" y="263808"/>
                    <a:pt x="141423" y="242051"/>
                  </a:cubicBezTo>
                  <a:cubicBezTo>
                    <a:pt x="146862" y="220293"/>
                    <a:pt x="152301" y="198536"/>
                    <a:pt x="155021" y="179498"/>
                  </a:cubicBezTo>
                  <a:cubicBezTo>
                    <a:pt x="157740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990F68E-345F-4F2A-88A6-34880AC52359}"/>
                </a:ext>
              </a:extLst>
            </p:cNvPr>
            <p:cNvSpPr/>
            <p:nvPr/>
          </p:nvSpPr>
          <p:spPr>
            <a:xfrm>
              <a:off x="3443268" y="4186718"/>
              <a:ext cx="435145" cy="761503"/>
            </a:xfrm>
            <a:custGeom>
              <a:avLst/>
              <a:gdLst>
                <a:gd name="connsiteX0" fmla="*/ 400855 w 435145"/>
                <a:gd name="connsiteY0" fmla="*/ 678260 h 761503"/>
                <a:gd name="connsiteX1" fmla="*/ 384537 w 435145"/>
                <a:gd name="connsiteY1" fmla="*/ 719054 h 761503"/>
                <a:gd name="connsiteX2" fmla="*/ 368219 w 435145"/>
                <a:gd name="connsiteY2" fmla="*/ 713615 h 761503"/>
                <a:gd name="connsiteX3" fmla="*/ 360060 w 435145"/>
                <a:gd name="connsiteY3" fmla="*/ 697297 h 761503"/>
                <a:gd name="connsiteX4" fmla="*/ 360060 w 435145"/>
                <a:gd name="connsiteY4" fmla="*/ 651063 h 761503"/>
                <a:gd name="connsiteX5" fmla="*/ 332864 w 435145"/>
                <a:gd name="connsiteY5" fmla="*/ 686418 h 761503"/>
                <a:gd name="connsiteX6" fmla="*/ 251274 w 435145"/>
                <a:gd name="connsiteY6" fmla="*/ 721774 h 761503"/>
                <a:gd name="connsiteX7" fmla="*/ 229517 w 435145"/>
                <a:gd name="connsiteY7" fmla="*/ 719054 h 761503"/>
                <a:gd name="connsiteX8" fmla="*/ 158806 w 435145"/>
                <a:gd name="connsiteY8" fmla="*/ 694578 h 761503"/>
                <a:gd name="connsiteX9" fmla="*/ 112571 w 435145"/>
                <a:gd name="connsiteY9" fmla="*/ 659222 h 761503"/>
                <a:gd name="connsiteX10" fmla="*/ 79936 w 435145"/>
                <a:gd name="connsiteY10" fmla="*/ 607548 h 761503"/>
                <a:gd name="connsiteX11" fmla="*/ 63618 w 435145"/>
                <a:gd name="connsiteY11" fmla="*/ 542277 h 761503"/>
                <a:gd name="connsiteX12" fmla="*/ 58178 w 435145"/>
                <a:gd name="connsiteY12" fmla="*/ 471566 h 761503"/>
                <a:gd name="connsiteX13" fmla="*/ 60898 w 435145"/>
                <a:gd name="connsiteY13" fmla="*/ 400855 h 761503"/>
                <a:gd name="connsiteX14" fmla="*/ 66337 w 435145"/>
                <a:gd name="connsiteY14" fmla="*/ 335583 h 761503"/>
                <a:gd name="connsiteX15" fmla="*/ 85375 w 435145"/>
                <a:gd name="connsiteY15" fmla="*/ 267592 h 761503"/>
                <a:gd name="connsiteX16" fmla="*/ 109852 w 435145"/>
                <a:gd name="connsiteY16" fmla="*/ 199600 h 761503"/>
                <a:gd name="connsiteX17" fmla="*/ 145207 w 435145"/>
                <a:gd name="connsiteY17" fmla="*/ 145207 h 761503"/>
                <a:gd name="connsiteX18" fmla="*/ 188722 w 435145"/>
                <a:gd name="connsiteY18" fmla="*/ 96253 h 761503"/>
                <a:gd name="connsiteX19" fmla="*/ 243115 w 435145"/>
                <a:gd name="connsiteY19" fmla="*/ 71776 h 761503"/>
                <a:gd name="connsiteX20" fmla="*/ 286630 w 435145"/>
                <a:gd name="connsiteY20" fmla="*/ 63617 h 761503"/>
                <a:gd name="connsiteX21" fmla="*/ 305667 w 435145"/>
                <a:gd name="connsiteY21" fmla="*/ 66337 h 761503"/>
                <a:gd name="connsiteX22" fmla="*/ 324705 w 435145"/>
                <a:gd name="connsiteY22" fmla="*/ 79936 h 761503"/>
                <a:gd name="connsiteX23" fmla="*/ 341023 w 435145"/>
                <a:gd name="connsiteY23" fmla="*/ 101693 h 761503"/>
                <a:gd name="connsiteX24" fmla="*/ 354621 w 435145"/>
                <a:gd name="connsiteY24" fmla="*/ 123450 h 761503"/>
                <a:gd name="connsiteX25" fmla="*/ 354621 w 435145"/>
                <a:gd name="connsiteY25" fmla="*/ 98973 h 761503"/>
                <a:gd name="connsiteX26" fmla="*/ 360060 w 435145"/>
                <a:gd name="connsiteY26" fmla="*/ 74496 h 761503"/>
                <a:gd name="connsiteX27" fmla="*/ 365500 w 435145"/>
                <a:gd name="connsiteY27" fmla="*/ 63617 h 761503"/>
                <a:gd name="connsiteX28" fmla="*/ 373659 w 435145"/>
                <a:gd name="connsiteY28" fmla="*/ 58178 h 761503"/>
                <a:gd name="connsiteX29" fmla="*/ 381818 w 435145"/>
                <a:gd name="connsiteY29" fmla="*/ 63617 h 761503"/>
                <a:gd name="connsiteX30" fmla="*/ 389977 w 435145"/>
                <a:gd name="connsiteY30" fmla="*/ 82655 h 761503"/>
                <a:gd name="connsiteX31" fmla="*/ 392696 w 435145"/>
                <a:gd name="connsiteY31" fmla="*/ 126170 h 761503"/>
                <a:gd name="connsiteX32" fmla="*/ 395416 w 435145"/>
                <a:gd name="connsiteY32" fmla="*/ 186002 h 761503"/>
                <a:gd name="connsiteX33" fmla="*/ 398136 w 435145"/>
                <a:gd name="connsiteY33" fmla="*/ 237675 h 761503"/>
                <a:gd name="connsiteX34" fmla="*/ 398136 w 435145"/>
                <a:gd name="connsiteY34" fmla="*/ 243115 h 761503"/>
                <a:gd name="connsiteX35" fmla="*/ 395416 w 435145"/>
                <a:gd name="connsiteY35" fmla="*/ 256713 h 761503"/>
                <a:gd name="connsiteX36" fmla="*/ 379098 w 435145"/>
                <a:gd name="connsiteY36" fmla="*/ 278470 h 761503"/>
                <a:gd name="connsiteX37" fmla="*/ 362780 w 435145"/>
                <a:gd name="connsiteY37" fmla="*/ 273031 h 761503"/>
                <a:gd name="connsiteX38" fmla="*/ 354621 w 435145"/>
                <a:gd name="connsiteY38" fmla="*/ 256713 h 761503"/>
                <a:gd name="connsiteX39" fmla="*/ 354621 w 435145"/>
                <a:gd name="connsiteY39" fmla="*/ 213198 h 761503"/>
                <a:gd name="connsiteX40" fmla="*/ 354621 w 435145"/>
                <a:gd name="connsiteY40" fmla="*/ 205040 h 761503"/>
                <a:gd name="connsiteX41" fmla="*/ 338303 w 435145"/>
                <a:gd name="connsiteY41" fmla="*/ 147927 h 761503"/>
                <a:gd name="connsiteX42" fmla="*/ 292069 w 435145"/>
                <a:gd name="connsiteY42" fmla="*/ 107132 h 761503"/>
                <a:gd name="connsiteX43" fmla="*/ 262153 w 435145"/>
                <a:gd name="connsiteY43" fmla="*/ 120730 h 761503"/>
                <a:gd name="connsiteX44" fmla="*/ 251274 w 435145"/>
                <a:gd name="connsiteY44" fmla="*/ 131609 h 761503"/>
                <a:gd name="connsiteX45" fmla="*/ 240395 w 435145"/>
                <a:gd name="connsiteY45" fmla="*/ 139768 h 761503"/>
                <a:gd name="connsiteX46" fmla="*/ 237676 w 435145"/>
                <a:gd name="connsiteY46" fmla="*/ 164245 h 761503"/>
                <a:gd name="connsiteX47" fmla="*/ 226797 w 435145"/>
                <a:gd name="connsiteY47" fmla="*/ 196881 h 761503"/>
                <a:gd name="connsiteX48" fmla="*/ 213199 w 435145"/>
                <a:gd name="connsiteY48" fmla="*/ 259433 h 761503"/>
                <a:gd name="connsiteX49" fmla="*/ 207759 w 435145"/>
                <a:gd name="connsiteY49" fmla="*/ 324704 h 761503"/>
                <a:gd name="connsiteX50" fmla="*/ 207759 w 435145"/>
                <a:gd name="connsiteY50" fmla="*/ 335583 h 761503"/>
                <a:gd name="connsiteX51" fmla="*/ 205040 w 435145"/>
                <a:gd name="connsiteY51" fmla="*/ 349181 h 761503"/>
                <a:gd name="connsiteX52" fmla="*/ 207759 w 435145"/>
                <a:gd name="connsiteY52" fmla="*/ 368219 h 761503"/>
                <a:gd name="connsiteX53" fmla="*/ 207759 w 435145"/>
                <a:gd name="connsiteY53" fmla="*/ 376378 h 761503"/>
                <a:gd name="connsiteX54" fmla="*/ 205040 w 435145"/>
                <a:gd name="connsiteY54" fmla="*/ 387256 h 761503"/>
                <a:gd name="connsiteX55" fmla="*/ 205040 w 435145"/>
                <a:gd name="connsiteY55" fmla="*/ 395415 h 761503"/>
                <a:gd name="connsiteX56" fmla="*/ 205040 w 435145"/>
                <a:gd name="connsiteY56" fmla="*/ 406294 h 761503"/>
                <a:gd name="connsiteX57" fmla="*/ 205040 w 435145"/>
                <a:gd name="connsiteY57" fmla="*/ 425332 h 761503"/>
                <a:gd name="connsiteX58" fmla="*/ 213199 w 435145"/>
                <a:gd name="connsiteY58" fmla="*/ 493323 h 761503"/>
                <a:gd name="connsiteX59" fmla="*/ 221358 w 435145"/>
                <a:gd name="connsiteY59" fmla="*/ 561314 h 761503"/>
                <a:gd name="connsiteX60" fmla="*/ 226797 w 435145"/>
                <a:gd name="connsiteY60" fmla="*/ 591231 h 761503"/>
                <a:gd name="connsiteX61" fmla="*/ 240395 w 435145"/>
                <a:gd name="connsiteY61" fmla="*/ 618427 h 761503"/>
                <a:gd name="connsiteX62" fmla="*/ 283910 w 435145"/>
                <a:gd name="connsiteY62" fmla="*/ 651063 h 761503"/>
                <a:gd name="connsiteX63" fmla="*/ 338303 w 435145"/>
                <a:gd name="connsiteY63" fmla="*/ 612988 h 761503"/>
                <a:gd name="connsiteX64" fmla="*/ 354621 w 435145"/>
                <a:gd name="connsiteY64" fmla="*/ 577632 h 761503"/>
                <a:gd name="connsiteX65" fmla="*/ 357341 w 435145"/>
                <a:gd name="connsiteY65" fmla="*/ 509641 h 761503"/>
                <a:gd name="connsiteX66" fmla="*/ 362780 w 435145"/>
                <a:gd name="connsiteY66" fmla="*/ 485164 h 761503"/>
                <a:gd name="connsiteX67" fmla="*/ 368219 w 435145"/>
                <a:gd name="connsiteY67" fmla="*/ 474286 h 761503"/>
                <a:gd name="connsiteX68" fmla="*/ 376378 w 435145"/>
                <a:gd name="connsiteY68" fmla="*/ 468846 h 761503"/>
                <a:gd name="connsiteX69" fmla="*/ 384537 w 435145"/>
                <a:gd name="connsiteY69" fmla="*/ 474286 h 761503"/>
                <a:gd name="connsiteX70" fmla="*/ 392696 w 435145"/>
                <a:gd name="connsiteY70" fmla="*/ 493323 h 761503"/>
                <a:gd name="connsiteX71" fmla="*/ 395416 w 435145"/>
                <a:gd name="connsiteY71" fmla="*/ 558595 h 761503"/>
                <a:gd name="connsiteX72" fmla="*/ 398136 w 435145"/>
                <a:gd name="connsiteY72" fmla="*/ 618427 h 761503"/>
                <a:gd name="connsiteX73" fmla="*/ 400855 w 435145"/>
                <a:gd name="connsiteY73" fmla="*/ 67826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435145" h="761503">
                  <a:moveTo>
                    <a:pt x="400855" y="678260"/>
                  </a:moveTo>
                  <a:cubicBezTo>
                    <a:pt x="400855" y="689138"/>
                    <a:pt x="400855" y="719054"/>
                    <a:pt x="384537" y="719054"/>
                  </a:cubicBezTo>
                  <a:cubicBezTo>
                    <a:pt x="376378" y="719054"/>
                    <a:pt x="373659" y="716335"/>
                    <a:pt x="368219" y="713615"/>
                  </a:cubicBezTo>
                  <a:cubicBezTo>
                    <a:pt x="362780" y="710895"/>
                    <a:pt x="360060" y="702736"/>
                    <a:pt x="360060" y="697297"/>
                  </a:cubicBezTo>
                  <a:cubicBezTo>
                    <a:pt x="357341" y="680979"/>
                    <a:pt x="357341" y="664661"/>
                    <a:pt x="360060" y="651063"/>
                  </a:cubicBezTo>
                  <a:cubicBezTo>
                    <a:pt x="354621" y="659222"/>
                    <a:pt x="341023" y="678260"/>
                    <a:pt x="332864" y="686418"/>
                  </a:cubicBezTo>
                  <a:cubicBezTo>
                    <a:pt x="311107" y="708176"/>
                    <a:pt x="283910" y="721774"/>
                    <a:pt x="251274" y="721774"/>
                  </a:cubicBezTo>
                  <a:cubicBezTo>
                    <a:pt x="243115" y="721774"/>
                    <a:pt x="237676" y="721774"/>
                    <a:pt x="229517" y="719054"/>
                  </a:cubicBezTo>
                  <a:cubicBezTo>
                    <a:pt x="207759" y="716335"/>
                    <a:pt x="183283" y="708176"/>
                    <a:pt x="158806" y="694578"/>
                  </a:cubicBezTo>
                  <a:cubicBezTo>
                    <a:pt x="142488" y="686418"/>
                    <a:pt x="126170" y="672820"/>
                    <a:pt x="112571" y="659222"/>
                  </a:cubicBezTo>
                  <a:cubicBezTo>
                    <a:pt x="98973" y="642904"/>
                    <a:pt x="88095" y="626586"/>
                    <a:pt x="79936" y="607548"/>
                  </a:cubicBezTo>
                  <a:cubicBezTo>
                    <a:pt x="71777" y="585791"/>
                    <a:pt x="66337" y="566754"/>
                    <a:pt x="63618" y="542277"/>
                  </a:cubicBezTo>
                  <a:cubicBezTo>
                    <a:pt x="60898" y="517800"/>
                    <a:pt x="58178" y="493323"/>
                    <a:pt x="58178" y="471566"/>
                  </a:cubicBezTo>
                  <a:cubicBezTo>
                    <a:pt x="58178" y="447089"/>
                    <a:pt x="58178" y="425332"/>
                    <a:pt x="60898" y="400855"/>
                  </a:cubicBezTo>
                  <a:cubicBezTo>
                    <a:pt x="63618" y="379098"/>
                    <a:pt x="60898" y="357340"/>
                    <a:pt x="66337" y="335583"/>
                  </a:cubicBezTo>
                  <a:cubicBezTo>
                    <a:pt x="69057" y="313826"/>
                    <a:pt x="77216" y="289349"/>
                    <a:pt x="85375" y="267592"/>
                  </a:cubicBezTo>
                  <a:cubicBezTo>
                    <a:pt x="93534" y="243115"/>
                    <a:pt x="98973" y="221357"/>
                    <a:pt x="109852" y="199600"/>
                  </a:cubicBezTo>
                  <a:cubicBezTo>
                    <a:pt x="118011" y="177843"/>
                    <a:pt x="131609" y="161525"/>
                    <a:pt x="145207" y="145207"/>
                  </a:cubicBezTo>
                  <a:cubicBezTo>
                    <a:pt x="158806" y="128889"/>
                    <a:pt x="172404" y="109852"/>
                    <a:pt x="188722" y="96253"/>
                  </a:cubicBezTo>
                  <a:cubicBezTo>
                    <a:pt x="205040" y="82655"/>
                    <a:pt x="224077" y="77216"/>
                    <a:pt x="243115" y="71776"/>
                  </a:cubicBezTo>
                  <a:cubicBezTo>
                    <a:pt x="256713" y="69057"/>
                    <a:pt x="273031" y="63617"/>
                    <a:pt x="286630" y="63617"/>
                  </a:cubicBezTo>
                  <a:cubicBezTo>
                    <a:pt x="292069" y="63617"/>
                    <a:pt x="297508" y="63617"/>
                    <a:pt x="305667" y="66337"/>
                  </a:cubicBezTo>
                  <a:cubicBezTo>
                    <a:pt x="313826" y="69057"/>
                    <a:pt x="319266" y="74496"/>
                    <a:pt x="324705" y="79936"/>
                  </a:cubicBezTo>
                  <a:cubicBezTo>
                    <a:pt x="332864" y="85375"/>
                    <a:pt x="332864" y="93534"/>
                    <a:pt x="341023" y="101693"/>
                  </a:cubicBezTo>
                  <a:cubicBezTo>
                    <a:pt x="346462" y="107132"/>
                    <a:pt x="349182" y="118011"/>
                    <a:pt x="354621" y="123450"/>
                  </a:cubicBezTo>
                  <a:cubicBezTo>
                    <a:pt x="354621" y="115291"/>
                    <a:pt x="354621" y="101693"/>
                    <a:pt x="354621" y="98973"/>
                  </a:cubicBezTo>
                  <a:cubicBezTo>
                    <a:pt x="354621" y="90814"/>
                    <a:pt x="354621" y="79936"/>
                    <a:pt x="360060" y="74496"/>
                  </a:cubicBezTo>
                  <a:cubicBezTo>
                    <a:pt x="362780" y="71776"/>
                    <a:pt x="362780" y="69057"/>
                    <a:pt x="365500" y="63617"/>
                  </a:cubicBezTo>
                  <a:cubicBezTo>
                    <a:pt x="368219" y="60898"/>
                    <a:pt x="370939" y="58178"/>
                    <a:pt x="373659" y="58178"/>
                  </a:cubicBezTo>
                  <a:cubicBezTo>
                    <a:pt x="376378" y="58178"/>
                    <a:pt x="379098" y="60898"/>
                    <a:pt x="381818" y="63617"/>
                  </a:cubicBezTo>
                  <a:cubicBezTo>
                    <a:pt x="384537" y="69057"/>
                    <a:pt x="387257" y="77216"/>
                    <a:pt x="389977" y="82655"/>
                  </a:cubicBezTo>
                  <a:cubicBezTo>
                    <a:pt x="389977" y="90814"/>
                    <a:pt x="392696" y="107132"/>
                    <a:pt x="392696" y="126170"/>
                  </a:cubicBezTo>
                  <a:cubicBezTo>
                    <a:pt x="392696" y="150647"/>
                    <a:pt x="392696" y="177843"/>
                    <a:pt x="395416" y="186002"/>
                  </a:cubicBezTo>
                  <a:cubicBezTo>
                    <a:pt x="398136" y="205040"/>
                    <a:pt x="398136" y="215918"/>
                    <a:pt x="398136" y="237675"/>
                  </a:cubicBezTo>
                  <a:cubicBezTo>
                    <a:pt x="398136" y="240395"/>
                    <a:pt x="398136" y="243115"/>
                    <a:pt x="398136" y="243115"/>
                  </a:cubicBezTo>
                  <a:cubicBezTo>
                    <a:pt x="398136" y="248554"/>
                    <a:pt x="398136" y="251274"/>
                    <a:pt x="395416" y="256713"/>
                  </a:cubicBezTo>
                  <a:cubicBezTo>
                    <a:pt x="392696" y="267592"/>
                    <a:pt x="389977" y="278470"/>
                    <a:pt x="379098" y="278470"/>
                  </a:cubicBezTo>
                  <a:cubicBezTo>
                    <a:pt x="370939" y="278470"/>
                    <a:pt x="368219" y="275751"/>
                    <a:pt x="362780" y="273031"/>
                  </a:cubicBezTo>
                  <a:cubicBezTo>
                    <a:pt x="357341" y="270311"/>
                    <a:pt x="354621" y="262152"/>
                    <a:pt x="354621" y="256713"/>
                  </a:cubicBezTo>
                  <a:cubicBezTo>
                    <a:pt x="349182" y="237675"/>
                    <a:pt x="354621" y="232236"/>
                    <a:pt x="354621" y="213198"/>
                  </a:cubicBezTo>
                  <a:cubicBezTo>
                    <a:pt x="354621" y="210479"/>
                    <a:pt x="354621" y="207759"/>
                    <a:pt x="354621" y="205040"/>
                  </a:cubicBezTo>
                  <a:cubicBezTo>
                    <a:pt x="349182" y="186002"/>
                    <a:pt x="343742" y="169684"/>
                    <a:pt x="338303" y="147927"/>
                  </a:cubicBezTo>
                  <a:cubicBezTo>
                    <a:pt x="332864" y="131609"/>
                    <a:pt x="311107" y="107132"/>
                    <a:pt x="292069" y="107132"/>
                  </a:cubicBezTo>
                  <a:cubicBezTo>
                    <a:pt x="281190" y="107132"/>
                    <a:pt x="270312" y="115291"/>
                    <a:pt x="262153" y="120730"/>
                  </a:cubicBezTo>
                  <a:cubicBezTo>
                    <a:pt x="259433" y="123450"/>
                    <a:pt x="256713" y="126170"/>
                    <a:pt x="251274" y="131609"/>
                  </a:cubicBezTo>
                  <a:cubicBezTo>
                    <a:pt x="248554" y="134329"/>
                    <a:pt x="243115" y="137048"/>
                    <a:pt x="240395" y="139768"/>
                  </a:cubicBezTo>
                  <a:cubicBezTo>
                    <a:pt x="237676" y="145207"/>
                    <a:pt x="240395" y="156086"/>
                    <a:pt x="237676" y="164245"/>
                  </a:cubicBezTo>
                  <a:cubicBezTo>
                    <a:pt x="232236" y="175123"/>
                    <a:pt x="229517" y="186002"/>
                    <a:pt x="226797" y="196881"/>
                  </a:cubicBezTo>
                  <a:cubicBezTo>
                    <a:pt x="221358" y="218638"/>
                    <a:pt x="218638" y="237675"/>
                    <a:pt x="213199" y="259433"/>
                  </a:cubicBezTo>
                  <a:cubicBezTo>
                    <a:pt x="210479" y="281190"/>
                    <a:pt x="207759" y="302947"/>
                    <a:pt x="207759" y="324704"/>
                  </a:cubicBezTo>
                  <a:cubicBezTo>
                    <a:pt x="207759" y="327424"/>
                    <a:pt x="207759" y="332863"/>
                    <a:pt x="207759" y="335583"/>
                  </a:cubicBezTo>
                  <a:cubicBezTo>
                    <a:pt x="207759" y="341022"/>
                    <a:pt x="205040" y="343742"/>
                    <a:pt x="205040" y="349181"/>
                  </a:cubicBezTo>
                  <a:cubicBezTo>
                    <a:pt x="205040" y="354621"/>
                    <a:pt x="207759" y="362779"/>
                    <a:pt x="207759" y="368219"/>
                  </a:cubicBezTo>
                  <a:cubicBezTo>
                    <a:pt x="207759" y="370939"/>
                    <a:pt x="207759" y="373658"/>
                    <a:pt x="207759" y="376378"/>
                  </a:cubicBezTo>
                  <a:cubicBezTo>
                    <a:pt x="205040" y="381817"/>
                    <a:pt x="205040" y="384537"/>
                    <a:pt x="205040" y="387256"/>
                  </a:cubicBezTo>
                  <a:cubicBezTo>
                    <a:pt x="205040" y="389976"/>
                    <a:pt x="205040" y="392696"/>
                    <a:pt x="205040" y="395415"/>
                  </a:cubicBezTo>
                  <a:cubicBezTo>
                    <a:pt x="205040" y="398135"/>
                    <a:pt x="205040" y="403574"/>
                    <a:pt x="205040" y="406294"/>
                  </a:cubicBezTo>
                  <a:cubicBezTo>
                    <a:pt x="205040" y="411733"/>
                    <a:pt x="205040" y="417173"/>
                    <a:pt x="205040" y="425332"/>
                  </a:cubicBezTo>
                  <a:cubicBezTo>
                    <a:pt x="205040" y="449809"/>
                    <a:pt x="213199" y="471566"/>
                    <a:pt x="213199" y="493323"/>
                  </a:cubicBezTo>
                  <a:cubicBezTo>
                    <a:pt x="213199" y="517800"/>
                    <a:pt x="215919" y="539557"/>
                    <a:pt x="221358" y="561314"/>
                  </a:cubicBezTo>
                  <a:cubicBezTo>
                    <a:pt x="224077" y="572193"/>
                    <a:pt x="224077" y="580352"/>
                    <a:pt x="226797" y="591231"/>
                  </a:cubicBezTo>
                  <a:cubicBezTo>
                    <a:pt x="229517" y="599390"/>
                    <a:pt x="237676" y="607548"/>
                    <a:pt x="240395" y="618427"/>
                  </a:cubicBezTo>
                  <a:cubicBezTo>
                    <a:pt x="248554" y="637465"/>
                    <a:pt x="262153" y="651063"/>
                    <a:pt x="283910" y="651063"/>
                  </a:cubicBezTo>
                  <a:cubicBezTo>
                    <a:pt x="302948" y="651063"/>
                    <a:pt x="330144" y="629306"/>
                    <a:pt x="338303" y="612988"/>
                  </a:cubicBezTo>
                  <a:cubicBezTo>
                    <a:pt x="346462" y="599390"/>
                    <a:pt x="351901" y="591231"/>
                    <a:pt x="354621" y="577632"/>
                  </a:cubicBezTo>
                  <a:cubicBezTo>
                    <a:pt x="354621" y="550436"/>
                    <a:pt x="354621" y="517800"/>
                    <a:pt x="357341" y="509641"/>
                  </a:cubicBezTo>
                  <a:cubicBezTo>
                    <a:pt x="357341" y="501482"/>
                    <a:pt x="357341" y="490603"/>
                    <a:pt x="362780" y="485164"/>
                  </a:cubicBezTo>
                  <a:cubicBezTo>
                    <a:pt x="365500" y="482444"/>
                    <a:pt x="365500" y="479725"/>
                    <a:pt x="368219" y="474286"/>
                  </a:cubicBezTo>
                  <a:cubicBezTo>
                    <a:pt x="370939" y="471566"/>
                    <a:pt x="373659" y="468846"/>
                    <a:pt x="376378" y="468846"/>
                  </a:cubicBezTo>
                  <a:cubicBezTo>
                    <a:pt x="379098" y="468846"/>
                    <a:pt x="381818" y="471566"/>
                    <a:pt x="384537" y="474286"/>
                  </a:cubicBezTo>
                  <a:cubicBezTo>
                    <a:pt x="387257" y="479725"/>
                    <a:pt x="389977" y="487884"/>
                    <a:pt x="392696" y="493323"/>
                  </a:cubicBezTo>
                  <a:cubicBezTo>
                    <a:pt x="392696" y="501482"/>
                    <a:pt x="395416" y="539557"/>
                    <a:pt x="395416" y="558595"/>
                  </a:cubicBezTo>
                  <a:cubicBezTo>
                    <a:pt x="395416" y="583072"/>
                    <a:pt x="395416" y="610268"/>
                    <a:pt x="398136" y="618427"/>
                  </a:cubicBezTo>
                  <a:cubicBezTo>
                    <a:pt x="398136" y="648343"/>
                    <a:pt x="400855" y="659222"/>
                    <a:pt x="400855" y="67826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59B53308-CE8E-45AD-BA18-F188CE4630E5}"/>
                </a:ext>
              </a:extLst>
            </p:cNvPr>
            <p:cNvSpPr/>
            <p:nvPr/>
          </p:nvSpPr>
          <p:spPr>
            <a:xfrm>
              <a:off x="3829459" y="4200317"/>
              <a:ext cx="598325" cy="761503"/>
            </a:xfrm>
            <a:custGeom>
              <a:avLst/>
              <a:gdLst>
                <a:gd name="connsiteX0" fmla="*/ 360060 w 598324"/>
                <a:gd name="connsiteY0" fmla="*/ 332863 h 761503"/>
                <a:gd name="connsiteX1" fmla="*/ 341023 w 598324"/>
                <a:gd name="connsiteY1" fmla="*/ 370939 h 761503"/>
                <a:gd name="connsiteX2" fmla="*/ 376378 w 598324"/>
                <a:gd name="connsiteY2" fmla="*/ 389976 h 761503"/>
                <a:gd name="connsiteX3" fmla="*/ 425332 w 598324"/>
                <a:gd name="connsiteY3" fmla="*/ 433491 h 761503"/>
                <a:gd name="connsiteX4" fmla="*/ 438930 w 598324"/>
                <a:gd name="connsiteY4" fmla="*/ 463407 h 761503"/>
                <a:gd name="connsiteX5" fmla="*/ 449809 w 598324"/>
                <a:gd name="connsiteY5" fmla="*/ 498762 h 761503"/>
                <a:gd name="connsiteX6" fmla="*/ 457968 w 598324"/>
                <a:gd name="connsiteY6" fmla="*/ 528679 h 761503"/>
                <a:gd name="connsiteX7" fmla="*/ 466127 w 598324"/>
                <a:gd name="connsiteY7" fmla="*/ 564034 h 761503"/>
                <a:gd name="connsiteX8" fmla="*/ 471566 w 598324"/>
                <a:gd name="connsiteY8" fmla="*/ 593950 h 761503"/>
                <a:gd name="connsiteX9" fmla="*/ 479725 w 598324"/>
                <a:gd name="connsiteY9" fmla="*/ 607548 h 761503"/>
                <a:gd name="connsiteX10" fmla="*/ 487884 w 598324"/>
                <a:gd name="connsiteY10" fmla="*/ 623867 h 761503"/>
                <a:gd name="connsiteX11" fmla="*/ 501482 w 598324"/>
                <a:gd name="connsiteY11" fmla="*/ 651063 h 761503"/>
                <a:gd name="connsiteX12" fmla="*/ 523240 w 598324"/>
                <a:gd name="connsiteY12" fmla="*/ 670101 h 761503"/>
                <a:gd name="connsiteX13" fmla="*/ 534119 w 598324"/>
                <a:gd name="connsiteY13" fmla="*/ 686418 h 761503"/>
                <a:gd name="connsiteX14" fmla="*/ 531399 w 598324"/>
                <a:gd name="connsiteY14" fmla="*/ 694578 h 761503"/>
                <a:gd name="connsiteX15" fmla="*/ 498763 w 598324"/>
                <a:gd name="connsiteY15" fmla="*/ 708176 h 761503"/>
                <a:gd name="connsiteX16" fmla="*/ 449809 w 598324"/>
                <a:gd name="connsiteY16" fmla="*/ 700017 h 761503"/>
                <a:gd name="connsiteX17" fmla="*/ 400855 w 598324"/>
                <a:gd name="connsiteY17" fmla="*/ 667381 h 761503"/>
                <a:gd name="connsiteX18" fmla="*/ 381817 w 598324"/>
                <a:gd name="connsiteY18" fmla="*/ 642904 h 761503"/>
                <a:gd name="connsiteX19" fmla="*/ 368219 w 598324"/>
                <a:gd name="connsiteY19" fmla="*/ 610268 h 761503"/>
                <a:gd name="connsiteX20" fmla="*/ 349182 w 598324"/>
                <a:gd name="connsiteY20" fmla="*/ 550436 h 761503"/>
                <a:gd name="connsiteX21" fmla="*/ 338303 w 598324"/>
                <a:gd name="connsiteY21" fmla="*/ 504202 h 761503"/>
                <a:gd name="connsiteX22" fmla="*/ 330144 w 598324"/>
                <a:gd name="connsiteY22" fmla="*/ 477005 h 761503"/>
                <a:gd name="connsiteX23" fmla="*/ 321985 w 598324"/>
                <a:gd name="connsiteY23" fmla="*/ 455248 h 761503"/>
                <a:gd name="connsiteX24" fmla="*/ 305667 w 598324"/>
                <a:gd name="connsiteY24" fmla="*/ 436210 h 761503"/>
                <a:gd name="connsiteX25" fmla="*/ 294788 w 598324"/>
                <a:gd name="connsiteY25" fmla="*/ 441650 h 761503"/>
                <a:gd name="connsiteX26" fmla="*/ 278471 w 598324"/>
                <a:gd name="connsiteY26" fmla="*/ 463407 h 761503"/>
                <a:gd name="connsiteX27" fmla="*/ 264872 w 598324"/>
                <a:gd name="connsiteY27" fmla="*/ 496043 h 761503"/>
                <a:gd name="connsiteX28" fmla="*/ 262153 w 598324"/>
                <a:gd name="connsiteY28" fmla="*/ 517800 h 761503"/>
                <a:gd name="connsiteX29" fmla="*/ 262153 w 598324"/>
                <a:gd name="connsiteY29" fmla="*/ 523239 h 761503"/>
                <a:gd name="connsiteX30" fmla="*/ 262153 w 598324"/>
                <a:gd name="connsiteY30" fmla="*/ 553155 h 761503"/>
                <a:gd name="connsiteX31" fmla="*/ 262153 w 598324"/>
                <a:gd name="connsiteY31" fmla="*/ 629306 h 761503"/>
                <a:gd name="connsiteX32" fmla="*/ 259433 w 598324"/>
                <a:gd name="connsiteY32" fmla="*/ 659222 h 761503"/>
                <a:gd name="connsiteX33" fmla="*/ 283910 w 598324"/>
                <a:gd name="connsiteY33" fmla="*/ 659222 h 761503"/>
                <a:gd name="connsiteX34" fmla="*/ 321985 w 598324"/>
                <a:gd name="connsiteY34" fmla="*/ 675540 h 761503"/>
                <a:gd name="connsiteX35" fmla="*/ 316546 w 598324"/>
                <a:gd name="connsiteY35" fmla="*/ 691858 h 761503"/>
                <a:gd name="connsiteX36" fmla="*/ 300228 w 598324"/>
                <a:gd name="connsiteY36" fmla="*/ 700017 h 761503"/>
                <a:gd name="connsiteX37" fmla="*/ 278471 w 598324"/>
                <a:gd name="connsiteY37" fmla="*/ 702736 h 761503"/>
                <a:gd name="connsiteX38" fmla="*/ 243115 w 598324"/>
                <a:gd name="connsiteY38" fmla="*/ 702736 h 761503"/>
                <a:gd name="connsiteX39" fmla="*/ 221358 w 598324"/>
                <a:gd name="connsiteY39" fmla="*/ 710895 h 761503"/>
                <a:gd name="connsiteX40" fmla="*/ 194161 w 598324"/>
                <a:gd name="connsiteY40" fmla="*/ 702736 h 761503"/>
                <a:gd name="connsiteX41" fmla="*/ 177843 w 598324"/>
                <a:gd name="connsiteY41" fmla="*/ 702736 h 761503"/>
                <a:gd name="connsiteX42" fmla="*/ 126170 w 598324"/>
                <a:gd name="connsiteY42" fmla="*/ 702736 h 761503"/>
                <a:gd name="connsiteX43" fmla="*/ 101693 w 598324"/>
                <a:gd name="connsiteY43" fmla="*/ 702736 h 761503"/>
                <a:gd name="connsiteX44" fmla="*/ 74496 w 598324"/>
                <a:gd name="connsiteY44" fmla="*/ 697297 h 761503"/>
                <a:gd name="connsiteX45" fmla="*/ 58178 w 598324"/>
                <a:gd name="connsiteY45" fmla="*/ 680979 h 761503"/>
                <a:gd name="connsiteX46" fmla="*/ 63617 w 598324"/>
                <a:gd name="connsiteY46" fmla="*/ 672820 h 761503"/>
                <a:gd name="connsiteX47" fmla="*/ 85375 w 598324"/>
                <a:gd name="connsiteY47" fmla="*/ 664661 h 761503"/>
                <a:gd name="connsiteX48" fmla="*/ 128889 w 598324"/>
                <a:gd name="connsiteY48" fmla="*/ 659222 h 761503"/>
                <a:gd name="connsiteX49" fmla="*/ 147927 w 598324"/>
                <a:gd name="connsiteY49" fmla="*/ 659222 h 761503"/>
                <a:gd name="connsiteX50" fmla="*/ 145207 w 598324"/>
                <a:gd name="connsiteY50" fmla="*/ 653783 h 761503"/>
                <a:gd name="connsiteX51" fmla="*/ 131609 w 598324"/>
                <a:gd name="connsiteY51" fmla="*/ 585791 h 761503"/>
                <a:gd name="connsiteX52" fmla="*/ 134329 w 598324"/>
                <a:gd name="connsiteY52" fmla="*/ 498762 h 761503"/>
                <a:gd name="connsiteX53" fmla="*/ 137048 w 598324"/>
                <a:gd name="connsiteY53" fmla="*/ 406294 h 761503"/>
                <a:gd name="connsiteX54" fmla="*/ 134329 w 598324"/>
                <a:gd name="connsiteY54" fmla="*/ 327424 h 761503"/>
                <a:gd name="connsiteX55" fmla="*/ 137048 w 598324"/>
                <a:gd name="connsiteY55" fmla="*/ 253993 h 761503"/>
                <a:gd name="connsiteX56" fmla="*/ 139768 w 598324"/>
                <a:gd name="connsiteY56" fmla="*/ 207759 h 761503"/>
                <a:gd name="connsiteX57" fmla="*/ 137048 w 598324"/>
                <a:gd name="connsiteY57" fmla="*/ 172404 h 761503"/>
                <a:gd name="connsiteX58" fmla="*/ 137048 w 598324"/>
                <a:gd name="connsiteY58" fmla="*/ 112571 h 761503"/>
                <a:gd name="connsiteX59" fmla="*/ 126170 w 598324"/>
                <a:gd name="connsiteY59" fmla="*/ 112571 h 761503"/>
                <a:gd name="connsiteX60" fmla="*/ 101693 w 598324"/>
                <a:gd name="connsiteY60" fmla="*/ 112571 h 761503"/>
                <a:gd name="connsiteX61" fmla="*/ 74496 w 598324"/>
                <a:gd name="connsiteY61" fmla="*/ 107132 h 761503"/>
                <a:gd name="connsiteX62" fmla="*/ 58178 w 598324"/>
                <a:gd name="connsiteY62" fmla="*/ 90814 h 761503"/>
                <a:gd name="connsiteX63" fmla="*/ 63617 w 598324"/>
                <a:gd name="connsiteY63" fmla="*/ 82655 h 761503"/>
                <a:gd name="connsiteX64" fmla="*/ 85375 w 598324"/>
                <a:gd name="connsiteY64" fmla="*/ 74496 h 761503"/>
                <a:gd name="connsiteX65" fmla="*/ 137048 w 598324"/>
                <a:gd name="connsiteY65" fmla="*/ 69057 h 761503"/>
                <a:gd name="connsiteX66" fmla="*/ 145207 w 598324"/>
                <a:gd name="connsiteY66" fmla="*/ 69057 h 761503"/>
                <a:gd name="connsiteX67" fmla="*/ 169684 w 598324"/>
                <a:gd name="connsiteY67" fmla="*/ 58178 h 761503"/>
                <a:gd name="connsiteX68" fmla="*/ 177843 w 598324"/>
                <a:gd name="connsiteY68" fmla="*/ 58178 h 761503"/>
                <a:gd name="connsiteX69" fmla="*/ 205040 w 598324"/>
                <a:gd name="connsiteY69" fmla="*/ 66337 h 761503"/>
                <a:gd name="connsiteX70" fmla="*/ 286629 w 598324"/>
                <a:gd name="connsiteY70" fmla="*/ 63617 h 761503"/>
                <a:gd name="connsiteX71" fmla="*/ 324705 w 598324"/>
                <a:gd name="connsiteY71" fmla="*/ 79936 h 761503"/>
                <a:gd name="connsiteX72" fmla="*/ 319265 w 598324"/>
                <a:gd name="connsiteY72" fmla="*/ 96253 h 761503"/>
                <a:gd name="connsiteX73" fmla="*/ 302948 w 598324"/>
                <a:gd name="connsiteY73" fmla="*/ 104412 h 761503"/>
                <a:gd name="connsiteX74" fmla="*/ 278471 w 598324"/>
                <a:gd name="connsiteY74" fmla="*/ 112571 h 761503"/>
                <a:gd name="connsiteX75" fmla="*/ 232236 w 598324"/>
                <a:gd name="connsiteY75" fmla="*/ 112571 h 761503"/>
                <a:gd name="connsiteX76" fmla="*/ 240395 w 598324"/>
                <a:gd name="connsiteY76" fmla="*/ 137048 h 761503"/>
                <a:gd name="connsiteX77" fmla="*/ 240395 w 598324"/>
                <a:gd name="connsiteY77" fmla="*/ 150647 h 761503"/>
                <a:gd name="connsiteX78" fmla="*/ 243115 w 598324"/>
                <a:gd name="connsiteY78" fmla="*/ 158805 h 761503"/>
                <a:gd name="connsiteX79" fmla="*/ 248554 w 598324"/>
                <a:gd name="connsiteY79" fmla="*/ 188722 h 761503"/>
                <a:gd name="connsiteX80" fmla="*/ 248554 w 598324"/>
                <a:gd name="connsiteY80" fmla="*/ 199600 h 761503"/>
                <a:gd name="connsiteX81" fmla="*/ 248554 w 598324"/>
                <a:gd name="connsiteY81" fmla="*/ 221357 h 761503"/>
                <a:gd name="connsiteX82" fmla="*/ 253994 w 598324"/>
                <a:gd name="connsiteY82" fmla="*/ 264872 h 761503"/>
                <a:gd name="connsiteX83" fmla="*/ 262153 w 598324"/>
                <a:gd name="connsiteY83" fmla="*/ 297508 h 761503"/>
                <a:gd name="connsiteX84" fmla="*/ 264872 w 598324"/>
                <a:gd name="connsiteY84" fmla="*/ 324704 h 761503"/>
                <a:gd name="connsiteX85" fmla="*/ 264872 w 598324"/>
                <a:gd name="connsiteY85" fmla="*/ 332863 h 761503"/>
                <a:gd name="connsiteX86" fmla="*/ 264872 w 598324"/>
                <a:gd name="connsiteY86" fmla="*/ 351901 h 761503"/>
                <a:gd name="connsiteX87" fmla="*/ 262153 w 598324"/>
                <a:gd name="connsiteY87" fmla="*/ 370939 h 761503"/>
                <a:gd name="connsiteX88" fmla="*/ 267592 w 598324"/>
                <a:gd name="connsiteY88" fmla="*/ 384537 h 761503"/>
                <a:gd name="connsiteX89" fmla="*/ 278471 w 598324"/>
                <a:gd name="connsiteY89" fmla="*/ 370939 h 761503"/>
                <a:gd name="connsiteX90" fmla="*/ 297508 w 598324"/>
                <a:gd name="connsiteY90" fmla="*/ 332863 h 761503"/>
                <a:gd name="connsiteX91" fmla="*/ 311106 w 598324"/>
                <a:gd name="connsiteY91" fmla="*/ 305667 h 761503"/>
                <a:gd name="connsiteX92" fmla="*/ 335583 w 598324"/>
                <a:gd name="connsiteY92" fmla="*/ 259433 h 761503"/>
                <a:gd name="connsiteX93" fmla="*/ 354621 w 598324"/>
                <a:gd name="connsiteY93" fmla="*/ 224077 h 761503"/>
                <a:gd name="connsiteX94" fmla="*/ 381817 w 598324"/>
                <a:gd name="connsiteY94" fmla="*/ 172404 h 761503"/>
                <a:gd name="connsiteX95" fmla="*/ 409014 w 598324"/>
                <a:gd name="connsiteY95" fmla="*/ 118011 h 761503"/>
                <a:gd name="connsiteX96" fmla="*/ 411734 w 598324"/>
                <a:gd name="connsiteY96" fmla="*/ 115291 h 761503"/>
                <a:gd name="connsiteX97" fmla="*/ 398136 w 598324"/>
                <a:gd name="connsiteY97" fmla="*/ 115291 h 761503"/>
                <a:gd name="connsiteX98" fmla="*/ 379098 w 598324"/>
                <a:gd name="connsiteY98" fmla="*/ 109852 h 761503"/>
                <a:gd name="connsiteX99" fmla="*/ 368219 w 598324"/>
                <a:gd name="connsiteY99" fmla="*/ 93534 h 761503"/>
                <a:gd name="connsiteX100" fmla="*/ 370939 w 598324"/>
                <a:gd name="connsiteY100" fmla="*/ 85375 h 761503"/>
                <a:gd name="connsiteX101" fmla="*/ 387257 w 598324"/>
                <a:gd name="connsiteY101" fmla="*/ 77216 h 761503"/>
                <a:gd name="connsiteX102" fmla="*/ 422612 w 598324"/>
                <a:gd name="connsiteY102" fmla="*/ 71776 h 761503"/>
                <a:gd name="connsiteX103" fmla="*/ 436211 w 598324"/>
                <a:gd name="connsiteY103" fmla="*/ 71776 h 761503"/>
                <a:gd name="connsiteX104" fmla="*/ 438930 w 598324"/>
                <a:gd name="connsiteY104" fmla="*/ 69057 h 761503"/>
                <a:gd name="connsiteX105" fmla="*/ 452529 w 598324"/>
                <a:gd name="connsiteY105" fmla="*/ 66337 h 761503"/>
                <a:gd name="connsiteX106" fmla="*/ 466127 w 598324"/>
                <a:gd name="connsiteY106" fmla="*/ 69057 h 761503"/>
                <a:gd name="connsiteX107" fmla="*/ 471566 w 598324"/>
                <a:gd name="connsiteY107" fmla="*/ 71776 h 761503"/>
                <a:gd name="connsiteX108" fmla="*/ 515081 w 598324"/>
                <a:gd name="connsiteY108" fmla="*/ 71776 h 761503"/>
                <a:gd name="connsiteX109" fmla="*/ 542277 w 598324"/>
                <a:gd name="connsiteY109" fmla="*/ 88094 h 761503"/>
                <a:gd name="connsiteX110" fmla="*/ 536838 w 598324"/>
                <a:gd name="connsiteY110" fmla="*/ 104412 h 761503"/>
                <a:gd name="connsiteX111" fmla="*/ 525959 w 598324"/>
                <a:gd name="connsiteY111" fmla="*/ 112571 h 761503"/>
                <a:gd name="connsiteX112" fmla="*/ 509642 w 598324"/>
                <a:gd name="connsiteY112" fmla="*/ 115291 h 761503"/>
                <a:gd name="connsiteX113" fmla="*/ 468847 w 598324"/>
                <a:gd name="connsiteY113" fmla="*/ 115291 h 761503"/>
                <a:gd name="connsiteX114" fmla="*/ 457968 w 598324"/>
                <a:gd name="connsiteY114" fmla="*/ 137048 h 761503"/>
                <a:gd name="connsiteX115" fmla="*/ 430771 w 598324"/>
                <a:gd name="connsiteY115" fmla="*/ 194161 h 761503"/>
                <a:gd name="connsiteX116" fmla="*/ 400855 w 598324"/>
                <a:gd name="connsiteY116" fmla="*/ 262152 h 761503"/>
                <a:gd name="connsiteX117" fmla="*/ 360060 w 598324"/>
                <a:gd name="connsiteY117" fmla="*/ 3328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598324" h="761503">
                  <a:moveTo>
                    <a:pt x="360060" y="332863"/>
                  </a:moveTo>
                  <a:cubicBezTo>
                    <a:pt x="351901" y="343742"/>
                    <a:pt x="341023" y="357340"/>
                    <a:pt x="341023" y="370939"/>
                  </a:cubicBezTo>
                  <a:cubicBezTo>
                    <a:pt x="341023" y="379098"/>
                    <a:pt x="357341" y="381817"/>
                    <a:pt x="376378" y="389976"/>
                  </a:cubicBezTo>
                  <a:cubicBezTo>
                    <a:pt x="395416" y="398135"/>
                    <a:pt x="417173" y="417173"/>
                    <a:pt x="425332" y="433491"/>
                  </a:cubicBezTo>
                  <a:cubicBezTo>
                    <a:pt x="430771" y="444369"/>
                    <a:pt x="436211" y="452528"/>
                    <a:pt x="438930" y="463407"/>
                  </a:cubicBezTo>
                  <a:cubicBezTo>
                    <a:pt x="444370" y="474286"/>
                    <a:pt x="447089" y="487884"/>
                    <a:pt x="449809" y="498762"/>
                  </a:cubicBezTo>
                  <a:cubicBezTo>
                    <a:pt x="452529" y="512361"/>
                    <a:pt x="452529" y="517800"/>
                    <a:pt x="457968" y="528679"/>
                  </a:cubicBezTo>
                  <a:cubicBezTo>
                    <a:pt x="463407" y="539557"/>
                    <a:pt x="463407" y="553155"/>
                    <a:pt x="466127" y="564034"/>
                  </a:cubicBezTo>
                  <a:cubicBezTo>
                    <a:pt x="468847" y="572193"/>
                    <a:pt x="468847" y="585791"/>
                    <a:pt x="471566" y="593950"/>
                  </a:cubicBezTo>
                  <a:cubicBezTo>
                    <a:pt x="474286" y="599390"/>
                    <a:pt x="477006" y="602109"/>
                    <a:pt x="479725" y="607548"/>
                  </a:cubicBezTo>
                  <a:cubicBezTo>
                    <a:pt x="482445" y="612988"/>
                    <a:pt x="487884" y="618427"/>
                    <a:pt x="487884" y="623867"/>
                  </a:cubicBezTo>
                  <a:cubicBezTo>
                    <a:pt x="490604" y="634745"/>
                    <a:pt x="496043" y="642904"/>
                    <a:pt x="501482" y="651063"/>
                  </a:cubicBezTo>
                  <a:cubicBezTo>
                    <a:pt x="506922" y="661942"/>
                    <a:pt x="512361" y="664661"/>
                    <a:pt x="523240" y="670101"/>
                  </a:cubicBezTo>
                  <a:cubicBezTo>
                    <a:pt x="528679" y="672820"/>
                    <a:pt x="534119" y="680979"/>
                    <a:pt x="534119" y="686418"/>
                  </a:cubicBezTo>
                  <a:cubicBezTo>
                    <a:pt x="534119" y="689138"/>
                    <a:pt x="534119" y="691858"/>
                    <a:pt x="531399" y="694578"/>
                  </a:cubicBezTo>
                  <a:cubicBezTo>
                    <a:pt x="525959" y="702736"/>
                    <a:pt x="512361" y="708176"/>
                    <a:pt x="498763" y="708176"/>
                  </a:cubicBezTo>
                  <a:cubicBezTo>
                    <a:pt x="485165" y="708176"/>
                    <a:pt x="466127" y="705456"/>
                    <a:pt x="449809" y="700017"/>
                  </a:cubicBezTo>
                  <a:cubicBezTo>
                    <a:pt x="430771" y="694578"/>
                    <a:pt x="409014" y="675540"/>
                    <a:pt x="400855" y="667381"/>
                  </a:cubicBezTo>
                  <a:cubicBezTo>
                    <a:pt x="392696" y="659222"/>
                    <a:pt x="387257" y="651063"/>
                    <a:pt x="381817" y="642904"/>
                  </a:cubicBezTo>
                  <a:cubicBezTo>
                    <a:pt x="376378" y="632025"/>
                    <a:pt x="370939" y="623867"/>
                    <a:pt x="368219" y="610268"/>
                  </a:cubicBezTo>
                  <a:cubicBezTo>
                    <a:pt x="360060" y="588511"/>
                    <a:pt x="357341" y="574913"/>
                    <a:pt x="349182" y="550436"/>
                  </a:cubicBezTo>
                  <a:cubicBezTo>
                    <a:pt x="343742" y="534118"/>
                    <a:pt x="341023" y="520520"/>
                    <a:pt x="338303" y="504202"/>
                  </a:cubicBezTo>
                  <a:cubicBezTo>
                    <a:pt x="335583" y="493323"/>
                    <a:pt x="332864" y="485164"/>
                    <a:pt x="330144" y="477005"/>
                  </a:cubicBezTo>
                  <a:cubicBezTo>
                    <a:pt x="327424" y="471566"/>
                    <a:pt x="324705" y="463407"/>
                    <a:pt x="321985" y="455248"/>
                  </a:cubicBezTo>
                  <a:cubicBezTo>
                    <a:pt x="316546" y="444369"/>
                    <a:pt x="311106" y="436210"/>
                    <a:pt x="305667" y="436210"/>
                  </a:cubicBezTo>
                  <a:cubicBezTo>
                    <a:pt x="302948" y="436210"/>
                    <a:pt x="300228" y="438930"/>
                    <a:pt x="294788" y="441650"/>
                  </a:cubicBezTo>
                  <a:cubicBezTo>
                    <a:pt x="289349" y="447089"/>
                    <a:pt x="283910" y="455248"/>
                    <a:pt x="278471" y="463407"/>
                  </a:cubicBezTo>
                  <a:cubicBezTo>
                    <a:pt x="270312" y="474286"/>
                    <a:pt x="267592" y="485164"/>
                    <a:pt x="264872" y="496043"/>
                  </a:cubicBezTo>
                  <a:cubicBezTo>
                    <a:pt x="264872" y="504202"/>
                    <a:pt x="262153" y="512361"/>
                    <a:pt x="262153" y="517800"/>
                  </a:cubicBezTo>
                  <a:cubicBezTo>
                    <a:pt x="262153" y="520520"/>
                    <a:pt x="262153" y="520520"/>
                    <a:pt x="262153" y="523239"/>
                  </a:cubicBezTo>
                  <a:cubicBezTo>
                    <a:pt x="262153" y="528679"/>
                    <a:pt x="262153" y="544997"/>
                    <a:pt x="262153" y="553155"/>
                  </a:cubicBezTo>
                  <a:cubicBezTo>
                    <a:pt x="262153" y="583072"/>
                    <a:pt x="264872" y="599390"/>
                    <a:pt x="262153" y="629306"/>
                  </a:cubicBezTo>
                  <a:cubicBezTo>
                    <a:pt x="262153" y="640184"/>
                    <a:pt x="262153" y="648343"/>
                    <a:pt x="259433" y="659222"/>
                  </a:cubicBezTo>
                  <a:cubicBezTo>
                    <a:pt x="270312" y="659222"/>
                    <a:pt x="278471" y="659222"/>
                    <a:pt x="283910" y="659222"/>
                  </a:cubicBezTo>
                  <a:cubicBezTo>
                    <a:pt x="297508" y="659222"/>
                    <a:pt x="321985" y="659222"/>
                    <a:pt x="321985" y="675540"/>
                  </a:cubicBezTo>
                  <a:cubicBezTo>
                    <a:pt x="321985" y="683699"/>
                    <a:pt x="319265" y="686418"/>
                    <a:pt x="316546" y="691858"/>
                  </a:cubicBezTo>
                  <a:cubicBezTo>
                    <a:pt x="311106" y="697297"/>
                    <a:pt x="305667" y="700017"/>
                    <a:pt x="300228" y="700017"/>
                  </a:cubicBezTo>
                  <a:cubicBezTo>
                    <a:pt x="292069" y="702736"/>
                    <a:pt x="283910" y="702736"/>
                    <a:pt x="278471" y="702736"/>
                  </a:cubicBezTo>
                  <a:cubicBezTo>
                    <a:pt x="275751" y="702736"/>
                    <a:pt x="259433" y="702736"/>
                    <a:pt x="243115" y="702736"/>
                  </a:cubicBezTo>
                  <a:cubicBezTo>
                    <a:pt x="237676" y="708176"/>
                    <a:pt x="229517" y="710895"/>
                    <a:pt x="221358" y="710895"/>
                  </a:cubicBezTo>
                  <a:cubicBezTo>
                    <a:pt x="213199" y="710895"/>
                    <a:pt x="202320" y="708176"/>
                    <a:pt x="194161" y="702736"/>
                  </a:cubicBezTo>
                  <a:cubicBezTo>
                    <a:pt x="186002" y="702736"/>
                    <a:pt x="180563" y="702736"/>
                    <a:pt x="177843" y="702736"/>
                  </a:cubicBezTo>
                  <a:cubicBezTo>
                    <a:pt x="164245" y="702736"/>
                    <a:pt x="139768" y="702736"/>
                    <a:pt x="126170" y="702736"/>
                  </a:cubicBezTo>
                  <a:cubicBezTo>
                    <a:pt x="118011" y="702736"/>
                    <a:pt x="109852" y="702736"/>
                    <a:pt x="101693" y="702736"/>
                  </a:cubicBezTo>
                  <a:cubicBezTo>
                    <a:pt x="93534" y="702736"/>
                    <a:pt x="82655" y="702736"/>
                    <a:pt x="74496" y="697297"/>
                  </a:cubicBezTo>
                  <a:cubicBezTo>
                    <a:pt x="66337" y="694578"/>
                    <a:pt x="58178" y="686418"/>
                    <a:pt x="58178" y="680979"/>
                  </a:cubicBezTo>
                  <a:cubicBezTo>
                    <a:pt x="58178" y="678260"/>
                    <a:pt x="58178" y="675540"/>
                    <a:pt x="63617" y="672820"/>
                  </a:cubicBezTo>
                  <a:cubicBezTo>
                    <a:pt x="69057" y="670101"/>
                    <a:pt x="79935" y="667381"/>
                    <a:pt x="85375" y="664661"/>
                  </a:cubicBezTo>
                  <a:cubicBezTo>
                    <a:pt x="104412" y="661942"/>
                    <a:pt x="123450" y="659222"/>
                    <a:pt x="128889" y="659222"/>
                  </a:cubicBezTo>
                  <a:cubicBezTo>
                    <a:pt x="134329" y="659222"/>
                    <a:pt x="139768" y="659222"/>
                    <a:pt x="147927" y="659222"/>
                  </a:cubicBezTo>
                  <a:cubicBezTo>
                    <a:pt x="147927" y="656502"/>
                    <a:pt x="145207" y="653783"/>
                    <a:pt x="145207" y="653783"/>
                  </a:cubicBezTo>
                  <a:cubicBezTo>
                    <a:pt x="131609" y="632025"/>
                    <a:pt x="131609" y="610268"/>
                    <a:pt x="131609" y="585791"/>
                  </a:cubicBezTo>
                  <a:cubicBezTo>
                    <a:pt x="131609" y="555875"/>
                    <a:pt x="131609" y="528679"/>
                    <a:pt x="134329" y="498762"/>
                  </a:cubicBezTo>
                  <a:cubicBezTo>
                    <a:pt x="134329" y="468846"/>
                    <a:pt x="137048" y="436210"/>
                    <a:pt x="137048" y="406294"/>
                  </a:cubicBezTo>
                  <a:cubicBezTo>
                    <a:pt x="137048" y="379098"/>
                    <a:pt x="134329" y="354621"/>
                    <a:pt x="134329" y="327424"/>
                  </a:cubicBezTo>
                  <a:cubicBezTo>
                    <a:pt x="134329" y="302947"/>
                    <a:pt x="137048" y="278470"/>
                    <a:pt x="137048" y="253993"/>
                  </a:cubicBezTo>
                  <a:cubicBezTo>
                    <a:pt x="137048" y="237675"/>
                    <a:pt x="139768" y="224077"/>
                    <a:pt x="139768" y="207759"/>
                  </a:cubicBezTo>
                  <a:cubicBezTo>
                    <a:pt x="139768" y="196881"/>
                    <a:pt x="137048" y="183282"/>
                    <a:pt x="137048" y="172404"/>
                  </a:cubicBezTo>
                  <a:cubicBezTo>
                    <a:pt x="137048" y="150647"/>
                    <a:pt x="137048" y="131609"/>
                    <a:pt x="137048" y="112571"/>
                  </a:cubicBezTo>
                  <a:cubicBezTo>
                    <a:pt x="134329" y="112571"/>
                    <a:pt x="137048" y="112571"/>
                    <a:pt x="126170" y="112571"/>
                  </a:cubicBezTo>
                  <a:cubicBezTo>
                    <a:pt x="118011" y="112571"/>
                    <a:pt x="109852" y="112571"/>
                    <a:pt x="101693" y="112571"/>
                  </a:cubicBezTo>
                  <a:cubicBezTo>
                    <a:pt x="93534" y="112571"/>
                    <a:pt x="82655" y="109852"/>
                    <a:pt x="74496" y="107132"/>
                  </a:cubicBezTo>
                  <a:cubicBezTo>
                    <a:pt x="66337" y="104412"/>
                    <a:pt x="58178" y="96253"/>
                    <a:pt x="58178" y="90814"/>
                  </a:cubicBezTo>
                  <a:cubicBezTo>
                    <a:pt x="58178" y="88094"/>
                    <a:pt x="58178" y="85375"/>
                    <a:pt x="63617" y="82655"/>
                  </a:cubicBezTo>
                  <a:cubicBezTo>
                    <a:pt x="69057" y="79936"/>
                    <a:pt x="79935" y="77216"/>
                    <a:pt x="85375" y="74496"/>
                  </a:cubicBezTo>
                  <a:cubicBezTo>
                    <a:pt x="104412" y="71776"/>
                    <a:pt x="128889" y="69057"/>
                    <a:pt x="137048" y="69057"/>
                  </a:cubicBezTo>
                  <a:cubicBezTo>
                    <a:pt x="137048" y="69057"/>
                    <a:pt x="139768" y="69057"/>
                    <a:pt x="145207" y="69057"/>
                  </a:cubicBezTo>
                  <a:cubicBezTo>
                    <a:pt x="150646" y="60898"/>
                    <a:pt x="158806" y="58178"/>
                    <a:pt x="169684" y="58178"/>
                  </a:cubicBezTo>
                  <a:cubicBezTo>
                    <a:pt x="172404" y="58178"/>
                    <a:pt x="175123" y="58178"/>
                    <a:pt x="177843" y="58178"/>
                  </a:cubicBezTo>
                  <a:cubicBezTo>
                    <a:pt x="186002" y="58178"/>
                    <a:pt x="196881" y="63617"/>
                    <a:pt x="205040" y="66337"/>
                  </a:cubicBezTo>
                  <a:cubicBezTo>
                    <a:pt x="237676" y="66337"/>
                    <a:pt x="273031" y="63617"/>
                    <a:pt x="286629" y="63617"/>
                  </a:cubicBezTo>
                  <a:cubicBezTo>
                    <a:pt x="300228" y="63617"/>
                    <a:pt x="324705" y="63617"/>
                    <a:pt x="324705" y="79936"/>
                  </a:cubicBezTo>
                  <a:cubicBezTo>
                    <a:pt x="324705" y="88094"/>
                    <a:pt x="321985" y="90814"/>
                    <a:pt x="319265" y="96253"/>
                  </a:cubicBezTo>
                  <a:cubicBezTo>
                    <a:pt x="313826" y="101693"/>
                    <a:pt x="308387" y="104412"/>
                    <a:pt x="302948" y="104412"/>
                  </a:cubicBezTo>
                  <a:cubicBezTo>
                    <a:pt x="289349" y="112571"/>
                    <a:pt x="283910" y="112571"/>
                    <a:pt x="278471" y="112571"/>
                  </a:cubicBezTo>
                  <a:cubicBezTo>
                    <a:pt x="273031" y="112571"/>
                    <a:pt x="253994" y="112571"/>
                    <a:pt x="232236" y="112571"/>
                  </a:cubicBezTo>
                  <a:cubicBezTo>
                    <a:pt x="237676" y="120730"/>
                    <a:pt x="240395" y="128889"/>
                    <a:pt x="240395" y="137048"/>
                  </a:cubicBezTo>
                  <a:cubicBezTo>
                    <a:pt x="240395" y="142487"/>
                    <a:pt x="240395" y="145207"/>
                    <a:pt x="240395" y="150647"/>
                  </a:cubicBezTo>
                  <a:cubicBezTo>
                    <a:pt x="240395" y="153366"/>
                    <a:pt x="240395" y="156086"/>
                    <a:pt x="243115" y="158805"/>
                  </a:cubicBezTo>
                  <a:cubicBezTo>
                    <a:pt x="245835" y="169684"/>
                    <a:pt x="245835" y="180563"/>
                    <a:pt x="248554" y="188722"/>
                  </a:cubicBezTo>
                  <a:cubicBezTo>
                    <a:pt x="248554" y="191441"/>
                    <a:pt x="248554" y="194161"/>
                    <a:pt x="248554" y="199600"/>
                  </a:cubicBezTo>
                  <a:cubicBezTo>
                    <a:pt x="248554" y="207759"/>
                    <a:pt x="248554" y="213198"/>
                    <a:pt x="248554" y="221357"/>
                  </a:cubicBezTo>
                  <a:cubicBezTo>
                    <a:pt x="248554" y="234956"/>
                    <a:pt x="251274" y="248554"/>
                    <a:pt x="253994" y="264872"/>
                  </a:cubicBezTo>
                  <a:cubicBezTo>
                    <a:pt x="256713" y="275751"/>
                    <a:pt x="259433" y="286629"/>
                    <a:pt x="262153" y="297508"/>
                  </a:cubicBezTo>
                  <a:cubicBezTo>
                    <a:pt x="264872" y="305667"/>
                    <a:pt x="264872" y="313826"/>
                    <a:pt x="264872" y="324704"/>
                  </a:cubicBezTo>
                  <a:cubicBezTo>
                    <a:pt x="264872" y="327424"/>
                    <a:pt x="264872" y="330144"/>
                    <a:pt x="264872" y="332863"/>
                  </a:cubicBezTo>
                  <a:cubicBezTo>
                    <a:pt x="264872" y="338303"/>
                    <a:pt x="264872" y="346462"/>
                    <a:pt x="264872" y="351901"/>
                  </a:cubicBezTo>
                  <a:cubicBezTo>
                    <a:pt x="264872" y="357340"/>
                    <a:pt x="262153" y="365499"/>
                    <a:pt x="262153" y="370939"/>
                  </a:cubicBezTo>
                  <a:cubicBezTo>
                    <a:pt x="262153" y="376378"/>
                    <a:pt x="264872" y="384537"/>
                    <a:pt x="267592" y="384537"/>
                  </a:cubicBezTo>
                  <a:cubicBezTo>
                    <a:pt x="273031" y="384537"/>
                    <a:pt x="275751" y="376378"/>
                    <a:pt x="278471" y="370939"/>
                  </a:cubicBezTo>
                  <a:cubicBezTo>
                    <a:pt x="283910" y="360060"/>
                    <a:pt x="289349" y="346462"/>
                    <a:pt x="297508" y="332863"/>
                  </a:cubicBezTo>
                  <a:cubicBezTo>
                    <a:pt x="302948" y="324704"/>
                    <a:pt x="305667" y="313826"/>
                    <a:pt x="311106" y="305667"/>
                  </a:cubicBezTo>
                  <a:cubicBezTo>
                    <a:pt x="319265" y="289349"/>
                    <a:pt x="327424" y="275751"/>
                    <a:pt x="335583" y="259433"/>
                  </a:cubicBezTo>
                  <a:cubicBezTo>
                    <a:pt x="341023" y="248554"/>
                    <a:pt x="349182" y="234956"/>
                    <a:pt x="354621" y="224077"/>
                  </a:cubicBezTo>
                  <a:cubicBezTo>
                    <a:pt x="362780" y="207759"/>
                    <a:pt x="370939" y="191441"/>
                    <a:pt x="381817" y="172404"/>
                  </a:cubicBezTo>
                  <a:cubicBezTo>
                    <a:pt x="389977" y="153366"/>
                    <a:pt x="400855" y="134329"/>
                    <a:pt x="409014" y="118011"/>
                  </a:cubicBezTo>
                  <a:cubicBezTo>
                    <a:pt x="409014" y="115291"/>
                    <a:pt x="409014" y="115291"/>
                    <a:pt x="411734" y="115291"/>
                  </a:cubicBezTo>
                  <a:cubicBezTo>
                    <a:pt x="406294" y="115291"/>
                    <a:pt x="400855" y="115291"/>
                    <a:pt x="398136" y="115291"/>
                  </a:cubicBezTo>
                  <a:cubicBezTo>
                    <a:pt x="392696" y="115291"/>
                    <a:pt x="384537" y="115291"/>
                    <a:pt x="379098" y="109852"/>
                  </a:cubicBezTo>
                  <a:cubicBezTo>
                    <a:pt x="373659" y="107132"/>
                    <a:pt x="368219" y="98973"/>
                    <a:pt x="368219" y="93534"/>
                  </a:cubicBezTo>
                  <a:cubicBezTo>
                    <a:pt x="368219" y="90814"/>
                    <a:pt x="368219" y="88094"/>
                    <a:pt x="370939" y="85375"/>
                  </a:cubicBezTo>
                  <a:cubicBezTo>
                    <a:pt x="373659" y="82655"/>
                    <a:pt x="381817" y="79936"/>
                    <a:pt x="387257" y="77216"/>
                  </a:cubicBezTo>
                  <a:cubicBezTo>
                    <a:pt x="400855" y="74496"/>
                    <a:pt x="414453" y="71776"/>
                    <a:pt x="422612" y="71776"/>
                  </a:cubicBezTo>
                  <a:cubicBezTo>
                    <a:pt x="425332" y="71776"/>
                    <a:pt x="430771" y="71776"/>
                    <a:pt x="436211" y="71776"/>
                  </a:cubicBezTo>
                  <a:cubicBezTo>
                    <a:pt x="436211" y="71776"/>
                    <a:pt x="438930" y="69057"/>
                    <a:pt x="438930" y="69057"/>
                  </a:cubicBezTo>
                  <a:cubicBezTo>
                    <a:pt x="444370" y="66337"/>
                    <a:pt x="447089" y="66337"/>
                    <a:pt x="452529" y="66337"/>
                  </a:cubicBezTo>
                  <a:cubicBezTo>
                    <a:pt x="457968" y="66337"/>
                    <a:pt x="460688" y="66337"/>
                    <a:pt x="466127" y="69057"/>
                  </a:cubicBezTo>
                  <a:cubicBezTo>
                    <a:pt x="468847" y="69057"/>
                    <a:pt x="471566" y="71776"/>
                    <a:pt x="471566" y="71776"/>
                  </a:cubicBezTo>
                  <a:cubicBezTo>
                    <a:pt x="490604" y="71776"/>
                    <a:pt x="506922" y="71776"/>
                    <a:pt x="515081" y="71776"/>
                  </a:cubicBezTo>
                  <a:cubicBezTo>
                    <a:pt x="523240" y="71776"/>
                    <a:pt x="542277" y="71776"/>
                    <a:pt x="542277" y="88094"/>
                  </a:cubicBezTo>
                  <a:cubicBezTo>
                    <a:pt x="542277" y="96253"/>
                    <a:pt x="542277" y="98973"/>
                    <a:pt x="536838" y="104412"/>
                  </a:cubicBezTo>
                  <a:cubicBezTo>
                    <a:pt x="534119" y="109852"/>
                    <a:pt x="528679" y="112571"/>
                    <a:pt x="525959" y="112571"/>
                  </a:cubicBezTo>
                  <a:cubicBezTo>
                    <a:pt x="520520" y="115291"/>
                    <a:pt x="515081" y="115291"/>
                    <a:pt x="509642" y="115291"/>
                  </a:cubicBezTo>
                  <a:cubicBezTo>
                    <a:pt x="506922" y="115291"/>
                    <a:pt x="487884" y="115291"/>
                    <a:pt x="468847" y="115291"/>
                  </a:cubicBezTo>
                  <a:cubicBezTo>
                    <a:pt x="466127" y="123450"/>
                    <a:pt x="460688" y="128889"/>
                    <a:pt x="457968" y="137048"/>
                  </a:cubicBezTo>
                  <a:cubicBezTo>
                    <a:pt x="447089" y="156086"/>
                    <a:pt x="438930" y="175123"/>
                    <a:pt x="430771" y="194161"/>
                  </a:cubicBezTo>
                  <a:cubicBezTo>
                    <a:pt x="419893" y="215918"/>
                    <a:pt x="411734" y="240395"/>
                    <a:pt x="400855" y="262152"/>
                  </a:cubicBezTo>
                  <a:cubicBezTo>
                    <a:pt x="387257" y="289349"/>
                    <a:pt x="373659" y="311106"/>
                    <a:pt x="360060" y="332863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E3F4F14-A16D-4D77-9802-11BABF614845}"/>
                </a:ext>
              </a:extLst>
            </p:cNvPr>
            <p:cNvSpPr/>
            <p:nvPr/>
          </p:nvSpPr>
          <p:spPr>
            <a:xfrm>
              <a:off x="4335316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7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89 w 353555"/>
                <a:gd name="connsiteY16" fmla="*/ 640184 h 761503"/>
                <a:gd name="connsiteX17" fmla="*/ 128889 w 353555"/>
                <a:gd name="connsiteY17" fmla="*/ 629306 h 761503"/>
                <a:gd name="connsiteX18" fmla="*/ 128889 w 353555"/>
                <a:gd name="connsiteY18" fmla="*/ 621147 h 761503"/>
                <a:gd name="connsiteX19" fmla="*/ 128889 w 353555"/>
                <a:gd name="connsiteY19" fmla="*/ 593950 h 761503"/>
                <a:gd name="connsiteX20" fmla="*/ 128889 w 353555"/>
                <a:gd name="connsiteY20" fmla="*/ 583072 h 761503"/>
                <a:gd name="connsiteX21" fmla="*/ 128889 w 353555"/>
                <a:gd name="connsiteY21" fmla="*/ 436210 h 761503"/>
                <a:gd name="connsiteX22" fmla="*/ 128889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6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6 w 353555"/>
                <a:gd name="connsiteY44" fmla="*/ 120730 h 761503"/>
                <a:gd name="connsiteX45" fmla="*/ 294788 w 353555"/>
                <a:gd name="connsiteY45" fmla="*/ 128889 h 761503"/>
                <a:gd name="connsiteX46" fmla="*/ 273031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5" y="697297"/>
                    <a:pt x="316546" y="705456"/>
                  </a:cubicBezTo>
                  <a:cubicBezTo>
                    <a:pt x="311106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2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7" y="689138"/>
                  </a:cubicBezTo>
                  <a:cubicBezTo>
                    <a:pt x="69057" y="686418"/>
                    <a:pt x="79935" y="683699"/>
                    <a:pt x="85375" y="680979"/>
                  </a:cubicBezTo>
                  <a:cubicBezTo>
                    <a:pt x="104412" y="678260"/>
                    <a:pt x="123450" y="675540"/>
                    <a:pt x="131609" y="675540"/>
                  </a:cubicBezTo>
                  <a:cubicBezTo>
                    <a:pt x="134329" y="675540"/>
                    <a:pt x="137048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89" y="640184"/>
                  </a:cubicBezTo>
                  <a:cubicBezTo>
                    <a:pt x="128889" y="637465"/>
                    <a:pt x="128889" y="634745"/>
                    <a:pt x="128889" y="629306"/>
                  </a:cubicBezTo>
                  <a:cubicBezTo>
                    <a:pt x="128889" y="626586"/>
                    <a:pt x="128889" y="623867"/>
                    <a:pt x="128889" y="621147"/>
                  </a:cubicBezTo>
                  <a:cubicBezTo>
                    <a:pt x="128889" y="612988"/>
                    <a:pt x="128889" y="604829"/>
                    <a:pt x="128889" y="593950"/>
                  </a:cubicBezTo>
                  <a:cubicBezTo>
                    <a:pt x="128889" y="591231"/>
                    <a:pt x="128889" y="585791"/>
                    <a:pt x="128889" y="583072"/>
                  </a:cubicBezTo>
                  <a:cubicBezTo>
                    <a:pt x="128889" y="534118"/>
                    <a:pt x="131609" y="485164"/>
                    <a:pt x="128889" y="436210"/>
                  </a:cubicBezTo>
                  <a:cubicBezTo>
                    <a:pt x="128889" y="409014"/>
                    <a:pt x="128889" y="384537"/>
                    <a:pt x="128889" y="357340"/>
                  </a:cubicBezTo>
                  <a:cubicBezTo>
                    <a:pt x="128889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89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7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8" y="69057"/>
                    <a:pt x="145207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3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7" y="74496"/>
                    <a:pt x="232236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6" y="120730"/>
                  </a:cubicBezTo>
                  <a:cubicBezTo>
                    <a:pt x="305667" y="126170"/>
                    <a:pt x="300228" y="128889"/>
                    <a:pt x="294788" y="128889"/>
                  </a:cubicBezTo>
                  <a:cubicBezTo>
                    <a:pt x="286630" y="131609"/>
                    <a:pt x="278471" y="131609"/>
                    <a:pt x="273031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1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BC607246-0D6B-4302-A63C-E82116AD65DF}"/>
                </a:ext>
              </a:extLst>
            </p:cNvPr>
            <p:cNvSpPr/>
            <p:nvPr/>
          </p:nvSpPr>
          <p:spPr>
            <a:xfrm>
              <a:off x="4620880" y="4194877"/>
              <a:ext cx="598325" cy="761503"/>
            </a:xfrm>
            <a:custGeom>
              <a:avLst/>
              <a:gdLst>
                <a:gd name="connsiteX0" fmla="*/ 515081 w 598324"/>
                <a:gd name="connsiteY0" fmla="*/ 79935 h 761503"/>
                <a:gd name="connsiteX1" fmla="*/ 542277 w 598324"/>
                <a:gd name="connsiteY1" fmla="*/ 96253 h 761503"/>
                <a:gd name="connsiteX2" fmla="*/ 536838 w 598324"/>
                <a:gd name="connsiteY2" fmla="*/ 112571 h 761503"/>
                <a:gd name="connsiteX3" fmla="*/ 523240 w 598324"/>
                <a:gd name="connsiteY3" fmla="*/ 120730 h 761503"/>
                <a:gd name="connsiteX4" fmla="*/ 506922 w 598324"/>
                <a:gd name="connsiteY4" fmla="*/ 123450 h 761503"/>
                <a:gd name="connsiteX5" fmla="*/ 477006 w 598324"/>
                <a:gd name="connsiteY5" fmla="*/ 123450 h 761503"/>
                <a:gd name="connsiteX6" fmla="*/ 479725 w 598324"/>
                <a:gd name="connsiteY6" fmla="*/ 145207 h 761503"/>
                <a:gd name="connsiteX7" fmla="*/ 477006 w 598324"/>
                <a:gd name="connsiteY7" fmla="*/ 180563 h 761503"/>
                <a:gd name="connsiteX8" fmla="*/ 482445 w 598324"/>
                <a:gd name="connsiteY8" fmla="*/ 232236 h 761503"/>
                <a:gd name="connsiteX9" fmla="*/ 485165 w 598324"/>
                <a:gd name="connsiteY9" fmla="*/ 283909 h 761503"/>
                <a:gd name="connsiteX10" fmla="*/ 485165 w 598324"/>
                <a:gd name="connsiteY10" fmla="*/ 327424 h 761503"/>
                <a:gd name="connsiteX11" fmla="*/ 487884 w 598324"/>
                <a:gd name="connsiteY11" fmla="*/ 373658 h 761503"/>
                <a:gd name="connsiteX12" fmla="*/ 485165 w 598324"/>
                <a:gd name="connsiteY12" fmla="*/ 419892 h 761503"/>
                <a:gd name="connsiteX13" fmla="*/ 485165 w 598324"/>
                <a:gd name="connsiteY13" fmla="*/ 463407 h 761503"/>
                <a:gd name="connsiteX14" fmla="*/ 482445 w 598324"/>
                <a:gd name="connsiteY14" fmla="*/ 515080 h 761503"/>
                <a:gd name="connsiteX15" fmla="*/ 482445 w 598324"/>
                <a:gd name="connsiteY15" fmla="*/ 558595 h 761503"/>
                <a:gd name="connsiteX16" fmla="*/ 479725 w 598324"/>
                <a:gd name="connsiteY16" fmla="*/ 602109 h 761503"/>
                <a:gd name="connsiteX17" fmla="*/ 485165 w 598324"/>
                <a:gd name="connsiteY17" fmla="*/ 648343 h 761503"/>
                <a:gd name="connsiteX18" fmla="*/ 474286 w 598324"/>
                <a:gd name="connsiteY18" fmla="*/ 675540 h 761503"/>
                <a:gd name="connsiteX19" fmla="*/ 428052 w 598324"/>
                <a:gd name="connsiteY19" fmla="*/ 691858 h 761503"/>
                <a:gd name="connsiteX20" fmla="*/ 387257 w 598324"/>
                <a:gd name="connsiteY20" fmla="*/ 683699 h 761503"/>
                <a:gd name="connsiteX21" fmla="*/ 351901 w 598324"/>
                <a:gd name="connsiteY21" fmla="*/ 664661 h 761503"/>
                <a:gd name="connsiteX22" fmla="*/ 305667 w 598324"/>
                <a:gd name="connsiteY22" fmla="*/ 596670 h 761503"/>
                <a:gd name="connsiteX23" fmla="*/ 270312 w 598324"/>
                <a:gd name="connsiteY23" fmla="*/ 509641 h 761503"/>
                <a:gd name="connsiteX24" fmla="*/ 251274 w 598324"/>
                <a:gd name="connsiteY24" fmla="*/ 460687 h 761503"/>
                <a:gd name="connsiteX25" fmla="*/ 224077 w 598324"/>
                <a:gd name="connsiteY25" fmla="*/ 381817 h 761503"/>
                <a:gd name="connsiteX26" fmla="*/ 207759 w 598324"/>
                <a:gd name="connsiteY26" fmla="*/ 330144 h 761503"/>
                <a:gd name="connsiteX27" fmla="*/ 191442 w 598324"/>
                <a:gd name="connsiteY27" fmla="*/ 286629 h 761503"/>
                <a:gd name="connsiteX28" fmla="*/ 183283 w 598324"/>
                <a:gd name="connsiteY28" fmla="*/ 278470 h 761503"/>
                <a:gd name="connsiteX29" fmla="*/ 180563 w 598324"/>
                <a:gd name="connsiteY29" fmla="*/ 292068 h 761503"/>
                <a:gd name="connsiteX30" fmla="*/ 180563 w 598324"/>
                <a:gd name="connsiteY30" fmla="*/ 305667 h 761503"/>
                <a:gd name="connsiteX31" fmla="*/ 183283 w 598324"/>
                <a:gd name="connsiteY31" fmla="*/ 354620 h 761503"/>
                <a:gd name="connsiteX32" fmla="*/ 188722 w 598324"/>
                <a:gd name="connsiteY32" fmla="*/ 449808 h 761503"/>
                <a:gd name="connsiteX33" fmla="*/ 188722 w 598324"/>
                <a:gd name="connsiteY33" fmla="*/ 479725 h 761503"/>
                <a:gd name="connsiteX34" fmla="*/ 188722 w 598324"/>
                <a:gd name="connsiteY34" fmla="*/ 542277 h 761503"/>
                <a:gd name="connsiteX35" fmla="*/ 186002 w 598324"/>
                <a:gd name="connsiteY35" fmla="*/ 615708 h 761503"/>
                <a:gd name="connsiteX36" fmla="*/ 186002 w 598324"/>
                <a:gd name="connsiteY36" fmla="*/ 637465 h 761503"/>
                <a:gd name="connsiteX37" fmla="*/ 183283 w 598324"/>
                <a:gd name="connsiteY37" fmla="*/ 664661 h 761503"/>
                <a:gd name="connsiteX38" fmla="*/ 226797 w 598324"/>
                <a:gd name="connsiteY38" fmla="*/ 664661 h 761503"/>
                <a:gd name="connsiteX39" fmla="*/ 253994 w 598324"/>
                <a:gd name="connsiteY39" fmla="*/ 680979 h 761503"/>
                <a:gd name="connsiteX40" fmla="*/ 248554 w 598324"/>
                <a:gd name="connsiteY40" fmla="*/ 697297 h 761503"/>
                <a:gd name="connsiteX41" fmla="*/ 234956 w 598324"/>
                <a:gd name="connsiteY41" fmla="*/ 705456 h 761503"/>
                <a:gd name="connsiteX42" fmla="*/ 218638 w 598324"/>
                <a:gd name="connsiteY42" fmla="*/ 708176 h 761503"/>
                <a:gd name="connsiteX43" fmla="*/ 183283 w 598324"/>
                <a:gd name="connsiteY43" fmla="*/ 708176 h 761503"/>
                <a:gd name="connsiteX44" fmla="*/ 150647 w 598324"/>
                <a:gd name="connsiteY44" fmla="*/ 708176 h 761503"/>
                <a:gd name="connsiteX45" fmla="*/ 107132 w 598324"/>
                <a:gd name="connsiteY45" fmla="*/ 708176 h 761503"/>
                <a:gd name="connsiteX46" fmla="*/ 88094 w 598324"/>
                <a:gd name="connsiteY46" fmla="*/ 708176 h 761503"/>
                <a:gd name="connsiteX47" fmla="*/ 69057 w 598324"/>
                <a:gd name="connsiteY47" fmla="*/ 702736 h 761503"/>
                <a:gd name="connsiteX48" fmla="*/ 58178 w 598324"/>
                <a:gd name="connsiteY48" fmla="*/ 686418 h 761503"/>
                <a:gd name="connsiteX49" fmla="*/ 60898 w 598324"/>
                <a:gd name="connsiteY49" fmla="*/ 678259 h 761503"/>
                <a:gd name="connsiteX50" fmla="*/ 77216 w 598324"/>
                <a:gd name="connsiteY50" fmla="*/ 670101 h 761503"/>
                <a:gd name="connsiteX51" fmla="*/ 120730 w 598324"/>
                <a:gd name="connsiteY51" fmla="*/ 664661 h 761503"/>
                <a:gd name="connsiteX52" fmla="*/ 131609 w 598324"/>
                <a:gd name="connsiteY52" fmla="*/ 664661 h 761503"/>
                <a:gd name="connsiteX53" fmla="*/ 134329 w 598324"/>
                <a:gd name="connsiteY53" fmla="*/ 539557 h 761503"/>
                <a:gd name="connsiteX54" fmla="*/ 134329 w 598324"/>
                <a:gd name="connsiteY54" fmla="*/ 504201 h 761503"/>
                <a:gd name="connsiteX55" fmla="*/ 131609 w 598324"/>
                <a:gd name="connsiteY55" fmla="*/ 376378 h 761503"/>
                <a:gd name="connsiteX56" fmla="*/ 131609 w 598324"/>
                <a:gd name="connsiteY56" fmla="*/ 302947 h 761503"/>
                <a:gd name="connsiteX57" fmla="*/ 134329 w 598324"/>
                <a:gd name="connsiteY57" fmla="*/ 221357 h 761503"/>
                <a:gd name="connsiteX58" fmla="*/ 137048 w 598324"/>
                <a:gd name="connsiteY58" fmla="*/ 123450 h 761503"/>
                <a:gd name="connsiteX59" fmla="*/ 107132 w 598324"/>
                <a:gd name="connsiteY59" fmla="*/ 123450 h 761503"/>
                <a:gd name="connsiteX60" fmla="*/ 88094 w 598324"/>
                <a:gd name="connsiteY60" fmla="*/ 123450 h 761503"/>
                <a:gd name="connsiteX61" fmla="*/ 69057 w 598324"/>
                <a:gd name="connsiteY61" fmla="*/ 118011 h 761503"/>
                <a:gd name="connsiteX62" fmla="*/ 58178 w 598324"/>
                <a:gd name="connsiteY62" fmla="*/ 101693 h 761503"/>
                <a:gd name="connsiteX63" fmla="*/ 60898 w 598324"/>
                <a:gd name="connsiteY63" fmla="*/ 93534 h 761503"/>
                <a:gd name="connsiteX64" fmla="*/ 77216 w 598324"/>
                <a:gd name="connsiteY64" fmla="*/ 85375 h 761503"/>
                <a:gd name="connsiteX65" fmla="*/ 131609 w 598324"/>
                <a:gd name="connsiteY65" fmla="*/ 79935 h 761503"/>
                <a:gd name="connsiteX66" fmla="*/ 161525 w 598324"/>
                <a:gd name="connsiteY66" fmla="*/ 79935 h 761503"/>
                <a:gd name="connsiteX67" fmla="*/ 177843 w 598324"/>
                <a:gd name="connsiteY67" fmla="*/ 66337 h 761503"/>
                <a:gd name="connsiteX68" fmla="*/ 202320 w 598324"/>
                <a:gd name="connsiteY68" fmla="*/ 58178 h 761503"/>
                <a:gd name="connsiteX69" fmla="*/ 234956 w 598324"/>
                <a:gd name="connsiteY69" fmla="*/ 77216 h 761503"/>
                <a:gd name="connsiteX70" fmla="*/ 251274 w 598324"/>
                <a:gd name="connsiteY70" fmla="*/ 107132 h 761503"/>
                <a:gd name="connsiteX71" fmla="*/ 267592 w 598324"/>
                <a:gd name="connsiteY71" fmla="*/ 147927 h 761503"/>
                <a:gd name="connsiteX72" fmla="*/ 281190 w 598324"/>
                <a:gd name="connsiteY72" fmla="*/ 183282 h 761503"/>
                <a:gd name="connsiteX73" fmla="*/ 297508 w 598324"/>
                <a:gd name="connsiteY73" fmla="*/ 224077 h 761503"/>
                <a:gd name="connsiteX74" fmla="*/ 308387 w 598324"/>
                <a:gd name="connsiteY74" fmla="*/ 264872 h 761503"/>
                <a:gd name="connsiteX75" fmla="*/ 319265 w 598324"/>
                <a:gd name="connsiteY75" fmla="*/ 300227 h 761503"/>
                <a:gd name="connsiteX76" fmla="*/ 351901 w 598324"/>
                <a:gd name="connsiteY76" fmla="*/ 379097 h 761503"/>
                <a:gd name="connsiteX77" fmla="*/ 365500 w 598324"/>
                <a:gd name="connsiteY77" fmla="*/ 417173 h 761503"/>
                <a:gd name="connsiteX78" fmla="*/ 379098 w 598324"/>
                <a:gd name="connsiteY78" fmla="*/ 457967 h 761503"/>
                <a:gd name="connsiteX79" fmla="*/ 395416 w 598324"/>
                <a:gd name="connsiteY79" fmla="*/ 496043 h 761503"/>
                <a:gd name="connsiteX80" fmla="*/ 406294 w 598324"/>
                <a:gd name="connsiteY80" fmla="*/ 512361 h 761503"/>
                <a:gd name="connsiteX81" fmla="*/ 411734 w 598324"/>
                <a:gd name="connsiteY81" fmla="*/ 531398 h 761503"/>
                <a:gd name="connsiteX82" fmla="*/ 419893 w 598324"/>
                <a:gd name="connsiteY82" fmla="*/ 558595 h 761503"/>
                <a:gd name="connsiteX83" fmla="*/ 425332 w 598324"/>
                <a:gd name="connsiteY83" fmla="*/ 564034 h 761503"/>
                <a:gd name="connsiteX84" fmla="*/ 430771 w 598324"/>
                <a:gd name="connsiteY84" fmla="*/ 558595 h 761503"/>
                <a:gd name="connsiteX85" fmla="*/ 430771 w 598324"/>
                <a:gd name="connsiteY85" fmla="*/ 550436 h 761503"/>
                <a:gd name="connsiteX86" fmla="*/ 430771 w 598324"/>
                <a:gd name="connsiteY86" fmla="*/ 501482 h 761503"/>
                <a:gd name="connsiteX87" fmla="*/ 430771 w 598324"/>
                <a:gd name="connsiteY87" fmla="*/ 403574 h 761503"/>
                <a:gd name="connsiteX88" fmla="*/ 425332 w 598324"/>
                <a:gd name="connsiteY88" fmla="*/ 313826 h 761503"/>
                <a:gd name="connsiteX89" fmla="*/ 425332 w 598324"/>
                <a:gd name="connsiteY89" fmla="*/ 248554 h 761503"/>
                <a:gd name="connsiteX90" fmla="*/ 425332 w 598324"/>
                <a:gd name="connsiteY90" fmla="*/ 210479 h 761503"/>
                <a:gd name="connsiteX91" fmla="*/ 422613 w 598324"/>
                <a:gd name="connsiteY91" fmla="*/ 153366 h 761503"/>
                <a:gd name="connsiteX92" fmla="*/ 425332 w 598324"/>
                <a:gd name="connsiteY92" fmla="*/ 123450 h 761503"/>
                <a:gd name="connsiteX93" fmla="*/ 398136 w 598324"/>
                <a:gd name="connsiteY93" fmla="*/ 123450 h 761503"/>
                <a:gd name="connsiteX94" fmla="*/ 379098 w 598324"/>
                <a:gd name="connsiteY94" fmla="*/ 123450 h 761503"/>
                <a:gd name="connsiteX95" fmla="*/ 360060 w 598324"/>
                <a:gd name="connsiteY95" fmla="*/ 118011 h 761503"/>
                <a:gd name="connsiteX96" fmla="*/ 349182 w 598324"/>
                <a:gd name="connsiteY96" fmla="*/ 101693 h 761503"/>
                <a:gd name="connsiteX97" fmla="*/ 351901 w 598324"/>
                <a:gd name="connsiteY97" fmla="*/ 93534 h 761503"/>
                <a:gd name="connsiteX98" fmla="*/ 368219 w 598324"/>
                <a:gd name="connsiteY98" fmla="*/ 85375 h 761503"/>
                <a:gd name="connsiteX99" fmla="*/ 422613 w 598324"/>
                <a:gd name="connsiteY99" fmla="*/ 79935 h 761503"/>
                <a:gd name="connsiteX100" fmla="*/ 444370 w 598324"/>
                <a:gd name="connsiteY100" fmla="*/ 79935 h 761503"/>
                <a:gd name="connsiteX101" fmla="*/ 463407 w 598324"/>
                <a:gd name="connsiteY101" fmla="*/ 71776 h 761503"/>
                <a:gd name="connsiteX102" fmla="*/ 477006 w 598324"/>
                <a:gd name="connsiteY102" fmla="*/ 79935 h 761503"/>
                <a:gd name="connsiteX103" fmla="*/ 515081 w 598324"/>
                <a:gd name="connsiteY103" fmla="*/ 79935 h 761503"/>
                <a:gd name="connsiteX104" fmla="*/ 515081 w 598324"/>
                <a:gd name="connsiteY104" fmla="*/ 79935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98324" h="761503">
                  <a:moveTo>
                    <a:pt x="515081" y="79935"/>
                  </a:moveTo>
                  <a:cubicBezTo>
                    <a:pt x="523240" y="79935"/>
                    <a:pt x="542277" y="79935"/>
                    <a:pt x="542277" y="96253"/>
                  </a:cubicBezTo>
                  <a:cubicBezTo>
                    <a:pt x="542277" y="104412"/>
                    <a:pt x="542277" y="107132"/>
                    <a:pt x="536838" y="112571"/>
                  </a:cubicBezTo>
                  <a:cubicBezTo>
                    <a:pt x="534119" y="118011"/>
                    <a:pt x="528679" y="120730"/>
                    <a:pt x="523240" y="120730"/>
                  </a:cubicBezTo>
                  <a:cubicBezTo>
                    <a:pt x="515081" y="123450"/>
                    <a:pt x="512361" y="123450"/>
                    <a:pt x="506922" y="123450"/>
                  </a:cubicBezTo>
                  <a:cubicBezTo>
                    <a:pt x="504202" y="123450"/>
                    <a:pt x="490604" y="123450"/>
                    <a:pt x="477006" y="123450"/>
                  </a:cubicBezTo>
                  <a:cubicBezTo>
                    <a:pt x="477006" y="131609"/>
                    <a:pt x="479725" y="137048"/>
                    <a:pt x="479725" y="145207"/>
                  </a:cubicBezTo>
                  <a:cubicBezTo>
                    <a:pt x="479725" y="156086"/>
                    <a:pt x="477006" y="166964"/>
                    <a:pt x="477006" y="180563"/>
                  </a:cubicBezTo>
                  <a:cubicBezTo>
                    <a:pt x="477006" y="196881"/>
                    <a:pt x="479725" y="215918"/>
                    <a:pt x="482445" y="232236"/>
                  </a:cubicBezTo>
                  <a:cubicBezTo>
                    <a:pt x="485165" y="248554"/>
                    <a:pt x="485165" y="267592"/>
                    <a:pt x="485165" y="283909"/>
                  </a:cubicBezTo>
                  <a:cubicBezTo>
                    <a:pt x="485165" y="297508"/>
                    <a:pt x="485165" y="313826"/>
                    <a:pt x="485165" y="327424"/>
                  </a:cubicBezTo>
                  <a:cubicBezTo>
                    <a:pt x="485165" y="343742"/>
                    <a:pt x="487884" y="357340"/>
                    <a:pt x="487884" y="373658"/>
                  </a:cubicBezTo>
                  <a:cubicBezTo>
                    <a:pt x="487884" y="389976"/>
                    <a:pt x="485165" y="403574"/>
                    <a:pt x="485165" y="419892"/>
                  </a:cubicBezTo>
                  <a:cubicBezTo>
                    <a:pt x="485165" y="436210"/>
                    <a:pt x="485165" y="449808"/>
                    <a:pt x="485165" y="463407"/>
                  </a:cubicBezTo>
                  <a:cubicBezTo>
                    <a:pt x="485165" y="479725"/>
                    <a:pt x="485165" y="498762"/>
                    <a:pt x="482445" y="515080"/>
                  </a:cubicBezTo>
                  <a:cubicBezTo>
                    <a:pt x="482445" y="528678"/>
                    <a:pt x="482445" y="542277"/>
                    <a:pt x="482445" y="558595"/>
                  </a:cubicBezTo>
                  <a:cubicBezTo>
                    <a:pt x="482445" y="572193"/>
                    <a:pt x="479725" y="588511"/>
                    <a:pt x="479725" y="602109"/>
                  </a:cubicBezTo>
                  <a:cubicBezTo>
                    <a:pt x="479725" y="615708"/>
                    <a:pt x="485165" y="632025"/>
                    <a:pt x="485165" y="648343"/>
                  </a:cubicBezTo>
                  <a:cubicBezTo>
                    <a:pt x="485165" y="659222"/>
                    <a:pt x="482445" y="670101"/>
                    <a:pt x="474286" y="675540"/>
                  </a:cubicBezTo>
                  <a:cubicBezTo>
                    <a:pt x="460688" y="686418"/>
                    <a:pt x="444370" y="691858"/>
                    <a:pt x="428052" y="691858"/>
                  </a:cubicBezTo>
                  <a:cubicBezTo>
                    <a:pt x="414453" y="691858"/>
                    <a:pt x="400855" y="689138"/>
                    <a:pt x="387257" y="683699"/>
                  </a:cubicBezTo>
                  <a:cubicBezTo>
                    <a:pt x="373659" y="678259"/>
                    <a:pt x="360060" y="672820"/>
                    <a:pt x="351901" y="664661"/>
                  </a:cubicBezTo>
                  <a:cubicBezTo>
                    <a:pt x="330144" y="645624"/>
                    <a:pt x="316546" y="621147"/>
                    <a:pt x="305667" y="596670"/>
                  </a:cubicBezTo>
                  <a:cubicBezTo>
                    <a:pt x="292069" y="569473"/>
                    <a:pt x="281190" y="539557"/>
                    <a:pt x="270312" y="509641"/>
                  </a:cubicBezTo>
                  <a:cubicBezTo>
                    <a:pt x="264872" y="493323"/>
                    <a:pt x="256713" y="477005"/>
                    <a:pt x="251274" y="460687"/>
                  </a:cubicBezTo>
                  <a:cubicBezTo>
                    <a:pt x="240395" y="433490"/>
                    <a:pt x="232236" y="409014"/>
                    <a:pt x="224077" y="381817"/>
                  </a:cubicBezTo>
                  <a:cubicBezTo>
                    <a:pt x="218638" y="365499"/>
                    <a:pt x="213199" y="346462"/>
                    <a:pt x="207759" y="330144"/>
                  </a:cubicBezTo>
                  <a:cubicBezTo>
                    <a:pt x="202320" y="316545"/>
                    <a:pt x="196881" y="300227"/>
                    <a:pt x="191442" y="286629"/>
                  </a:cubicBezTo>
                  <a:cubicBezTo>
                    <a:pt x="188722" y="281190"/>
                    <a:pt x="186002" y="278470"/>
                    <a:pt x="183283" y="278470"/>
                  </a:cubicBezTo>
                  <a:cubicBezTo>
                    <a:pt x="180563" y="278470"/>
                    <a:pt x="180563" y="286629"/>
                    <a:pt x="180563" y="292068"/>
                  </a:cubicBezTo>
                  <a:cubicBezTo>
                    <a:pt x="180563" y="297508"/>
                    <a:pt x="180563" y="302947"/>
                    <a:pt x="180563" y="305667"/>
                  </a:cubicBezTo>
                  <a:cubicBezTo>
                    <a:pt x="180563" y="321985"/>
                    <a:pt x="183283" y="338303"/>
                    <a:pt x="183283" y="354620"/>
                  </a:cubicBezTo>
                  <a:cubicBezTo>
                    <a:pt x="183283" y="387256"/>
                    <a:pt x="186002" y="417173"/>
                    <a:pt x="188722" y="449808"/>
                  </a:cubicBezTo>
                  <a:cubicBezTo>
                    <a:pt x="188722" y="460687"/>
                    <a:pt x="188722" y="468846"/>
                    <a:pt x="188722" y="479725"/>
                  </a:cubicBezTo>
                  <a:cubicBezTo>
                    <a:pt x="188722" y="501482"/>
                    <a:pt x="188722" y="523239"/>
                    <a:pt x="188722" y="542277"/>
                  </a:cubicBezTo>
                  <a:cubicBezTo>
                    <a:pt x="188722" y="566754"/>
                    <a:pt x="186002" y="591231"/>
                    <a:pt x="186002" y="615708"/>
                  </a:cubicBezTo>
                  <a:cubicBezTo>
                    <a:pt x="186002" y="623866"/>
                    <a:pt x="186002" y="632025"/>
                    <a:pt x="186002" y="637465"/>
                  </a:cubicBezTo>
                  <a:cubicBezTo>
                    <a:pt x="186002" y="645624"/>
                    <a:pt x="183283" y="656502"/>
                    <a:pt x="183283" y="664661"/>
                  </a:cubicBezTo>
                  <a:cubicBezTo>
                    <a:pt x="202320" y="664661"/>
                    <a:pt x="218638" y="664661"/>
                    <a:pt x="226797" y="664661"/>
                  </a:cubicBezTo>
                  <a:cubicBezTo>
                    <a:pt x="234956" y="664661"/>
                    <a:pt x="253994" y="664661"/>
                    <a:pt x="253994" y="680979"/>
                  </a:cubicBezTo>
                  <a:cubicBezTo>
                    <a:pt x="253994" y="689138"/>
                    <a:pt x="253994" y="691858"/>
                    <a:pt x="248554" y="697297"/>
                  </a:cubicBezTo>
                  <a:cubicBezTo>
                    <a:pt x="245835" y="702736"/>
                    <a:pt x="240395" y="705456"/>
                    <a:pt x="234956" y="705456"/>
                  </a:cubicBezTo>
                  <a:cubicBezTo>
                    <a:pt x="226797" y="708176"/>
                    <a:pt x="224077" y="708176"/>
                    <a:pt x="218638" y="708176"/>
                  </a:cubicBezTo>
                  <a:cubicBezTo>
                    <a:pt x="215918" y="708176"/>
                    <a:pt x="199600" y="708176"/>
                    <a:pt x="183283" y="708176"/>
                  </a:cubicBezTo>
                  <a:cubicBezTo>
                    <a:pt x="166965" y="708176"/>
                    <a:pt x="153366" y="708176"/>
                    <a:pt x="150647" y="708176"/>
                  </a:cubicBezTo>
                  <a:cubicBezTo>
                    <a:pt x="139768" y="708176"/>
                    <a:pt x="120730" y="708176"/>
                    <a:pt x="107132" y="708176"/>
                  </a:cubicBezTo>
                  <a:cubicBezTo>
                    <a:pt x="101693" y="708176"/>
                    <a:pt x="96254" y="708176"/>
                    <a:pt x="88094" y="708176"/>
                  </a:cubicBezTo>
                  <a:cubicBezTo>
                    <a:pt x="82655" y="708176"/>
                    <a:pt x="74496" y="70817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15291" y="664661"/>
                    <a:pt x="120730" y="664661"/>
                  </a:cubicBezTo>
                  <a:cubicBezTo>
                    <a:pt x="123450" y="664661"/>
                    <a:pt x="126170" y="664661"/>
                    <a:pt x="131609" y="664661"/>
                  </a:cubicBezTo>
                  <a:cubicBezTo>
                    <a:pt x="131609" y="623866"/>
                    <a:pt x="134329" y="583072"/>
                    <a:pt x="134329" y="539557"/>
                  </a:cubicBezTo>
                  <a:cubicBezTo>
                    <a:pt x="134329" y="528678"/>
                    <a:pt x="134329" y="515080"/>
                    <a:pt x="134329" y="504201"/>
                  </a:cubicBezTo>
                  <a:cubicBezTo>
                    <a:pt x="131609" y="460687"/>
                    <a:pt x="131609" y="417173"/>
                    <a:pt x="131609" y="376378"/>
                  </a:cubicBezTo>
                  <a:cubicBezTo>
                    <a:pt x="131609" y="351901"/>
                    <a:pt x="131609" y="327424"/>
                    <a:pt x="131609" y="302947"/>
                  </a:cubicBezTo>
                  <a:cubicBezTo>
                    <a:pt x="131609" y="275751"/>
                    <a:pt x="131609" y="248554"/>
                    <a:pt x="134329" y="221357"/>
                  </a:cubicBezTo>
                  <a:cubicBezTo>
                    <a:pt x="134329" y="188722"/>
                    <a:pt x="137048" y="156086"/>
                    <a:pt x="137048" y="123450"/>
                  </a:cubicBezTo>
                  <a:cubicBezTo>
                    <a:pt x="126170" y="123450"/>
                    <a:pt x="115291" y="123450"/>
                    <a:pt x="107132" y="123450"/>
                  </a:cubicBezTo>
                  <a:cubicBezTo>
                    <a:pt x="101693" y="123450"/>
                    <a:pt x="96254" y="123450"/>
                    <a:pt x="88094" y="123450"/>
                  </a:cubicBezTo>
                  <a:cubicBezTo>
                    <a:pt x="82655" y="123450"/>
                    <a:pt x="74496" y="120730"/>
                    <a:pt x="69057" y="118011"/>
                  </a:cubicBezTo>
                  <a:cubicBezTo>
                    <a:pt x="63617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0898" y="93534"/>
                  </a:cubicBezTo>
                  <a:cubicBezTo>
                    <a:pt x="63617" y="90814"/>
                    <a:pt x="71777" y="88094"/>
                    <a:pt x="77216" y="85375"/>
                  </a:cubicBezTo>
                  <a:cubicBezTo>
                    <a:pt x="90814" y="82655"/>
                    <a:pt x="126170" y="79935"/>
                    <a:pt x="131609" y="79935"/>
                  </a:cubicBezTo>
                  <a:cubicBezTo>
                    <a:pt x="137048" y="79935"/>
                    <a:pt x="147927" y="79935"/>
                    <a:pt x="161525" y="79935"/>
                  </a:cubicBezTo>
                  <a:cubicBezTo>
                    <a:pt x="166965" y="74496"/>
                    <a:pt x="172404" y="71776"/>
                    <a:pt x="177843" y="66337"/>
                  </a:cubicBezTo>
                  <a:cubicBezTo>
                    <a:pt x="186002" y="60898"/>
                    <a:pt x="194161" y="58178"/>
                    <a:pt x="202320" y="58178"/>
                  </a:cubicBezTo>
                  <a:cubicBezTo>
                    <a:pt x="215918" y="58178"/>
                    <a:pt x="226797" y="63617"/>
                    <a:pt x="234956" y="77216"/>
                  </a:cubicBezTo>
                  <a:cubicBezTo>
                    <a:pt x="240395" y="88094"/>
                    <a:pt x="248554" y="96253"/>
                    <a:pt x="251274" y="107132"/>
                  </a:cubicBezTo>
                  <a:cubicBezTo>
                    <a:pt x="256713" y="120730"/>
                    <a:pt x="259433" y="134328"/>
                    <a:pt x="267592" y="147927"/>
                  </a:cubicBezTo>
                  <a:cubicBezTo>
                    <a:pt x="273031" y="158805"/>
                    <a:pt x="275751" y="172404"/>
                    <a:pt x="281190" y="183282"/>
                  </a:cubicBezTo>
                  <a:cubicBezTo>
                    <a:pt x="286630" y="196881"/>
                    <a:pt x="292069" y="210479"/>
                    <a:pt x="297508" y="224077"/>
                  </a:cubicBezTo>
                  <a:cubicBezTo>
                    <a:pt x="300228" y="237675"/>
                    <a:pt x="305667" y="251274"/>
                    <a:pt x="308387" y="264872"/>
                  </a:cubicBezTo>
                  <a:cubicBezTo>
                    <a:pt x="311106" y="278470"/>
                    <a:pt x="311106" y="289349"/>
                    <a:pt x="319265" y="300227"/>
                  </a:cubicBezTo>
                  <a:cubicBezTo>
                    <a:pt x="332864" y="324704"/>
                    <a:pt x="346462" y="351901"/>
                    <a:pt x="351901" y="379097"/>
                  </a:cubicBezTo>
                  <a:cubicBezTo>
                    <a:pt x="354621" y="392696"/>
                    <a:pt x="360060" y="403574"/>
                    <a:pt x="365500" y="417173"/>
                  </a:cubicBezTo>
                  <a:cubicBezTo>
                    <a:pt x="373659" y="430771"/>
                    <a:pt x="373659" y="444369"/>
                    <a:pt x="379098" y="457967"/>
                  </a:cubicBezTo>
                  <a:cubicBezTo>
                    <a:pt x="381818" y="471566"/>
                    <a:pt x="387257" y="482444"/>
                    <a:pt x="395416" y="496043"/>
                  </a:cubicBezTo>
                  <a:cubicBezTo>
                    <a:pt x="398136" y="501482"/>
                    <a:pt x="403575" y="506921"/>
                    <a:pt x="406294" y="512361"/>
                  </a:cubicBezTo>
                  <a:cubicBezTo>
                    <a:pt x="409014" y="517800"/>
                    <a:pt x="409014" y="525959"/>
                    <a:pt x="411734" y="531398"/>
                  </a:cubicBezTo>
                  <a:cubicBezTo>
                    <a:pt x="414453" y="539557"/>
                    <a:pt x="417173" y="550436"/>
                    <a:pt x="419893" y="558595"/>
                  </a:cubicBezTo>
                  <a:cubicBezTo>
                    <a:pt x="422613" y="561314"/>
                    <a:pt x="422613" y="564034"/>
                    <a:pt x="425332" y="564034"/>
                  </a:cubicBezTo>
                  <a:cubicBezTo>
                    <a:pt x="428052" y="564034"/>
                    <a:pt x="428052" y="561314"/>
                    <a:pt x="430771" y="558595"/>
                  </a:cubicBezTo>
                  <a:cubicBezTo>
                    <a:pt x="430771" y="555875"/>
                    <a:pt x="430771" y="553155"/>
                    <a:pt x="430771" y="550436"/>
                  </a:cubicBezTo>
                  <a:cubicBezTo>
                    <a:pt x="430771" y="534118"/>
                    <a:pt x="430771" y="517800"/>
                    <a:pt x="430771" y="501482"/>
                  </a:cubicBezTo>
                  <a:cubicBezTo>
                    <a:pt x="430771" y="468846"/>
                    <a:pt x="433491" y="436210"/>
                    <a:pt x="430771" y="403574"/>
                  </a:cubicBezTo>
                  <a:cubicBezTo>
                    <a:pt x="430771" y="373658"/>
                    <a:pt x="425332" y="343742"/>
                    <a:pt x="425332" y="313826"/>
                  </a:cubicBezTo>
                  <a:cubicBezTo>
                    <a:pt x="425332" y="292068"/>
                    <a:pt x="425332" y="270311"/>
                    <a:pt x="425332" y="248554"/>
                  </a:cubicBezTo>
                  <a:cubicBezTo>
                    <a:pt x="425332" y="234956"/>
                    <a:pt x="425332" y="224077"/>
                    <a:pt x="425332" y="210479"/>
                  </a:cubicBezTo>
                  <a:cubicBezTo>
                    <a:pt x="425332" y="191441"/>
                    <a:pt x="422613" y="172404"/>
                    <a:pt x="422613" y="153366"/>
                  </a:cubicBezTo>
                  <a:cubicBezTo>
                    <a:pt x="422613" y="142487"/>
                    <a:pt x="422613" y="134328"/>
                    <a:pt x="425332" y="123450"/>
                  </a:cubicBezTo>
                  <a:cubicBezTo>
                    <a:pt x="417173" y="123450"/>
                    <a:pt x="406294" y="123450"/>
                    <a:pt x="398136" y="123450"/>
                  </a:cubicBezTo>
                  <a:cubicBezTo>
                    <a:pt x="392696" y="123450"/>
                    <a:pt x="387257" y="123450"/>
                    <a:pt x="379098" y="123450"/>
                  </a:cubicBezTo>
                  <a:cubicBezTo>
                    <a:pt x="373659" y="123450"/>
                    <a:pt x="365500" y="120730"/>
                    <a:pt x="360060" y="118011"/>
                  </a:cubicBezTo>
                  <a:cubicBezTo>
                    <a:pt x="354621" y="115291"/>
                    <a:pt x="349182" y="107132"/>
                    <a:pt x="349182" y="101693"/>
                  </a:cubicBezTo>
                  <a:cubicBezTo>
                    <a:pt x="349182" y="98973"/>
                    <a:pt x="349182" y="96253"/>
                    <a:pt x="351901" y="93534"/>
                  </a:cubicBezTo>
                  <a:cubicBezTo>
                    <a:pt x="354621" y="90814"/>
                    <a:pt x="362780" y="88094"/>
                    <a:pt x="368219" y="85375"/>
                  </a:cubicBezTo>
                  <a:cubicBezTo>
                    <a:pt x="381818" y="82655"/>
                    <a:pt x="417173" y="79935"/>
                    <a:pt x="422613" y="79935"/>
                  </a:cubicBezTo>
                  <a:cubicBezTo>
                    <a:pt x="428052" y="79935"/>
                    <a:pt x="433491" y="79935"/>
                    <a:pt x="444370" y="79935"/>
                  </a:cubicBezTo>
                  <a:cubicBezTo>
                    <a:pt x="449809" y="74496"/>
                    <a:pt x="455248" y="71776"/>
                    <a:pt x="463407" y="71776"/>
                  </a:cubicBezTo>
                  <a:cubicBezTo>
                    <a:pt x="471566" y="71776"/>
                    <a:pt x="477006" y="74496"/>
                    <a:pt x="477006" y="79935"/>
                  </a:cubicBezTo>
                  <a:cubicBezTo>
                    <a:pt x="493324" y="79935"/>
                    <a:pt x="506922" y="79935"/>
                    <a:pt x="515081" y="79935"/>
                  </a:cubicBezTo>
                  <a:lnTo>
                    <a:pt x="515081" y="79935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333FD0A1-B4A7-40CA-B9EE-32085C096039}"/>
                </a:ext>
              </a:extLst>
            </p:cNvPr>
            <p:cNvSpPr/>
            <p:nvPr/>
          </p:nvSpPr>
          <p:spPr>
            <a:xfrm>
              <a:off x="5139126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4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5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8 w 516735"/>
                <a:gd name="connsiteY18" fmla="*/ 694578 h 788699"/>
                <a:gd name="connsiteX19" fmla="*/ 86584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4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6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3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7" y="452528"/>
                    <a:pt x="445578" y="455248"/>
                  </a:cubicBezTo>
                  <a:cubicBezTo>
                    <a:pt x="434700" y="460687"/>
                    <a:pt x="415662" y="463407"/>
                    <a:pt x="404784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2" y="694578"/>
                    <a:pt x="317755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8" y="694578"/>
                  </a:cubicBezTo>
                  <a:cubicBezTo>
                    <a:pt x="113780" y="672820"/>
                    <a:pt x="100182" y="648343"/>
                    <a:pt x="86584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4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6" y="82655"/>
                  </a:cubicBezTo>
                  <a:cubicBezTo>
                    <a:pt x="383026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5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3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6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2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3" y="468846"/>
                    <a:pt x="247043" y="466126"/>
                  </a:cubicBezTo>
                  <a:cubicBezTo>
                    <a:pt x="247043" y="463407"/>
                    <a:pt x="247043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1989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A3BFD3D4-F4DA-42C1-8F72-C50C400F25E5}"/>
                </a:ext>
              </a:extLst>
            </p:cNvPr>
            <p:cNvSpPr/>
            <p:nvPr/>
          </p:nvSpPr>
          <p:spPr>
            <a:xfrm>
              <a:off x="5651630" y="4181279"/>
              <a:ext cx="734308" cy="788700"/>
            </a:xfrm>
            <a:custGeom>
              <a:avLst/>
              <a:gdLst>
                <a:gd name="connsiteX0" fmla="*/ 653783 w 734307"/>
                <a:gd name="connsiteY0" fmla="*/ 678259 h 788699"/>
                <a:gd name="connsiteX1" fmla="*/ 691859 w 734307"/>
                <a:gd name="connsiteY1" fmla="*/ 694577 h 788699"/>
                <a:gd name="connsiteX2" fmla="*/ 686419 w 734307"/>
                <a:gd name="connsiteY2" fmla="*/ 710895 h 788699"/>
                <a:gd name="connsiteX3" fmla="*/ 670101 w 734307"/>
                <a:gd name="connsiteY3" fmla="*/ 719054 h 788699"/>
                <a:gd name="connsiteX4" fmla="*/ 648344 w 734307"/>
                <a:gd name="connsiteY4" fmla="*/ 721774 h 788699"/>
                <a:gd name="connsiteX5" fmla="*/ 618428 w 734307"/>
                <a:gd name="connsiteY5" fmla="*/ 721774 h 788699"/>
                <a:gd name="connsiteX6" fmla="*/ 572194 w 734307"/>
                <a:gd name="connsiteY6" fmla="*/ 735372 h 788699"/>
                <a:gd name="connsiteX7" fmla="*/ 544997 w 734307"/>
                <a:gd name="connsiteY7" fmla="*/ 729933 h 788699"/>
                <a:gd name="connsiteX8" fmla="*/ 534119 w 734307"/>
                <a:gd name="connsiteY8" fmla="*/ 721774 h 788699"/>
                <a:gd name="connsiteX9" fmla="*/ 496043 w 734307"/>
                <a:gd name="connsiteY9" fmla="*/ 721774 h 788699"/>
                <a:gd name="connsiteX10" fmla="*/ 471566 w 734307"/>
                <a:gd name="connsiteY10" fmla="*/ 721774 h 788699"/>
                <a:gd name="connsiteX11" fmla="*/ 444370 w 734307"/>
                <a:gd name="connsiteY11" fmla="*/ 716335 h 788699"/>
                <a:gd name="connsiteX12" fmla="*/ 428052 w 734307"/>
                <a:gd name="connsiteY12" fmla="*/ 700017 h 788699"/>
                <a:gd name="connsiteX13" fmla="*/ 433491 w 734307"/>
                <a:gd name="connsiteY13" fmla="*/ 691858 h 788699"/>
                <a:gd name="connsiteX14" fmla="*/ 455248 w 734307"/>
                <a:gd name="connsiteY14" fmla="*/ 683699 h 788699"/>
                <a:gd name="connsiteX15" fmla="*/ 506922 w 734307"/>
                <a:gd name="connsiteY15" fmla="*/ 678259 h 788699"/>
                <a:gd name="connsiteX16" fmla="*/ 509641 w 734307"/>
                <a:gd name="connsiteY16" fmla="*/ 678259 h 788699"/>
                <a:gd name="connsiteX17" fmla="*/ 506922 w 734307"/>
                <a:gd name="connsiteY17" fmla="*/ 664661 h 788699"/>
                <a:gd name="connsiteX18" fmla="*/ 498763 w 734307"/>
                <a:gd name="connsiteY18" fmla="*/ 580352 h 788699"/>
                <a:gd name="connsiteX19" fmla="*/ 496043 w 734307"/>
                <a:gd name="connsiteY19" fmla="*/ 479725 h 788699"/>
                <a:gd name="connsiteX20" fmla="*/ 493324 w 734307"/>
                <a:gd name="connsiteY20" fmla="*/ 389976 h 788699"/>
                <a:gd name="connsiteX21" fmla="*/ 490604 w 734307"/>
                <a:gd name="connsiteY21" fmla="*/ 302947 h 788699"/>
                <a:gd name="connsiteX22" fmla="*/ 487884 w 734307"/>
                <a:gd name="connsiteY22" fmla="*/ 229516 h 788699"/>
                <a:gd name="connsiteX23" fmla="*/ 485165 w 734307"/>
                <a:gd name="connsiteY23" fmla="*/ 221357 h 788699"/>
                <a:gd name="connsiteX24" fmla="*/ 482445 w 734307"/>
                <a:gd name="connsiteY24" fmla="*/ 226797 h 788699"/>
                <a:gd name="connsiteX25" fmla="*/ 477006 w 734307"/>
                <a:gd name="connsiteY25" fmla="*/ 262152 h 788699"/>
                <a:gd name="connsiteX26" fmla="*/ 460688 w 734307"/>
                <a:gd name="connsiteY26" fmla="*/ 341022 h 788699"/>
                <a:gd name="connsiteX27" fmla="*/ 444370 w 734307"/>
                <a:gd name="connsiteY27" fmla="*/ 417173 h 788699"/>
                <a:gd name="connsiteX28" fmla="*/ 436211 w 734307"/>
                <a:gd name="connsiteY28" fmla="*/ 455248 h 788699"/>
                <a:gd name="connsiteX29" fmla="*/ 425332 w 734307"/>
                <a:gd name="connsiteY29" fmla="*/ 493323 h 788699"/>
                <a:gd name="connsiteX30" fmla="*/ 411734 w 734307"/>
                <a:gd name="connsiteY30" fmla="*/ 531398 h 788699"/>
                <a:gd name="connsiteX31" fmla="*/ 376378 w 734307"/>
                <a:gd name="connsiteY31" fmla="*/ 547716 h 788699"/>
                <a:gd name="connsiteX32" fmla="*/ 319265 w 734307"/>
                <a:gd name="connsiteY32" fmla="*/ 525959 h 788699"/>
                <a:gd name="connsiteX33" fmla="*/ 289349 w 734307"/>
                <a:gd name="connsiteY33" fmla="*/ 455248 h 788699"/>
                <a:gd name="connsiteX34" fmla="*/ 273031 w 734307"/>
                <a:gd name="connsiteY34" fmla="*/ 373658 h 788699"/>
                <a:gd name="connsiteX35" fmla="*/ 262153 w 734307"/>
                <a:gd name="connsiteY35" fmla="*/ 316545 h 788699"/>
                <a:gd name="connsiteX36" fmla="*/ 245835 w 734307"/>
                <a:gd name="connsiteY36" fmla="*/ 237675 h 788699"/>
                <a:gd name="connsiteX37" fmla="*/ 234956 w 734307"/>
                <a:gd name="connsiteY37" fmla="*/ 196881 h 788699"/>
                <a:gd name="connsiteX38" fmla="*/ 232236 w 734307"/>
                <a:gd name="connsiteY38" fmla="*/ 191441 h 788699"/>
                <a:gd name="connsiteX39" fmla="*/ 226797 w 734307"/>
                <a:gd name="connsiteY39" fmla="*/ 207759 h 788699"/>
                <a:gd name="connsiteX40" fmla="*/ 226797 w 734307"/>
                <a:gd name="connsiteY40" fmla="*/ 232236 h 788699"/>
                <a:gd name="connsiteX41" fmla="*/ 224077 w 734307"/>
                <a:gd name="connsiteY41" fmla="*/ 267592 h 788699"/>
                <a:gd name="connsiteX42" fmla="*/ 221358 w 734307"/>
                <a:gd name="connsiteY42" fmla="*/ 311106 h 788699"/>
                <a:gd name="connsiteX43" fmla="*/ 218638 w 734307"/>
                <a:gd name="connsiteY43" fmla="*/ 360060 h 788699"/>
                <a:gd name="connsiteX44" fmla="*/ 215919 w 734307"/>
                <a:gd name="connsiteY44" fmla="*/ 398135 h 788699"/>
                <a:gd name="connsiteX45" fmla="*/ 213199 w 734307"/>
                <a:gd name="connsiteY45" fmla="*/ 430771 h 788699"/>
                <a:gd name="connsiteX46" fmla="*/ 213199 w 734307"/>
                <a:gd name="connsiteY46" fmla="*/ 455248 h 788699"/>
                <a:gd name="connsiteX47" fmla="*/ 213199 w 734307"/>
                <a:gd name="connsiteY47" fmla="*/ 477005 h 788699"/>
                <a:gd name="connsiteX48" fmla="*/ 207759 w 734307"/>
                <a:gd name="connsiteY48" fmla="*/ 520520 h 788699"/>
                <a:gd name="connsiteX49" fmla="*/ 196881 w 734307"/>
                <a:gd name="connsiteY49" fmla="*/ 610268 h 788699"/>
                <a:gd name="connsiteX50" fmla="*/ 194161 w 734307"/>
                <a:gd name="connsiteY50" fmla="*/ 653783 h 788699"/>
                <a:gd name="connsiteX51" fmla="*/ 191441 w 734307"/>
                <a:gd name="connsiteY51" fmla="*/ 667381 h 788699"/>
                <a:gd name="connsiteX52" fmla="*/ 243115 w 734307"/>
                <a:gd name="connsiteY52" fmla="*/ 667381 h 788699"/>
                <a:gd name="connsiteX53" fmla="*/ 273031 w 734307"/>
                <a:gd name="connsiteY53" fmla="*/ 683699 h 788699"/>
                <a:gd name="connsiteX54" fmla="*/ 262153 w 734307"/>
                <a:gd name="connsiteY54" fmla="*/ 697297 h 788699"/>
                <a:gd name="connsiteX55" fmla="*/ 248554 w 734307"/>
                <a:gd name="connsiteY55" fmla="*/ 705456 h 788699"/>
                <a:gd name="connsiteX56" fmla="*/ 232236 w 734307"/>
                <a:gd name="connsiteY56" fmla="*/ 708176 h 788699"/>
                <a:gd name="connsiteX57" fmla="*/ 166965 w 734307"/>
                <a:gd name="connsiteY57" fmla="*/ 708176 h 788699"/>
                <a:gd name="connsiteX58" fmla="*/ 109852 w 734307"/>
                <a:gd name="connsiteY58" fmla="*/ 708176 h 788699"/>
                <a:gd name="connsiteX59" fmla="*/ 90814 w 734307"/>
                <a:gd name="connsiteY59" fmla="*/ 708176 h 788699"/>
                <a:gd name="connsiteX60" fmla="*/ 69057 w 734307"/>
                <a:gd name="connsiteY60" fmla="*/ 702736 h 788699"/>
                <a:gd name="connsiteX61" fmla="*/ 58178 w 734307"/>
                <a:gd name="connsiteY61" fmla="*/ 686418 h 788699"/>
                <a:gd name="connsiteX62" fmla="*/ 60898 w 734307"/>
                <a:gd name="connsiteY62" fmla="*/ 678259 h 788699"/>
                <a:gd name="connsiteX63" fmla="*/ 77216 w 734307"/>
                <a:gd name="connsiteY63" fmla="*/ 670101 h 788699"/>
                <a:gd name="connsiteX64" fmla="*/ 126170 w 734307"/>
                <a:gd name="connsiteY64" fmla="*/ 664661 h 788699"/>
                <a:gd name="connsiteX65" fmla="*/ 142487 w 734307"/>
                <a:gd name="connsiteY65" fmla="*/ 664661 h 788699"/>
                <a:gd name="connsiteX66" fmla="*/ 147927 w 734307"/>
                <a:gd name="connsiteY66" fmla="*/ 588511 h 788699"/>
                <a:gd name="connsiteX67" fmla="*/ 153366 w 734307"/>
                <a:gd name="connsiteY67" fmla="*/ 493323 h 788699"/>
                <a:gd name="connsiteX68" fmla="*/ 156086 w 734307"/>
                <a:gd name="connsiteY68" fmla="*/ 411733 h 788699"/>
                <a:gd name="connsiteX69" fmla="*/ 161525 w 734307"/>
                <a:gd name="connsiteY69" fmla="*/ 297508 h 788699"/>
                <a:gd name="connsiteX70" fmla="*/ 166965 w 734307"/>
                <a:gd name="connsiteY70" fmla="*/ 240395 h 788699"/>
                <a:gd name="connsiteX71" fmla="*/ 177843 w 734307"/>
                <a:gd name="connsiteY71" fmla="*/ 161525 h 788699"/>
                <a:gd name="connsiteX72" fmla="*/ 183282 w 734307"/>
                <a:gd name="connsiteY72" fmla="*/ 118011 h 788699"/>
                <a:gd name="connsiteX73" fmla="*/ 183282 w 734307"/>
                <a:gd name="connsiteY73" fmla="*/ 115291 h 788699"/>
                <a:gd name="connsiteX74" fmla="*/ 161525 w 734307"/>
                <a:gd name="connsiteY74" fmla="*/ 115291 h 788699"/>
                <a:gd name="connsiteX75" fmla="*/ 137048 w 734307"/>
                <a:gd name="connsiteY75" fmla="*/ 115291 h 788699"/>
                <a:gd name="connsiteX76" fmla="*/ 109852 w 734307"/>
                <a:gd name="connsiteY76" fmla="*/ 109851 h 788699"/>
                <a:gd name="connsiteX77" fmla="*/ 93534 w 734307"/>
                <a:gd name="connsiteY77" fmla="*/ 93534 h 788699"/>
                <a:gd name="connsiteX78" fmla="*/ 98973 w 734307"/>
                <a:gd name="connsiteY78" fmla="*/ 85375 h 788699"/>
                <a:gd name="connsiteX79" fmla="*/ 120730 w 734307"/>
                <a:gd name="connsiteY79" fmla="*/ 77216 h 788699"/>
                <a:gd name="connsiteX80" fmla="*/ 172404 w 734307"/>
                <a:gd name="connsiteY80" fmla="*/ 71776 h 788699"/>
                <a:gd name="connsiteX81" fmla="*/ 234956 w 734307"/>
                <a:gd name="connsiteY81" fmla="*/ 69057 h 788699"/>
                <a:gd name="connsiteX82" fmla="*/ 243115 w 734307"/>
                <a:gd name="connsiteY82" fmla="*/ 69057 h 788699"/>
                <a:gd name="connsiteX83" fmla="*/ 270312 w 734307"/>
                <a:gd name="connsiteY83" fmla="*/ 74496 h 788699"/>
                <a:gd name="connsiteX84" fmla="*/ 308387 w 734307"/>
                <a:gd name="connsiteY84" fmla="*/ 123450 h 788699"/>
                <a:gd name="connsiteX85" fmla="*/ 332864 w 734307"/>
                <a:gd name="connsiteY85" fmla="*/ 202320 h 788699"/>
                <a:gd name="connsiteX86" fmla="*/ 338303 w 734307"/>
                <a:gd name="connsiteY86" fmla="*/ 237675 h 788699"/>
                <a:gd name="connsiteX87" fmla="*/ 349182 w 734307"/>
                <a:gd name="connsiteY87" fmla="*/ 281190 h 788699"/>
                <a:gd name="connsiteX88" fmla="*/ 357341 w 734307"/>
                <a:gd name="connsiteY88" fmla="*/ 316545 h 788699"/>
                <a:gd name="connsiteX89" fmla="*/ 365500 w 734307"/>
                <a:gd name="connsiteY89" fmla="*/ 351901 h 788699"/>
                <a:gd name="connsiteX90" fmla="*/ 376378 w 734307"/>
                <a:gd name="connsiteY90" fmla="*/ 389976 h 788699"/>
                <a:gd name="connsiteX91" fmla="*/ 387257 w 734307"/>
                <a:gd name="connsiteY91" fmla="*/ 414453 h 788699"/>
                <a:gd name="connsiteX92" fmla="*/ 398136 w 734307"/>
                <a:gd name="connsiteY92" fmla="*/ 376378 h 788699"/>
                <a:gd name="connsiteX93" fmla="*/ 406295 w 734307"/>
                <a:gd name="connsiteY93" fmla="*/ 332863 h 788699"/>
                <a:gd name="connsiteX94" fmla="*/ 425332 w 734307"/>
                <a:gd name="connsiteY94" fmla="*/ 243115 h 788699"/>
                <a:gd name="connsiteX95" fmla="*/ 444370 w 734307"/>
                <a:gd name="connsiteY95" fmla="*/ 150646 h 788699"/>
                <a:gd name="connsiteX96" fmla="*/ 477006 w 734307"/>
                <a:gd name="connsiteY96" fmla="*/ 79935 h 788699"/>
                <a:gd name="connsiteX97" fmla="*/ 523240 w 734307"/>
                <a:gd name="connsiteY97" fmla="*/ 58178 h 788699"/>
                <a:gd name="connsiteX98" fmla="*/ 544997 w 734307"/>
                <a:gd name="connsiteY98" fmla="*/ 63617 h 788699"/>
                <a:gd name="connsiteX99" fmla="*/ 612988 w 734307"/>
                <a:gd name="connsiteY99" fmla="*/ 63617 h 788699"/>
                <a:gd name="connsiteX100" fmla="*/ 651064 w 734307"/>
                <a:gd name="connsiteY100" fmla="*/ 79935 h 788699"/>
                <a:gd name="connsiteX101" fmla="*/ 645624 w 734307"/>
                <a:gd name="connsiteY101" fmla="*/ 96253 h 788699"/>
                <a:gd name="connsiteX102" fmla="*/ 629307 w 734307"/>
                <a:gd name="connsiteY102" fmla="*/ 104412 h 788699"/>
                <a:gd name="connsiteX103" fmla="*/ 607549 w 734307"/>
                <a:gd name="connsiteY103" fmla="*/ 107132 h 788699"/>
                <a:gd name="connsiteX104" fmla="*/ 580353 w 734307"/>
                <a:gd name="connsiteY104" fmla="*/ 107132 h 788699"/>
                <a:gd name="connsiteX105" fmla="*/ 583072 w 734307"/>
                <a:gd name="connsiteY105" fmla="*/ 115291 h 788699"/>
                <a:gd name="connsiteX106" fmla="*/ 588512 w 734307"/>
                <a:gd name="connsiteY106" fmla="*/ 156086 h 788699"/>
                <a:gd name="connsiteX107" fmla="*/ 593951 w 734307"/>
                <a:gd name="connsiteY107" fmla="*/ 196881 h 788699"/>
                <a:gd name="connsiteX108" fmla="*/ 599390 w 734307"/>
                <a:gd name="connsiteY108" fmla="*/ 226797 h 788699"/>
                <a:gd name="connsiteX109" fmla="*/ 599390 w 734307"/>
                <a:gd name="connsiteY109" fmla="*/ 232236 h 788699"/>
                <a:gd name="connsiteX110" fmla="*/ 599390 w 734307"/>
                <a:gd name="connsiteY110" fmla="*/ 240395 h 788699"/>
                <a:gd name="connsiteX111" fmla="*/ 602110 w 734307"/>
                <a:gd name="connsiteY111" fmla="*/ 270311 h 788699"/>
                <a:gd name="connsiteX112" fmla="*/ 607549 w 734307"/>
                <a:gd name="connsiteY112" fmla="*/ 308386 h 788699"/>
                <a:gd name="connsiteX113" fmla="*/ 607549 w 734307"/>
                <a:gd name="connsiteY113" fmla="*/ 319265 h 788699"/>
                <a:gd name="connsiteX114" fmla="*/ 612988 w 734307"/>
                <a:gd name="connsiteY114" fmla="*/ 335583 h 788699"/>
                <a:gd name="connsiteX115" fmla="*/ 612988 w 734307"/>
                <a:gd name="connsiteY115" fmla="*/ 346462 h 788699"/>
                <a:gd name="connsiteX116" fmla="*/ 612988 w 734307"/>
                <a:gd name="connsiteY116" fmla="*/ 370939 h 788699"/>
                <a:gd name="connsiteX117" fmla="*/ 612988 w 734307"/>
                <a:gd name="connsiteY117" fmla="*/ 395415 h 788699"/>
                <a:gd name="connsiteX118" fmla="*/ 615708 w 734307"/>
                <a:gd name="connsiteY118" fmla="*/ 422612 h 788699"/>
                <a:gd name="connsiteX119" fmla="*/ 618428 w 734307"/>
                <a:gd name="connsiteY119" fmla="*/ 441650 h 788699"/>
                <a:gd name="connsiteX120" fmla="*/ 618428 w 734307"/>
                <a:gd name="connsiteY120" fmla="*/ 455248 h 788699"/>
                <a:gd name="connsiteX121" fmla="*/ 621147 w 734307"/>
                <a:gd name="connsiteY121" fmla="*/ 463407 h 788699"/>
                <a:gd name="connsiteX122" fmla="*/ 626587 w 734307"/>
                <a:gd name="connsiteY122" fmla="*/ 482444 h 788699"/>
                <a:gd name="connsiteX123" fmla="*/ 629307 w 734307"/>
                <a:gd name="connsiteY123" fmla="*/ 517800 h 788699"/>
                <a:gd name="connsiteX124" fmla="*/ 634746 w 734307"/>
                <a:gd name="connsiteY124" fmla="*/ 561314 h 788699"/>
                <a:gd name="connsiteX125" fmla="*/ 634746 w 734307"/>
                <a:gd name="connsiteY125" fmla="*/ 566754 h 788699"/>
                <a:gd name="connsiteX126" fmla="*/ 634746 w 734307"/>
                <a:gd name="connsiteY126" fmla="*/ 583072 h 788699"/>
                <a:gd name="connsiteX127" fmla="*/ 637466 w 734307"/>
                <a:gd name="connsiteY127" fmla="*/ 607548 h 788699"/>
                <a:gd name="connsiteX128" fmla="*/ 640185 w 734307"/>
                <a:gd name="connsiteY128" fmla="*/ 618427 h 788699"/>
                <a:gd name="connsiteX129" fmla="*/ 640185 w 734307"/>
                <a:gd name="connsiteY129" fmla="*/ 632025 h 788699"/>
                <a:gd name="connsiteX130" fmla="*/ 640185 w 734307"/>
                <a:gd name="connsiteY130" fmla="*/ 640184 h 788699"/>
                <a:gd name="connsiteX131" fmla="*/ 642905 w 734307"/>
                <a:gd name="connsiteY131" fmla="*/ 659222 h 788699"/>
                <a:gd name="connsiteX132" fmla="*/ 642905 w 734307"/>
                <a:gd name="connsiteY132" fmla="*/ 664661 h 788699"/>
                <a:gd name="connsiteX133" fmla="*/ 653783 w 734307"/>
                <a:gd name="connsiteY133" fmla="*/ 678259 h 788699"/>
                <a:gd name="connsiteX134" fmla="*/ 653783 w 734307"/>
                <a:gd name="connsiteY134" fmla="*/ 67825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734307" h="788699">
                  <a:moveTo>
                    <a:pt x="653783" y="678259"/>
                  </a:moveTo>
                  <a:cubicBezTo>
                    <a:pt x="667382" y="678259"/>
                    <a:pt x="691859" y="678259"/>
                    <a:pt x="691859" y="694577"/>
                  </a:cubicBezTo>
                  <a:cubicBezTo>
                    <a:pt x="691859" y="702736"/>
                    <a:pt x="689139" y="705456"/>
                    <a:pt x="686419" y="710895"/>
                  </a:cubicBezTo>
                  <a:cubicBezTo>
                    <a:pt x="683700" y="716335"/>
                    <a:pt x="675541" y="719054"/>
                    <a:pt x="670101" y="719054"/>
                  </a:cubicBezTo>
                  <a:cubicBezTo>
                    <a:pt x="661942" y="721774"/>
                    <a:pt x="653783" y="721774"/>
                    <a:pt x="648344" y="721774"/>
                  </a:cubicBezTo>
                  <a:cubicBezTo>
                    <a:pt x="645624" y="721774"/>
                    <a:pt x="634746" y="721774"/>
                    <a:pt x="618428" y="721774"/>
                  </a:cubicBezTo>
                  <a:cubicBezTo>
                    <a:pt x="604829" y="729933"/>
                    <a:pt x="588512" y="735372"/>
                    <a:pt x="572194" y="735372"/>
                  </a:cubicBezTo>
                  <a:cubicBezTo>
                    <a:pt x="564035" y="735372"/>
                    <a:pt x="553156" y="732653"/>
                    <a:pt x="544997" y="729933"/>
                  </a:cubicBezTo>
                  <a:cubicBezTo>
                    <a:pt x="539558" y="727213"/>
                    <a:pt x="536838" y="724494"/>
                    <a:pt x="534119" y="721774"/>
                  </a:cubicBezTo>
                  <a:cubicBezTo>
                    <a:pt x="520520" y="721774"/>
                    <a:pt x="509641" y="721774"/>
                    <a:pt x="496043" y="721774"/>
                  </a:cubicBezTo>
                  <a:cubicBezTo>
                    <a:pt x="487884" y="721774"/>
                    <a:pt x="479725" y="721774"/>
                    <a:pt x="471566" y="721774"/>
                  </a:cubicBezTo>
                  <a:cubicBezTo>
                    <a:pt x="463407" y="721774"/>
                    <a:pt x="452529" y="721774"/>
                    <a:pt x="444370" y="716335"/>
                  </a:cubicBezTo>
                  <a:cubicBezTo>
                    <a:pt x="436211" y="713615"/>
                    <a:pt x="428052" y="705456"/>
                    <a:pt x="428052" y="700017"/>
                  </a:cubicBezTo>
                  <a:cubicBezTo>
                    <a:pt x="428052" y="697297"/>
                    <a:pt x="428052" y="694577"/>
                    <a:pt x="433491" y="691858"/>
                  </a:cubicBezTo>
                  <a:cubicBezTo>
                    <a:pt x="438930" y="689138"/>
                    <a:pt x="449809" y="686418"/>
                    <a:pt x="455248" y="683699"/>
                  </a:cubicBezTo>
                  <a:cubicBezTo>
                    <a:pt x="474286" y="680979"/>
                    <a:pt x="498763" y="678259"/>
                    <a:pt x="506922" y="678259"/>
                  </a:cubicBezTo>
                  <a:cubicBezTo>
                    <a:pt x="506922" y="678259"/>
                    <a:pt x="509641" y="678259"/>
                    <a:pt x="509641" y="678259"/>
                  </a:cubicBezTo>
                  <a:cubicBezTo>
                    <a:pt x="509641" y="672820"/>
                    <a:pt x="506922" y="670101"/>
                    <a:pt x="506922" y="664661"/>
                  </a:cubicBezTo>
                  <a:cubicBezTo>
                    <a:pt x="501483" y="640184"/>
                    <a:pt x="501483" y="612988"/>
                    <a:pt x="498763" y="580352"/>
                  </a:cubicBezTo>
                  <a:cubicBezTo>
                    <a:pt x="496043" y="547716"/>
                    <a:pt x="498763" y="512361"/>
                    <a:pt x="496043" y="479725"/>
                  </a:cubicBezTo>
                  <a:cubicBezTo>
                    <a:pt x="493324" y="449808"/>
                    <a:pt x="493324" y="419892"/>
                    <a:pt x="493324" y="389976"/>
                  </a:cubicBezTo>
                  <a:cubicBezTo>
                    <a:pt x="493324" y="360060"/>
                    <a:pt x="490604" y="332863"/>
                    <a:pt x="490604" y="302947"/>
                  </a:cubicBezTo>
                  <a:cubicBezTo>
                    <a:pt x="487884" y="275751"/>
                    <a:pt x="487884" y="240395"/>
                    <a:pt x="487884" y="229516"/>
                  </a:cubicBezTo>
                  <a:cubicBezTo>
                    <a:pt x="487884" y="224077"/>
                    <a:pt x="487884" y="221357"/>
                    <a:pt x="485165" y="221357"/>
                  </a:cubicBezTo>
                  <a:cubicBezTo>
                    <a:pt x="485165" y="221357"/>
                    <a:pt x="482445" y="224077"/>
                    <a:pt x="482445" y="226797"/>
                  </a:cubicBezTo>
                  <a:cubicBezTo>
                    <a:pt x="479725" y="237675"/>
                    <a:pt x="479725" y="251274"/>
                    <a:pt x="477006" y="262152"/>
                  </a:cubicBezTo>
                  <a:cubicBezTo>
                    <a:pt x="471566" y="289349"/>
                    <a:pt x="466127" y="316545"/>
                    <a:pt x="460688" y="341022"/>
                  </a:cubicBezTo>
                  <a:cubicBezTo>
                    <a:pt x="455248" y="365499"/>
                    <a:pt x="447090" y="392696"/>
                    <a:pt x="444370" y="417173"/>
                  </a:cubicBezTo>
                  <a:cubicBezTo>
                    <a:pt x="441650" y="430771"/>
                    <a:pt x="438930" y="441650"/>
                    <a:pt x="436211" y="455248"/>
                  </a:cubicBezTo>
                  <a:cubicBezTo>
                    <a:pt x="433491" y="468846"/>
                    <a:pt x="428052" y="479725"/>
                    <a:pt x="425332" y="493323"/>
                  </a:cubicBezTo>
                  <a:cubicBezTo>
                    <a:pt x="422612" y="506921"/>
                    <a:pt x="419893" y="520520"/>
                    <a:pt x="411734" y="531398"/>
                  </a:cubicBezTo>
                  <a:cubicBezTo>
                    <a:pt x="406295" y="539557"/>
                    <a:pt x="395416" y="547716"/>
                    <a:pt x="376378" y="547716"/>
                  </a:cubicBezTo>
                  <a:cubicBezTo>
                    <a:pt x="357341" y="547716"/>
                    <a:pt x="335583" y="539557"/>
                    <a:pt x="319265" y="525959"/>
                  </a:cubicBezTo>
                  <a:cubicBezTo>
                    <a:pt x="300228" y="506921"/>
                    <a:pt x="294788" y="479725"/>
                    <a:pt x="289349" y="455248"/>
                  </a:cubicBezTo>
                  <a:cubicBezTo>
                    <a:pt x="283910" y="428051"/>
                    <a:pt x="278470" y="400855"/>
                    <a:pt x="273031" y="373658"/>
                  </a:cubicBezTo>
                  <a:cubicBezTo>
                    <a:pt x="273031" y="368219"/>
                    <a:pt x="267592" y="346462"/>
                    <a:pt x="262153" y="316545"/>
                  </a:cubicBezTo>
                  <a:cubicBezTo>
                    <a:pt x="256713" y="292068"/>
                    <a:pt x="251274" y="262152"/>
                    <a:pt x="245835" y="237675"/>
                  </a:cubicBezTo>
                  <a:cubicBezTo>
                    <a:pt x="240395" y="218638"/>
                    <a:pt x="237675" y="205039"/>
                    <a:pt x="234956" y="196881"/>
                  </a:cubicBezTo>
                  <a:cubicBezTo>
                    <a:pt x="232236" y="191441"/>
                    <a:pt x="232236" y="191441"/>
                    <a:pt x="232236" y="191441"/>
                  </a:cubicBezTo>
                  <a:cubicBezTo>
                    <a:pt x="229517" y="191441"/>
                    <a:pt x="229517" y="196881"/>
                    <a:pt x="226797" y="207759"/>
                  </a:cubicBezTo>
                  <a:cubicBezTo>
                    <a:pt x="226797" y="215918"/>
                    <a:pt x="226797" y="229516"/>
                    <a:pt x="226797" y="232236"/>
                  </a:cubicBezTo>
                  <a:cubicBezTo>
                    <a:pt x="226797" y="243115"/>
                    <a:pt x="224077" y="256713"/>
                    <a:pt x="224077" y="267592"/>
                  </a:cubicBezTo>
                  <a:cubicBezTo>
                    <a:pt x="224077" y="278470"/>
                    <a:pt x="224077" y="294788"/>
                    <a:pt x="221358" y="311106"/>
                  </a:cubicBezTo>
                  <a:cubicBezTo>
                    <a:pt x="221358" y="327424"/>
                    <a:pt x="218638" y="343742"/>
                    <a:pt x="218638" y="360060"/>
                  </a:cubicBezTo>
                  <a:cubicBezTo>
                    <a:pt x="218638" y="373658"/>
                    <a:pt x="215919" y="384537"/>
                    <a:pt x="215919" y="398135"/>
                  </a:cubicBezTo>
                  <a:cubicBezTo>
                    <a:pt x="215919" y="409014"/>
                    <a:pt x="213199" y="419892"/>
                    <a:pt x="213199" y="430771"/>
                  </a:cubicBezTo>
                  <a:cubicBezTo>
                    <a:pt x="213199" y="438930"/>
                    <a:pt x="213199" y="447089"/>
                    <a:pt x="213199" y="455248"/>
                  </a:cubicBezTo>
                  <a:cubicBezTo>
                    <a:pt x="213199" y="463407"/>
                    <a:pt x="213199" y="471566"/>
                    <a:pt x="213199" y="477005"/>
                  </a:cubicBezTo>
                  <a:cubicBezTo>
                    <a:pt x="210479" y="490603"/>
                    <a:pt x="207759" y="506921"/>
                    <a:pt x="207759" y="520520"/>
                  </a:cubicBezTo>
                  <a:cubicBezTo>
                    <a:pt x="202320" y="550436"/>
                    <a:pt x="199600" y="580352"/>
                    <a:pt x="196881" y="610268"/>
                  </a:cubicBezTo>
                  <a:cubicBezTo>
                    <a:pt x="196881" y="623866"/>
                    <a:pt x="196881" y="640184"/>
                    <a:pt x="194161" y="653783"/>
                  </a:cubicBezTo>
                  <a:cubicBezTo>
                    <a:pt x="194161" y="659222"/>
                    <a:pt x="194161" y="661942"/>
                    <a:pt x="191441" y="667381"/>
                  </a:cubicBezTo>
                  <a:cubicBezTo>
                    <a:pt x="213199" y="667381"/>
                    <a:pt x="232236" y="667381"/>
                    <a:pt x="243115" y="667381"/>
                  </a:cubicBezTo>
                  <a:cubicBezTo>
                    <a:pt x="253994" y="667381"/>
                    <a:pt x="273031" y="670101"/>
                    <a:pt x="273031" y="683699"/>
                  </a:cubicBezTo>
                  <a:cubicBezTo>
                    <a:pt x="273031" y="691858"/>
                    <a:pt x="267592" y="691858"/>
                    <a:pt x="262153" y="697297"/>
                  </a:cubicBezTo>
                  <a:cubicBezTo>
                    <a:pt x="259433" y="702736"/>
                    <a:pt x="253994" y="705456"/>
                    <a:pt x="248554" y="705456"/>
                  </a:cubicBezTo>
                  <a:cubicBezTo>
                    <a:pt x="240395" y="708176"/>
                    <a:pt x="234956" y="708176"/>
                    <a:pt x="232236" y="708176"/>
                  </a:cubicBezTo>
                  <a:cubicBezTo>
                    <a:pt x="226797" y="708176"/>
                    <a:pt x="175124" y="708176"/>
                    <a:pt x="166965" y="708176"/>
                  </a:cubicBezTo>
                  <a:cubicBezTo>
                    <a:pt x="156086" y="708176"/>
                    <a:pt x="120730" y="708176"/>
                    <a:pt x="109852" y="708176"/>
                  </a:cubicBezTo>
                  <a:cubicBezTo>
                    <a:pt x="104412" y="708176"/>
                    <a:pt x="96253" y="708176"/>
                    <a:pt x="90814" y="708176"/>
                  </a:cubicBezTo>
                  <a:cubicBezTo>
                    <a:pt x="85375" y="708176"/>
                    <a:pt x="77216" y="705456"/>
                    <a:pt x="69057" y="702736"/>
                  </a:cubicBezTo>
                  <a:cubicBezTo>
                    <a:pt x="63617" y="700017"/>
                    <a:pt x="58178" y="691858"/>
                    <a:pt x="58178" y="686418"/>
                  </a:cubicBezTo>
                  <a:cubicBezTo>
                    <a:pt x="58178" y="683699"/>
                    <a:pt x="58178" y="680979"/>
                    <a:pt x="60898" y="678259"/>
                  </a:cubicBezTo>
                  <a:cubicBezTo>
                    <a:pt x="63617" y="675540"/>
                    <a:pt x="71777" y="672820"/>
                    <a:pt x="77216" y="670101"/>
                  </a:cubicBezTo>
                  <a:cubicBezTo>
                    <a:pt x="90814" y="667381"/>
                    <a:pt x="120730" y="664661"/>
                    <a:pt x="126170" y="664661"/>
                  </a:cubicBezTo>
                  <a:cubicBezTo>
                    <a:pt x="128889" y="664661"/>
                    <a:pt x="134329" y="664661"/>
                    <a:pt x="142487" y="664661"/>
                  </a:cubicBezTo>
                  <a:cubicBezTo>
                    <a:pt x="142487" y="640184"/>
                    <a:pt x="147927" y="612988"/>
                    <a:pt x="147927" y="588511"/>
                  </a:cubicBezTo>
                  <a:cubicBezTo>
                    <a:pt x="150646" y="555875"/>
                    <a:pt x="153366" y="523239"/>
                    <a:pt x="153366" y="493323"/>
                  </a:cubicBezTo>
                  <a:cubicBezTo>
                    <a:pt x="153366" y="466126"/>
                    <a:pt x="156086" y="438930"/>
                    <a:pt x="156086" y="411733"/>
                  </a:cubicBezTo>
                  <a:cubicBezTo>
                    <a:pt x="158806" y="373658"/>
                    <a:pt x="158806" y="335583"/>
                    <a:pt x="161525" y="297508"/>
                  </a:cubicBezTo>
                  <a:cubicBezTo>
                    <a:pt x="161525" y="278470"/>
                    <a:pt x="164245" y="259433"/>
                    <a:pt x="166965" y="240395"/>
                  </a:cubicBezTo>
                  <a:cubicBezTo>
                    <a:pt x="169684" y="210479"/>
                    <a:pt x="172404" y="191441"/>
                    <a:pt x="177843" y="161525"/>
                  </a:cubicBezTo>
                  <a:cubicBezTo>
                    <a:pt x="180563" y="147927"/>
                    <a:pt x="180563" y="131609"/>
                    <a:pt x="183282" y="118011"/>
                  </a:cubicBezTo>
                  <a:cubicBezTo>
                    <a:pt x="183282" y="118011"/>
                    <a:pt x="183282" y="115291"/>
                    <a:pt x="183282" y="115291"/>
                  </a:cubicBezTo>
                  <a:cubicBezTo>
                    <a:pt x="177843" y="115291"/>
                    <a:pt x="172404" y="115291"/>
                    <a:pt x="161525" y="115291"/>
                  </a:cubicBezTo>
                  <a:cubicBezTo>
                    <a:pt x="153366" y="115291"/>
                    <a:pt x="145207" y="115291"/>
                    <a:pt x="137048" y="115291"/>
                  </a:cubicBezTo>
                  <a:cubicBezTo>
                    <a:pt x="128889" y="115291"/>
                    <a:pt x="118011" y="115291"/>
                    <a:pt x="109852" y="109851"/>
                  </a:cubicBezTo>
                  <a:cubicBezTo>
                    <a:pt x="101693" y="107132"/>
                    <a:pt x="93534" y="98973"/>
                    <a:pt x="93534" y="93534"/>
                  </a:cubicBezTo>
                  <a:cubicBezTo>
                    <a:pt x="93534" y="90814"/>
                    <a:pt x="93534" y="88094"/>
                    <a:pt x="98973" y="85375"/>
                  </a:cubicBezTo>
                  <a:cubicBezTo>
                    <a:pt x="104412" y="82655"/>
                    <a:pt x="115291" y="79935"/>
                    <a:pt x="120730" y="77216"/>
                  </a:cubicBezTo>
                  <a:cubicBezTo>
                    <a:pt x="139768" y="74496"/>
                    <a:pt x="164245" y="71776"/>
                    <a:pt x="172404" y="71776"/>
                  </a:cubicBezTo>
                  <a:cubicBezTo>
                    <a:pt x="194161" y="71776"/>
                    <a:pt x="210479" y="69057"/>
                    <a:pt x="234956" y="69057"/>
                  </a:cubicBezTo>
                  <a:cubicBezTo>
                    <a:pt x="237675" y="69057"/>
                    <a:pt x="240395" y="69057"/>
                    <a:pt x="243115" y="69057"/>
                  </a:cubicBezTo>
                  <a:cubicBezTo>
                    <a:pt x="251274" y="69057"/>
                    <a:pt x="262153" y="69057"/>
                    <a:pt x="270312" y="74496"/>
                  </a:cubicBezTo>
                  <a:cubicBezTo>
                    <a:pt x="283910" y="82655"/>
                    <a:pt x="300228" y="96253"/>
                    <a:pt x="308387" y="123450"/>
                  </a:cubicBezTo>
                  <a:cubicBezTo>
                    <a:pt x="316546" y="147927"/>
                    <a:pt x="327424" y="175123"/>
                    <a:pt x="332864" y="202320"/>
                  </a:cubicBezTo>
                  <a:cubicBezTo>
                    <a:pt x="335583" y="213198"/>
                    <a:pt x="335583" y="226797"/>
                    <a:pt x="338303" y="237675"/>
                  </a:cubicBezTo>
                  <a:cubicBezTo>
                    <a:pt x="343742" y="251274"/>
                    <a:pt x="346462" y="264872"/>
                    <a:pt x="349182" y="281190"/>
                  </a:cubicBezTo>
                  <a:cubicBezTo>
                    <a:pt x="351901" y="292068"/>
                    <a:pt x="351901" y="305667"/>
                    <a:pt x="357341" y="316545"/>
                  </a:cubicBezTo>
                  <a:cubicBezTo>
                    <a:pt x="362780" y="327424"/>
                    <a:pt x="362780" y="338303"/>
                    <a:pt x="365500" y="351901"/>
                  </a:cubicBezTo>
                  <a:cubicBezTo>
                    <a:pt x="365500" y="357340"/>
                    <a:pt x="373658" y="373658"/>
                    <a:pt x="376378" y="389976"/>
                  </a:cubicBezTo>
                  <a:cubicBezTo>
                    <a:pt x="381817" y="403574"/>
                    <a:pt x="384537" y="414453"/>
                    <a:pt x="387257" y="414453"/>
                  </a:cubicBezTo>
                  <a:cubicBezTo>
                    <a:pt x="392696" y="414453"/>
                    <a:pt x="395416" y="381817"/>
                    <a:pt x="398136" y="376378"/>
                  </a:cubicBezTo>
                  <a:cubicBezTo>
                    <a:pt x="400855" y="362779"/>
                    <a:pt x="403575" y="346462"/>
                    <a:pt x="406295" y="332863"/>
                  </a:cubicBezTo>
                  <a:cubicBezTo>
                    <a:pt x="411734" y="302947"/>
                    <a:pt x="417173" y="273031"/>
                    <a:pt x="425332" y="243115"/>
                  </a:cubicBezTo>
                  <a:cubicBezTo>
                    <a:pt x="430771" y="213198"/>
                    <a:pt x="436211" y="180563"/>
                    <a:pt x="444370" y="150646"/>
                  </a:cubicBezTo>
                  <a:cubicBezTo>
                    <a:pt x="449809" y="126170"/>
                    <a:pt x="460688" y="98973"/>
                    <a:pt x="477006" y="79935"/>
                  </a:cubicBezTo>
                  <a:cubicBezTo>
                    <a:pt x="487884" y="66337"/>
                    <a:pt x="506922" y="58178"/>
                    <a:pt x="523240" y="58178"/>
                  </a:cubicBezTo>
                  <a:cubicBezTo>
                    <a:pt x="528679" y="58178"/>
                    <a:pt x="539558" y="58178"/>
                    <a:pt x="544997" y="63617"/>
                  </a:cubicBezTo>
                  <a:lnTo>
                    <a:pt x="612988" y="63617"/>
                  </a:lnTo>
                  <a:cubicBezTo>
                    <a:pt x="626587" y="63617"/>
                    <a:pt x="651064" y="63617"/>
                    <a:pt x="651064" y="79935"/>
                  </a:cubicBezTo>
                  <a:cubicBezTo>
                    <a:pt x="651064" y="88094"/>
                    <a:pt x="648344" y="88094"/>
                    <a:pt x="645624" y="96253"/>
                  </a:cubicBezTo>
                  <a:cubicBezTo>
                    <a:pt x="640185" y="101693"/>
                    <a:pt x="634746" y="104412"/>
                    <a:pt x="629307" y="104412"/>
                  </a:cubicBezTo>
                  <a:cubicBezTo>
                    <a:pt x="621147" y="107132"/>
                    <a:pt x="612988" y="107132"/>
                    <a:pt x="607549" y="107132"/>
                  </a:cubicBezTo>
                  <a:cubicBezTo>
                    <a:pt x="604829" y="107132"/>
                    <a:pt x="591231" y="107132"/>
                    <a:pt x="580353" y="107132"/>
                  </a:cubicBezTo>
                  <a:cubicBezTo>
                    <a:pt x="580353" y="109851"/>
                    <a:pt x="583072" y="112571"/>
                    <a:pt x="583072" y="115291"/>
                  </a:cubicBezTo>
                  <a:cubicBezTo>
                    <a:pt x="585792" y="128889"/>
                    <a:pt x="585792" y="142487"/>
                    <a:pt x="588512" y="156086"/>
                  </a:cubicBezTo>
                  <a:cubicBezTo>
                    <a:pt x="591231" y="169684"/>
                    <a:pt x="591231" y="183282"/>
                    <a:pt x="593951" y="196881"/>
                  </a:cubicBezTo>
                  <a:cubicBezTo>
                    <a:pt x="593951" y="207759"/>
                    <a:pt x="599390" y="215918"/>
                    <a:pt x="599390" y="226797"/>
                  </a:cubicBezTo>
                  <a:cubicBezTo>
                    <a:pt x="599390" y="229516"/>
                    <a:pt x="599390" y="229516"/>
                    <a:pt x="599390" y="232236"/>
                  </a:cubicBezTo>
                  <a:cubicBezTo>
                    <a:pt x="599390" y="234956"/>
                    <a:pt x="599390" y="237675"/>
                    <a:pt x="599390" y="240395"/>
                  </a:cubicBezTo>
                  <a:cubicBezTo>
                    <a:pt x="599390" y="251274"/>
                    <a:pt x="599390" y="259433"/>
                    <a:pt x="602110" y="270311"/>
                  </a:cubicBezTo>
                  <a:cubicBezTo>
                    <a:pt x="604829" y="283909"/>
                    <a:pt x="607549" y="294788"/>
                    <a:pt x="607549" y="308386"/>
                  </a:cubicBezTo>
                  <a:cubicBezTo>
                    <a:pt x="607549" y="311106"/>
                    <a:pt x="607549" y="316545"/>
                    <a:pt x="607549" y="319265"/>
                  </a:cubicBezTo>
                  <a:cubicBezTo>
                    <a:pt x="607549" y="324704"/>
                    <a:pt x="610269" y="330144"/>
                    <a:pt x="612988" y="335583"/>
                  </a:cubicBezTo>
                  <a:cubicBezTo>
                    <a:pt x="612988" y="338303"/>
                    <a:pt x="612988" y="343742"/>
                    <a:pt x="612988" y="346462"/>
                  </a:cubicBezTo>
                  <a:cubicBezTo>
                    <a:pt x="612988" y="354620"/>
                    <a:pt x="612988" y="362779"/>
                    <a:pt x="612988" y="370939"/>
                  </a:cubicBezTo>
                  <a:cubicBezTo>
                    <a:pt x="612988" y="379097"/>
                    <a:pt x="612988" y="387256"/>
                    <a:pt x="612988" y="395415"/>
                  </a:cubicBezTo>
                  <a:cubicBezTo>
                    <a:pt x="612988" y="403574"/>
                    <a:pt x="615708" y="414453"/>
                    <a:pt x="615708" y="422612"/>
                  </a:cubicBezTo>
                  <a:cubicBezTo>
                    <a:pt x="618428" y="430771"/>
                    <a:pt x="618428" y="436210"/>
                    <a:pt x="618428" y="441650"/>
                  </a:cubicBezTo>
                  <a:cubicBezTo>
                    <a:pt x="618428" y="444369"/>
                    <a:pt x="618428" y="449808"/>
                    <a:pt x="618428" y="455248"/>
                  </a:cubicBezTo>
                  <a:cubicBezTo>
                    <a:pt x="618428" y="460687"/>
                    <a:pt x="618428" y="460687"/>
                    <a:pt x="621147" y="463407"/>
                  </a:cubicBezTo>
                  <a:cubicBezTo>
                    <a:pt x="623867" y="471566"/>
                    <a:pt x="623867" y="477005"/>
                    <a:pt x="626587" y="482444"/>
                  </a:cubicBezTo>
                  <a:cubicBezTo>
                    <a:pt x="629307" y="493323"/>
                    <a:pt x="629307" y="506921"/>
                    <a:pt x="629307" y="517800"/>
                  </a:cubicBezTo>
                  <a:cubicBezTo>
                    <a:pt x="632026" y="534118"/>
                    <a:pt x="632026" y="547716"/>
                    <a:pt x="634746" y="561314"/>
                  </a:cubicBezTo>
                  <a:cubicBezTo>
                    <a:pt x="634746" y="564034"/>
                    <a:pt x="634746" y="564034"/>
                    <a:pt x="634746" y="566754"/>
                  </a:cubicBezTo>
                  <a:cubicBezTo>
                    <a:pt x="634746" y="572193"/>
                    <a:pt x="634746" y="577632"/>
                    <a:pt x="634746" y="583072"/>
                  </a:cubicBezTo>
                  <a:cubicBezTo>
                    <a:pt x="634746" y="596670"/>
                    <a:pt x="637466" y="602109"/>
                    <a:pt x="637466" y="607548"/>
                  </a:cubicBezTo>
                  <a:cubicBezTo>
                    <a:pt x="637466" y="610268"/>
                    <a:pt x="640185" y="615708"/>
                    <a:pt x="640185" y="618427"/>
                  </a:cubicBezTo>
                  <a:cubicBezTo>
                    <a:pt x="640185" y="623866"/>
                    <a:pt x="640185" y="629306"/>
                    <a:pt x="640185" y="632025"/>
                  </a:cubicBezTo>
                  <a:cubicBezTo>
                    <a:pt x="640185" y="634745"/>
                    <a:pt x="640185" y="637465"/>
                    <a:pt x="640185" y="640184"/>
                  </a:cubicBezTo>
                  <a:cubicBezTo>
                    <a:pt x="640185" y="645624"/>
                    <a:pt x="642905" y="653783"/>
                    <a:pt x="642905" y="659222"/>
                  </a:cubicBezTo>
                  <a:cubicBezTo>
                    <a:pt x="642905" y="661942"/>
                    <a:pt x="642905" y="661942"/>
                    <a:pt x="642905" y="664661"/>
                  </a:cubicBezTo>
                  <a:cubicBezTo>
                    <a:pt x="645624" y="678259"/>
                    <a:pt x="651064" y="678259"/>
                    <a:pt x="653783" y="678259"/>
                  </a:cubicBezTo>
                  <a:lnTo>
                    <a:pt x="653783" y="67825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21C17497-81A0-4FD0-9BEB-3D32B47739B3}"/>
                </a:ext>
              </a:extLst>
            </p:cNvPr>
            <p:cNvSpPr/>
            <p:nvPr/>
          </p:nvSpPr>
          <p:spPr>
            <a:xfrm>
              <a:off x="6362526" y="4242177"/>
              <a:ext cx="492259" cy="674476"/>
            </a:xfrm>
            <a:custGeom>
              <a:avLst/>
              <a:gdLst>
                <a:gd name="connsiteX0" fmla="*/ 225733 w 492259"/>
                <a:gd name="connsiteY0" fmla="*/ 97907 h 674476"/>
                <a:gd name="connsiteX1" fmla="*/ 209415 w 492259"/>
                <a:gd name="connsiteY1" fmla="*/ 119665 h 674476"/>
                <a:gd name="connsiteX2" fmla="*/ 201256 w 492259"/>
                <a:gd name="connsiteY2" fmla="*/ 152300 h 674476"/>
                <a:gd name="connsiteX3" fmla="*/ 198536 w 492259"/>
                <a:gd name="connsiteY3" fmla="*/ 168618 h 674476"/>
                <a:gd name="connsiteX4" fmla="*/ 195817 w 492259"/>
                <a:gd name="connsiteY4" fmla="*/ 184936 h 674476"/>
                <a:gd name="connsiteX5" fmla="*/ 187658 w 492259"/>
                <a:gd name="connsiteY5" fmla="*/ 220292 h 674476"/>
                <a:gd name="connsiteX6" fmla="*/ 168620 w 492259"/>
                <a:gd name="connsiteY6" fmla="*/ 291003 h 674476"/>
                <a:gd name="connsiteX7" fmla="*/ 160461 w 492259"/>
                <a:gd name="connsiteY7" fmla="*/ 323639 h 674476"/>
                <a:gd name="connsiteX8" fmla="*/ 149582 w 492259"/>
                <a:gd name="connsiteY8" fmla="*/ 361714 h 674476"/>
                <a:gd name="connsiteX9" fmla="*/ 144143 w 492259"/>
                <a:gd name="connsiteY9" fmla="*/ 388910 h 674476"/>
                <a:gd name="connsiteX10" fmla="*/ 149582 w 492259"/>
                <a:gd name="connsiteY10" fmla="*/ 391630 h 674476"/>
                <a:gd name="connsiteX11" fmla="*/ 171340 w 492259"/>
                <a:gd name="connsiteY11" fmla="*/ 391630 h 674476"/>
                <a:gd name="connsiteX12" fmla="*/ 193097 w 492259"/>
                <a:gd name="connsiteY12" fmla="*/ 388910 h 674476"/>
                <a:gd name="connsiteX13" fmla="*/ 212135 w 492259"/>
                <a:gd name="connsiteY13" fmla="*/ 388910 h 674476"/>
                <a:gd name="connsiteX14" fmla="*/ 236611 w 492259"/>
                <a:gd name="connsiteY14" fmla="*/ 388910 h 674476"/>
                <a:gd name="connsiteX15" fmla="*/ 250210 w 492259"/>
                <a:gd name="connsiteY15" fmla="*/ 386191 h 674476"/>
                <a:gd name="connsiteX16" fmla="*/ 258369 w 492259"/>
                <a:gd name="connsiteY16" fmla="*/ 386191 h 674476"/>
                <a:gd name="connsiteX17" fmla="*/ 255649 w 492259"/>
                <a:gd name="connsiteY17" fmla="*/ 367153 h 674476"/>
                <a:gd name="connsiteX18" fmla="*/ 250210 w 492259"/>
                <a:gd name="connsiteY18" fmla="*/ 331797 h 674476"/>
                <a:gd name="connsiteX19" fmla="*/ 247490 w 492259"/>
                <a:gd name="connsiteY19" fmla="*/ 244769 h 674476"/>
                <a:gd name="connsiteX20" fmla="*/ 242051 w 492259"/>
                <a:gd name="connsiteY20" fmla="*/ 203974 h 674476"/>
                <a:gd name="connsiteX21" fmla="*/ 236611 w 492259"/>
                <a:gd name="connsiteY21" fmla="*/ 157740 h 674476"/>
                <a:gd name="connsiteX22" fmla="*/ 233892 w 492259"/>
                <a:gd name="connsiteY22" fmla="*/ 119665 h 674476"/>
                <a:gd name="connsiteX23" fmla="*/ 225733 w 492259"/>
                <a:gd name="connsiteY23" fmla="*/ 97907 h 674476"/>
                <a:gd name="connsiteX24" fmla="*/ 274687 w 492259"/>
                <a:gd name="connsiteY24" fmla="*/ 0 h 674476"/>
                <a:gd name="connsiteX25" fmla="*/ 304603 w 492259"/>
                <a:gd name="connsiteY25" fmla="*/ 5439 h 674476"/>
                <a:gd name="connsiteX26" fmla="*/ 320921 w 492259"/>
                <a:gd name="connsiteY26" fmla="*/ 24477 h 674476"/>
                <a:gd name="connsiteX27" fmla="*/ 334519 w 492259"/>
                <a:gd name="connsiteY27" fmla="*/ 43515 h 674476"/>
                <a:gd name="connsiteX28" fmla="*/ 339959 w 492259"/>
                <a:gd name="connsiteY28" fmla="*/ 65272 h 674476"/>
                <a:gd name="connsiteX29" fmla="*/ 348118 w 492259"/>
                <a:gd name="connsiteY29" fmla="*/ 114226 h 674476"/>
                <a:gd name="connsiteX30" fmla="*/ 361716 w 492259"/>
                <a:gd name="connsiteY30" fmla="*/ 163180 h 674476"/>
                <a:gd name="connsiteX31" fmla="*/ 369875 w 492259"/>
                <a:gd name="connsiteY31" fmla="*/ 220293 h 674476"/>
                <a:gd name="connsiteX32" fmla="*/ 378034 w 492259"/>
                <a:gd name="connsiteY32" fmla="*/ 274686 h 674476"/>
                <a:gd name="connsiteX33" fmla="*/ 383473 w 492259"/>
                <a:gd name="connsiteY33" fmla="*/ 301883 h 674476"/>
                <a:gd name="connsiteX34" fmla="*/ 391632 w 492259"/>
                <a:gd name="connsiteY34" fmla="*/ 337238 h 674476"/>
                <a:gd name="connsiteX35" fmla="*/ 397071 w 492259"/>
                <a:gd name="connsiteY35" fmla="*/ 364435 h 674476"/>
                <a:gd name="connsiteX36" fmla="*/ 405230 w 492259"/>
                <a:gd name="connsiteY36" fmla="*/ 383473 h 674476"/>
                <a:gd name="connsiteX37" fmla="*/ 416109 w 492259"/>
                <a:gd name="connsiteY37" fmla="*/ 386192 h 674476"/>
                <a:gd name="connsiteX38" fmla="*/ 426988 w 492259"/>
                <a:gd name="connsiteY38" fmla="*/ 386192 h 674476"/>
                <a:gd name="connsiteX39" fmla="*/ 454184 w 492259"/>
                <a:gd name="connsiteY39" fmla="*/ 397071 h 674476"/>
                <a:gd name="connsiteX40" fmla="*/ 456904 w 492259"/>
                <a:gd name="connsiteY40" fmla="*/ 405230 h 674476"/>
                <a:gd name="connsiteX41" fmla="*/ 451464 w 492259"/>
                <a:gd name="connsiteY41" fmla="*/ 416108 h 674476"/>
                <a:gd name="connsiteX42" fmla="*/ 432427 w 492259"/>
                <a:gd name="connsiteY42" fmla="*/ 429707 h 674476"/>
                <a:gd name="connsiteX43" fmla="*/ 421548 w 492259"/>
                <a:gd name="connsiteY43" fmla="*/ 432426 h 674476"/>
                <a:gd name="connsiteX44" fmla="*/ 413389 w 492259"/>
                <a:gd name="connsiteY44" fmla="*/ 435146 h 674476"/>
                <a:gd name="connsiteX45" fmla="*/ 413389 w 492259"/>
                <a:gd name="connsiteY45" fmla="*/ 440585 h 674476"/>
                <a:gd name="connsiteX46" fmla="*/ 416109 w 492259"/>
                <a:gd name="connsiteY46" fmla="*/ 451464 h 674476"/>
                <a:gd name="connsiteX47" fmla="*/ 418829 w 492259"/>
                <a:gd name="connsiteY47" fmla="*/ 465062 h 674476"/>
                <a:gd name="connsiteX48" fmla="*/ 418829 w 492259"/>
                <a:gd name="connsiteY48" fmla="*/ 475941 h 674476"/>
                <a:gd name="connsiteX49" fmla="*/ 418829 w 492259"/>
                <a:gd name="connsiteY49" fmla="*/ 486820 h 674476"/>
                <a:gd name="connsiteX50" fmla="*/ 426988 w 492259"/>
                <a:gd name="connsiteY50" fmla="*/ 516736 h 674476"/>
                <a:gd name="connsiteX51" fmla="*/ 432427 w 492259"/>
                <a:gd name="connsiteY51" fmla="*/ 543932 h 674476"/>
                <a:gd name="connsiteX52" fmla="*/ 437866 w 492259"/>
                <a:gd name="connsiteY52" fmla="*/ 573848 h 674476"/>
                <a:gd name="connsiteX53" fmla="*/ 443306 w 492259"/>
                <a:gd name="connsiteY53" fmla="*/ 606484 h 674476"/>
                <a:gd name="connsiteX54" fmla="*/ 446025 w 492259"/>
                <a:gd name="connsiteY54" fmla="*/ 617363 h 674476"/>
                <a:gd name="connsiteX55" fmla="*/ 470502 w 492259"/>
                <a:gd name="connsiteY55" fmla="*/ 617363 h 674476"/>
                <a:gd name="connsiteX56" fmla="*/ 492259 w 492259"/>
                <a:gd name="connsiteY56" fmla="*/ 641840 h 674476"/>
                <a:gd name="connsiteX57" fmla="*/ 484101 w 492259"/>
                <a:gd name="connsiteY57" fmla="*/ 655438 h 674476"/>
                <a:gd name="connsiteX58" fmla="*/ 467782 w 492259"/>
                <a:gd name="connsiteY58" fmla="*/ 663597 h 674476"/>
                <a:gd name="connsiteX59" fmla="*/ 443306 w 492259"/>
                <a:gd name="connsiteY59" fmla="*/ 666317 h 674476"/>
                <a:gd name="connsiteX60" fmla="*/ 421548 w 492259"/>
                <a:gd name="connsiteY60" fmla="*/ 666317 h 674476"/>
                <a:gd name="connsiteX61" fmla="*/ 413389 w 492259"/>
                <a:gd name="connsiteY61" fmla="*/ 666317 h 674476"/>
                <a:gd name="connsiteX62" fmla="*/ 399791 w 492259"/>
                <a:gd name="connsiteY62" fmla="*/ 671756 h 674476"/>
                <a:gd name="connsiteX63" fmla="*/ 383473 w 492259"/>
                <a:gd name="connsiteY63" fmla="*/ 674476 h 674476"/>
                <a:gd name="connsiteX64" fmla="*/ 348118 w 492259"/>
                <a:gd name="connsiteY64" fmla="*/ 669036 h 674476"/>
                <a:gd name="connsiteX65" fmla="*/ 326360 w 492259"/>
                <a:gd name="connsiteY65" fmla="*/ 669036 h 674476"/>
                <a:gd name="connsiteX66" fmla="*/ 277406 w 492259"/>
                <a:gd name="connsiteY66" fmla="*/ 669036 h 674476"/>
                <a:gd name="connsiteX67" fmla="*/ 252930 w 492259"/>
                <a:gd name="connsiteY67" fmla="*/ 663597 h 674476"/>
                <a:gd name="connsiteX68" fmla="*/ 236611 w 492259"/>
                <a:gd name="connsiteY68" fmla="*/ 647279 h 674476"/>
                <a:gd name="connsiteX69" fmla="*/ 261088 w 492259"/>
                <a:gd name="connsiteY69" fmla="*/ 630961 h 674476"/>
                <a:gd name="connsiteX70" fmla="*/ 288285 w 492259"/>
                <a:gd name="connsiteY70" fmla="*/ 628241 h 674476"/>
                <a:gd name="connsiteX71" fmla="*/ 285565 w 492259"/>
                <a:gd name="connsiteY71" fmla="*/ 609204 h 674476"/>
                <a:gd name="connsiteX72" fmla="*/ 282846 w 492259"/>
                <a:gd name="connsiteY72" fmla="*/ 582007 h 674476"/>
                <a:gd name="connsiteX73" fmla="*/ 280126 w 492259"/>
                <a:gd name="connsiteY73" fmla="*/ 568409 h 674476"/>
                <a:gd name="connsiteX74" fmla="*/ 282846 w 492259"/>
                <a:gd name="connsiteY74" fmla="*/ 554811 h 674476"/>
                <a:gd name="connsiteX75" fmla="*/ 277406 w 492259"/>
                <a:gd name="connsiteY75" fmla="*/ 538493 h 674476"/>
                <a:gd name="connsiteX76" fmla="*/ 271967 w 492259"/>
                <a:gd name="connsiteY76" fmla="*/ 505857 h 674476"/>
                <a:gd name="connsiteX77" fmla="*/ 269247 w 492259"/>
                <a:gd name="connsiteY77" fmla="*/ 478660 h 674476"/>
                <a:gd name="connsiteX78" fmla="*/ 266528 w 492259"/>
                <a:gd name="connsiteY78" fmla="*/ 446025 h 674476"/>
                <a:gd name="connsiteX79" fmla="*/ 261088 w 492259"/>
                <a:gd name="connsiteY79" fmla="*/ 437866 h 674476"/>
                <a:gd name="connsiteX80" fmla="*/ 250210 w 492259"/>
                <a:gd name="connsiteY80" fmla="*/ 437866 h 674476"/>
                <a:gd name="connsiteX81" fmla="*/ 220293 w 492259"/>
                <a:gd name="connsiteY81" fmla="*/ 440585 h 674476"/>
                <a:gd name="connsiteX82" fmla="*/ 190377 w 492259"/>
                <a:gd name="connsiteY82" fmla="*/ 443305 h 674476"/>
                <a:gd name="connsiteX83" fmla="*/ 165900 w 492259"/>
                <a:gd name="connsiteY83" fmla="*/ 443305 h 674476"/>
                <a:gd name="connsiteX84" fmla="*/ 144143 w 492259"/>
                <a:gd name="connsiteY84" fmla="*/ 440585 h 674476"/>
                <a:gd name="connsiteX85" fmla="*/ 135984 w 492259"/>
                <a:gd name="connsiteY85" fmla="*/ 454184 h 674476"/>
                <a:gd name="connsiteX86" fmla="*/ 130545 w 492259"/>
                <a:gd name="connsiteY86" fmla="*/ 486820 h 674476"/>
                <a:gd name="connsiteX87" fmla="*/ 119666 w 492259"/>
                <a:gd name="connsiteY87" fmla="*/ 541213 h 674476"/>
                <a:gd name="connsiteX88" fmla="*/ 103348 w 492259"/>
                <a:gd name="connsiteY88" fmla="*/ 614643 h 674476"/>
                <a:gd name="connsiteX89" fmla="*/ 133264 w 492259"/>
                <a:gd name="connsiteY89" fmla="*/ 614643 h 674476"/>
                <a:gd name="connsiteX90" fmla="*/ 168620 w 492259"/>
                <a:gd name="connsiteY90" fmla="*/ 630961 h 674476"/>
                <a:gd name="connsiteX91" fmla="*/ 163181 w 492259"/>
                <a:gd name="connsiteY91" fmla="*/ 647279 h 674476"/>
                <a:gd name="connsiteX92" fmla="*/ 146863 w 492259"/>
                <a:gd name="connsiteY92" fmla="*/ 655438 h 674476"/>
                <a:gd name="connsiteX93" fmla="*/ 127825 w 492259"/>
                <a:gd name="connsiteY93" fmla="*/ 658158 h 674476"/>
                <a:gd name="connsiteX94" fmla="*/ 106068 w 492259"/>
                <a:gd name="connsiteY94" fmla="*/ 658158 h 674476"/>
                <a:gd name="connsiteX95" fmla="*/ 62552 w 492259"/>
                <a:gd name="connsiteY95" fmla="*/ 658158 h 674476"/>
                <a:gd name="connsiteX96" fmla="*/ 40795 w 492259"/>
                <a:gd name="connsiteY96" fmla="*/ 658158 h 674476"/>
                <a:gd name="connsiteX97" fmla="*/ 16318 w 492259"/>
                <a:gd name="connsiteY97" fmla="*/ 652718 h 674476"/>
                <a:gd name="connsiteX98" fmla="*/ 0 w 492259"/>
                <a:gd name="connsiteY98" fmla="*/ 636401 h 674476"/>
                <a:gd name="connsiteX99" fmla="*/ 2720 w 492259"/>
                <a:gd name="connsiteY99" fmla="*/ 628241 h 674476"/>
                <a:gd name="connsiteX100" fmla="*/ 24477 w 492259"/>
                <a:gd name="connsiteY100" fmla="*/ 620082 h 674476"/>
                <a:gd name="connsiteX101" fmla="*/ 62552 w 492259"/>
                <a:gd name="connsiteY101" fmla="*/ 617363 h 674476"/>
                <a:gd name="connsiteX102" fmla="*/ 62552 w 492259"/>
                <a:gd name="connsiteY102" fmla="*/ 614643 h 674476"/>
                <a:gd name="connsiteX103" fmla="*/ 65272 w 492259"/>
                <a:gd name="connsiteY103" fmla="*/ 587447 h 674476"/>
                <a:gd name="connsiteX104" fmla="*/ 76151 w 492259"/>
                <a:gd name="connsiteY104" fmla="*/ 522175 h 674476"/>
                <a:gd name="connsiteX105" fmla="*/ 87029 w 492259"/>
                <a:gd name="connsiteY105" fmla="*/ 470501 h 674476"/>
                <a:gd name="connsiteX106" fmla="*/ 92468 w 492259"/>
                <a:gd name="connsiteY106" fmla="*/ 446025 h 674476"/>
                <a:gd name="connsiteX107" fmla="*/ 65272 w 492259"/>
                <a:gd name="connsiteY107" fmla="*/ 432426 h 674476"/>
                <a:gd name="connsiteX108" fmla="*/ 54393 w 492259"/>
                <a:gd name="connsiteY108" fmla="*/ 421548 h 674476"/>
                <a:gd name="connsiteX109" fmla="*/ 73431 w 492259"/>
                <a:gd name="connsiteY109" fmla="*/ 407949 h 674476"/>
                <a:gd name="connsiteX110" fmla="*/ 100629 w 492259"/>
                <a:gd name="connsiteY110" fmla="*/ 399790 h 674476"/>
                <a:gd name="connsiteX111" fmla="*/ 108788 w 492259"/>
                <a:gd name="connsiteY111" fmla="*/ 369874 h 674476"/>
                <a:gd name="connsiteX112" fmla="*/ 125105 w 492259"/>
                <a:gd name="connsiteY112" fmla="*/ 307322 h 674476"/>
                <a:gd name="connsiteX113" fmla="*/ 141423 w 492259"/>
                <a:gd name="connsiteY113" fmla="*/ 242051 h 674476"/>
                <a:gd name="connsiteX114" fmla="*/ 155022 w 492259"/>
                <a:gd name="connsiteY114" fmla="*/ 179498 h 674476"/>
                <a:gd name="connsiteX115" fmla="*/ 168620 w 492259"/>
                <a:gd name="connsiteY115" fmla="*/ 119665 h 674476"/>
                <a:gd name="connsiteX116" fmla="*/ 193097 w 492259"/>
                <a:gd name="connsiteY116" fmla="*/ 57113 h 674476"/>
                <a:gd name="connsiteX117" fmla="*/ 201256 w 492259"/>
                <a:gd name="connsiteY117" fmla="*/ 38075 h 674476"/>
                <a:gd name="connsiteX118" fmla="*/ 217574 w 492259"/>
                <a:gd name="connsiteY118" fmla="*/ 13598 h 674476"/>
                <a:gd name="connsiteX119" fmla="*/ 274687 w 492259"/>
                <a:gd name="connsiteY119" fmla="*/ 0 h 674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492259" h="674476">
                  <a:moveTo>
                    <a:pt x="225733" y="97907"/>
                  </a:moveTo>
                  <a:cubicBezTo>
                    <a:pt x="217574" y="97907"/>
                    <a:pt x="209415" y="114225"/>
                    <a:pt x="209415" y="119665"/>
                  </a:cubicBezTo>
                  <a:cubicBezTo>
                    <a:pt x="206695" y="130543"/>
                    <a:pt x="203976" y="144141"/>
                    <a:pt x="201256" y="152300"/>
                  </a:cubicBezTo>
                  <a:cubicBezTo>
                    <a:pt x="198536" y="157740"/>
                    <a:pt x="198536" y="163179"/>
                    <a:pt x="198536" y="168618"/>
                  </a:cubicBezTo>
                  <a:cubicBezTo>
                    <a:pt x="198536" y="174058"/>
                    <a:pt x="195817" y="179497"/>
                    <a:pt x="195817" y="184936"/>
                  </a:cubicBezTo>
                  <a:cubicBezTo>
                    <a:pt x="193097" y="195815"/>
                    <a:pt x="190377" y="209413"/>
                    <a:pt x="187658" y="220292"/>
                  </a:cubicBezTo>
                  <a:cubicBezTo>
                    <a:pt x="184938" y="244769"/>
                    <a:pt x="176779" y="269246"/>
                    <a:pt x="168620" y="291003"/>
                  </a:cubicBezTo>
                  <a:cubicBezTo>
                    <a:pt x="165900" y="301881"/>
                    <a:pt x="163181" y="312760"/>
                    <a:pt x="160461" y="323639"/>
                  </a:cubicBezTo>
                  <a:cubicBezTo>
                    <a:pt x="157742" y="337237"/>
                    <a:pt x="155022" y="348115"/>
                    <a:pt x="149582" y="361714"/>
                  </a:cubicBezTo>
                  <a:cubicBezTo>
                    <a:pt x="146863" y="367153"/>
                    <a:pt x="144143" y="383471"/>
                    <a:pt x="144143" y="388910"/>
                  </a:cubicBezTo>
                  <a:cubicBezTo>
                    <a:pt x="144143" y="391630"/>
                    <a:pt x="146863" y="391630"/>
                    <a:pt x="149582" y="391630"/>
                  </a:cubicBezTo>
                  <a:cubicBezTo>
                    <a:pt x="155022" y="391630"/>
                    <a:pt x="168620" y="391630"/>
                    <a:pt x="171340" y="391630"/>
                  </a:cubicBezTo>
                  <a:cubicBezTo>
                    <a:pt x="179498" y="391630"/>
                    <a:pt x="187658" y="391630"/>
                    <a:pt x="193097" y="388910"/>
                  </a:cubicBezTo>
                  <a:cubicBezTo>
                    <a:pt x="198536" y="388910"/>
                    <a:pt x="203976" y="388910"/>
                    <a:pt x="212135" y="388910"/>
                  </a:cubicBezTo>
                  <a:cubicBezTo>
                    <a:pt x="217574" y="388910"/>
                    <a:pt x="225733" y="388910"/>
                    <a:pt x="236611" y="388910"/>
                  </a:cubicBezTo>
                  <a:cubicBezTo>
                    <a:pt x="242051" y="388910"/>
                    <a:pt x="247490" y="388910"/>
                    <a:pt x="250210" y="386191"/>
                  </a:cubicBezTo>
                  <a:cubicBezTo>
                    <a:pt x="255649" y="391630"/>
                    <a:pt x="258369" y="388910"/>
                    <a:pt x="258369" y="386191"/>
                  </a:cubicBezTo>
                  <a:cubicBezTo>
                    <a:pt x="258369" y="380751"/>
                    <a:pt x="255649" y="372592"/>
                    <a:pt x="255649" y="367153"/>
                  </a:cubicBezTo>
                  <a:cubicBezTo>
                    <a:pt x="252930" y="353555"/>
                    <a:pt x="250210" y="342676"/>
                    <a:pt x="250210" y="331797"/>
                  </a:cubicBezTo>
                  <a:cubicBezTo>
                    <a:pt x="250210" y="301881"/>
                    <a:pt x="250210" y="274685"/>
                    <a:pt x="247490" y="244769"/>
                  </a:cubicBezTo>
                  <a:cubicBezTo>
                    <a:pt x="247490" y="231170"/>
                    <a:pt x="244771" y="217572"/>
                    <a:pt x="242051" y="203974"/>
                  </a:cubicBezTo>
                  <a:cubicBezTo>
                    <a:pt x="239331" y="187656"/>
                    <a:pt x="236611" y="174058"/>
                    <a:pt x="236611" y="157740"/>
                  </a:cubicBezTo>
                  <a:cubicBezTo>
                    <a:pt x="236611" y="152300"/>
                    <a:pt x="236611" y="133263"/>
                    <a:pt x="233892" y="119665"/>
                  </a:cubicBezTo>
                  <a:cubicBezTo>
                    <a:pt x="233892" y="106066"/>
                    <a:pt x="231172" y="97907"/>
                    <a:pt x="225733" y="97907"/>
                  </a:cubicBezTo>
                  <a:close/>
                  <a:moveTo>
                    <a:pt x="274687" y="0"/>
                  </a:moveTo>
                  <a:cubicBezTo>
                    <a:pt x="288285" y="0"/>
                    <a:pt x="293724" y="2720"/>
                    <a:pt x="304603" y="5439"/>
                  </a:cubicBezTo>
                  <a:cubicBezTo>
                    <a:pt x="315481" y="10879"/>
                    <a:pt x="315481" y="16318"/>
                    <a:pt x="320921" y="24477"/>
                  </a:cubicBezTo>
                  <a:cubicBezTo>
                    <a:pt x="326360" y="29916"/>
                    <a:pt x="331800" y="35356"/>
                    <a:pt x="334519" y="43515"/>
                  </a:cubicBezTo>
                  <a:cubicBezTo>
                    <a:pt x="337239" y="51674"/>
                    <a:pt x="337239" y="57113"/>
                    <a:pt x="339959" y="65272"/>
                  </a:cubicBezTo>
                  <a:cubicBezTo>
                    <a:pt x="345398" y="78870"/>
                    <a:pt x="342678" y="97908"/>
                    <a:pt x="348118" y="114226"/>
                  </a:cubicBezTo>
                  <a:cubicBezTo>
                    <a:pt x="350837" y="130544"/>
                    <a:pt x="358996" y="146863"/>
                    <a:pt x="361716" y="163180"/>
                  </a:cubicBezTo>
                  <a:cubicBezTo>
                    <a:pt x="364435" y="182218"/>
                    <a:pt x="364435" y="201256"/>
                    <a:pt x="369875" y="220293"/>
                  </a:cubicBezTo>
                  <a:cubicBezTo>
                    <a:pt x="375314" y="239331"/>
                    <a:pt x="378034" y="255649"/>
                    <a:pt x="378034" y="274686"/>
                  </a:cubicBezTo>
                  <a:cubicBezTo>
                    <a:pt x="378034" y="282845"/>
                    <a:pt x="380753" y="293724"/>
                    <a:pt x="383473" y="301883"/>
                  </a:cubicBezTo>
                  <a:cubicBezTo>
                    <a:pt x="386193" y="312762"/>
                    <a:pt x="388913" y="326360"/>
                    <a:pt x="391632" y="337238"/>
                  </a:cubicBezTo>
                  <a:cubicBezTo>
                    <a:pt x="391632" y="342678"/>
                    <a:pt x="394352" y="353556"/>
                    <a:pt x="397071" y="364435"/>
                  </a:cubicBezTo>
                  <a:cubicBezTo>
                    <a:pt x="399791" y="372594"/>
                    <a:pt x="402511" y="380753"/>
                    <a:pt x="405230" y="383473"/>
                  </a:cubicBezTo>
                  <a:cubicBezTo>
                    <a:pt x="407950" y="386192"/>
                    <a:pt x="413389" y="386192"/>
                    <a:pt x="416109" y="386192"/>
                  </a:cubicBezTo>
                  <a:cubicBezTo>
                    <a:pt x="418829" y="386192"/>
                    <a:pt x="424268" y="386192"/>
                    <a:pt x="426988" y="386192"/>
                  </a:cubicBezTo>
                  <a:cubicBezTo>
                    <a:pt x="437866" y="386192"/>
                    <a:pt x="448745" y="388912"/>
                    <a:pt x="454184" y="397071"/>
                  </a:cubicBezTo>
                  <a:cubicBezTo>
                    <a:pt x="456904" y="399790"/>
                    <a:pt x="456904" y="402510"/>
                    <a:pt x="456904" y="405230"/>
                  </a:cubicBezTo>
                  <a:cubicBezTo>
                    <a:pt x="456904" y="407949"/>
                    <a:pt x="454184" y="410669"/>
                    <a:pt x="451464" y="416108"/>
                  </a:cubicBezTo>
                  <a:cubicBezTo>
                    <a:pt x="446025" y="421548"/>
                    <a:pt x="440586" y="426987"/>
                    <a:pt x="432427" y="429707"/>
                  </a:cubicBezTo>
                  <a:cubicBezTo>
                    <a:pt x="429707" y="429707"/>
                    <a:pt x="426988" y="432426"/>
                    <a:pt x="421548" y="432426"/>
                  </a:cubicBezTo>
                  <a:cubicBezTo>
                    <a:pt x="418829" y="432426"/>
                    <a:pt x="416109" y="432426"/>
                    <a:pt x="413389" y="435146"/>
                  </a:cubicBezTo>
                  <a:cubicBezTo>
                    <a:pt x="413389" y="435146"/>
                    <a:pt x="413389" y="437866"/>
                    <a:pt x="413389" y="440585"/>
                  </a:cubicBezTo>
                  <a:cubicBezTo>
                    <a:pt x="413389" y="443305"/>
                    <a:pt x="413389" y="448744"/>
                    <a:pt x="416109" y="451464"/>
                  </a:cubicBezTo>
                  <a:cubicBezTo>
                    <a:pt x="416109" y="456903"/>
                    <a:pt x="418829" y="462343"/>
                    <a:pt x="418829" y="465062"/>
                  </a:cubicBezTo>
                  <a:lnTo>
                    <a:pt x="418829" y="475941"/>
                  </a:lnTo>
                  <a:cubicBezTo>
                    <a:pt x="418829" y="481380"/>
                    <a:pt x="418829" y="484100"/>
                    <a:pt x="418829" y="486820"/>
                  </a:cubicBezTo>
                  <a:cubicBezTo>
                    <a:pt x="421548" y="497698"/>
                    <a:pt x="424268" y="505857"/>
                    <a:pt x="426988" y="516736"/>
                  </a:cubicBezTo>
                  <a:cubicBezTo>
                    <a:pt x="426988" y="524895"/>
                    <a:pt x="429707" y="535773"/>
                    <a:pt x="432427" y="543932"/>
                  </a:cubicBezTo>
                  <a:cubicBezTo>
                    <a:pt x="435147" y="554811"/>
                    <a:pt x="437866" y="562970"/>
                    <a:pt x="437866" y="573848"/>
                  </a:cubicBezTo>
                  <a:cubicBezTo>
                    <a:pt x="437866" y="587447"/>
                    <a:pt x="440586" y="595606"/>
                    <a:pt x="443306" y="606484"/>
                  </a:cubicBezTo>
                  <a:cubicBezTo>
                    <a:pt x="443306" y="609204"/>
                    <a:pt x="446025" y="614643"/>
                    <a:pt x="446025" y="617363"/>
                  </a:cubicBezTo>
                  <a:cubicBezTo>
                    <a:pt x="454184" y="617363"/>
                    <a:pt x="462343" y="617363"/>
                    <a:pt x="470502" y="617363"/>
                  </a:cubicBezTo>
                  <a:cubicBezTo>
                    <a:pt x="475942" y="625522"/>
                    <a:pt x="492259" y="630961"/>
                    <a:pt x="492259" y="641840"/>
                  </a:cubicBezTo>
                  <a:cubicBezTo>
                    <a:pt x="492259" y="647279"/>
                    <a:pt x="486820" y="649999"/>
                    <a:pt x="484101" y="655438"/>
                  </a:cubicBezTo>
                  <a:cubicBezTo>
                    <a:pt x="481381" y="660877"/>
                    <a:pt x="473222" y="663597"/>
                    <a:pt x="467782" y="663597"/>
                  </a:cubicBezTo>
                  <a:cubicBezTo>
                    <a:pt x="456904" y="666317"/>
                    <a:pt x="451464" y="666317"/>
                    <a:pt x="443306" y="666317"/>
                  </a:cubicBezTo>
                  <a:cubicBezTo>
                    <a:pt x="437866" y="666317"/>
                    <a:pt x="429707" y="666317"/>
                    <a:pt x="421548" y="666317"/>
                  </a:cubicBezTo>
                  <a:cubicBezTo>
                    <a:pt x="418829" y="666317"/>
                    <a:pt x="416109" y="666317"/>
                    <a:pt x="413389" y="666317"/>
                  </a:cubicBezTo>
                  <a:cubicBezTo>
                    <a:pt x="407950" y="669036"/>
                    <a:pt x="405230" y="669036"/>
                    <a:pt x="399791" y="671756"/>
                  </a:cubicBezTo>
                  <a:cubicBezTo>
                    <a:pt x="394352" y="671756"/>
                    <a:pt x="388913" y="674476"/>
                    <a:pt x="383473" y="674476"/>
                  </a:cubicBezTo>
                  <a:cubicBezTo>
                    <a:pt x="372594" y="674476"/>
                    <a:pt x="358996" y="671756"/>
                    <a:pt x="348118" y="669036"/>
                  </a:cubicBezTo>
                  <a:cubicBezTo>
                    <a:pt x="339959" y="669036"/>
                    <a:pt x="331800" y="669036"/>
                    <a:pt x="326360" y="669036"/>
                  </a:cubicBezTo>
                  <a:cubicBezTo>
                    <a:pt x="304603" y="669036"/>
                    <a:pt x="285565" y="669036"/>
                    <a:pt x="277406" y="669036"/>
                  </a:cubicBezTo>
                  <a:cubicBezTo>
                    <a:pt x="269247" y="669036"/>
                    <a:pt x="258369" y="669036"/>
                    <a:pt x="252930" y="663597"/>
                  </a:cubicBezTo>
                  <a:cubicBezTo>
                    <a:pt x="247490" y="660877"/>
                    <a:pt x="236611" y="655438"/>
                    <a:pt x="236611" y="647279"/>
                  </a:cubicBezTo>
                  <a:cubicBezTo>
                    <a:pt x="236611" y="636401"/>
                    <a:pt x="252930" y="633681"/>
                    <a:pt x="261088" y="630961"/>
                  </a:cubicBezTo>
                  <a:cubicBezTo>
                    <a:pt x="266528" y="630961"/>
                    <a:pt x="274687" y="630961"/>
                    <a:pt x="288285" y="628241"/>
                  </a:cubicBezTo>
                  <a:cubicBezTo>
                    <a:pt x="288285" y="620082"/>
                    <a:pt x="288285" y="614643"/>
                    <a:pt x="285565" y="609204"/>
                  </a:cubicBezTo>
                  <a:cubicBezTo>
                    <a:pt x="285565" y="601045"/>
                    <a:pt x="282846" y="590166"/>
                    <a:pt x="282846" y="582007"/>
                  </a:cubicBezTo>
                  <a:cubicBezTo>
                    <a:pt x="282846" y="576568"/>
                    <a:pt x="280126" y="573848"/>
                    <a:pt x="280126" y="568409"/>
                  </a:cubicBezTo>
                  <a:cubicBezTo>
                    <a:pt x="280126" y="562970"/>
                    <a:pt x="282846" y="557531"/>
                    <a:pt x="282846" y="554811"/>
                  </a:cubicBezTo>
                  <a:cubicBezTo>
                    <a:pt x="282846" y="549371"/>
                    <a:pt x="280126" y="546652"/>
                    <a:pt x="277406" y="538493"/>
                  </a:cubicBezTo>
                  <a:cubicBezTo>
                    <a:pt x="277406" y="527614"/>
                    <a:pt x="271967" y="516736"/>
                    <a:pt x="271967" y="505857"/>
                  </a:cubicBezTo>
                  <a:cubicBezTo>
                    <a:pt x="271967" y="494978"/>
                    <a:pt x="271967" y="486820"/>
                    <a:pt x="269247" y="478660"/>
                  </a:cubicBezTo>
                  <a:cubicBezTo>
                    <a:pt x="266528" y="467782"/>
                    <a:pt x="266528" y="456903"/>
                    <a:pt x="266528" y="446025"/>
                  </a:cubicBezTo>
                  <a:cubicBezTo>
                    <a:pt x="266528" y="440585"/>
                    <a:pt x="263808" y="437866"/>
                    <a:pt x="261088" y="437866"/>
                  </a:cubicBezTo>
                  <a:cubicBezTo>
                    <a:pt x="258369" y="437866"/>
                    <a:pt x="255649" y="437866"/>
                    <a:pt x="250210" y="437866"/>
                  </a:cubicBezTo>
                  <a:cubicBezTo>
                    <a:pt x="239331" y="437866"/>
                    <a:pt x="228452" y="437866"/>
                    <a:pt x="220293" y="440585"/>
                  </a:cubicBezTo>
                  <a:cubicBezTo>
                    <a:pt x="209415" y="440585"/>
                    <a:pt x="201256" y="443305"/>
                    <a:pt x="190377" y="443305"/>
                  </a:cubicBezTo>
                  <a:cubicBezTo>
                    <a:pt x="182218" y="443305"/>
                    <a:pt x="174059" y="443305"/>
                    <a:pt x="165900" y="443305"/>
                  </a:cubicBezTo>
                  <a:cubicBezTo>
                    <a:pt x="163181" y="443305"/>
                    <a:pt x="152302" y="440585"/>
                    <a:pt x="144143" y="440585"/>
                  </a:cubicBezTo>
                  <a:cubicBezTo>
                    <a:pt x="135984" y="440585"/>
                    <a:pt x="135984" y="448744"/>
                    <a:pt x="135984" y="454184"/>
                  </a:cubicBezTo>
                  <a:cubicBezTo>
                    <a:pt x="135984" y="465062"/>
                    <a:pt x="133264" y="475941"/>
                    <a:pt x="130545" y="486820"/>
                  </a:cubicBezTo>
                  <a:cubicBezTo>
                    <a:pt x="127825" y="505857"/>
                    <a:pt x="122386" y="522175"/>
                    <a:pt x="119666" y="541213"/>
                  </a:cubicBezTo>
                  <a:cubicBezTo>
                    <a:pt x="116947" y="560250"/>
                    <a:pt x="108788" y="595606"/>
                    <a:pt x="103348" y="614643"/>
                  </a:cubicBezTo>
                  <a:cubicBezTo>
                    <a:pt x="111507" y="614643"/>
                    <a:pt x="122386" y="614643"/>
                    <a:pt x="133264" y="614643"/>
                  </a:cubicBezTo>
                  <a:cubicBezTo>
                    <a:pt x="146863" y="614643"/>
                    <a:pt x="168620" y="614643"/>
                    <a:pt x="168620" y="630961"/>
                  </a:cubicBezTo>
                  <a:cubicBezTo>
                    <a:pt x="168620" y="639120"/>
                    <a:pt x="165900" y="639120"/>
                    <a:pt x="163181" y="647279"/>
                  </a:cubicBezTo>
                  <a:cubicBezTo>
                    <a:pt x="160461" y="652718"/>
                    <a:pt x="152302" y="655438"/>
                    <a:pt x="146863" y="655438"/>
                  </a:cubicBezTo>
                  <a:cubicBezTo>
                    <a:pt x="138704" y="658158"/>
                    <a:pt x="133264" y="658158"/>
                    <a:pt x="127825" y="658158"/>
                  </a:cubicBezTo>
                  <a:cubicBezTo>
                    <a:pt x="122386" y="658158"/>
                    <a:pt x="116947" y="658158"/>
                    <a:pt x="106068" y="658158"/>
                  </a:cubicBezTo>
                  <a:cubicBezTo>
                    <a:pt x="92468" y="658158"/>
                    <a:pt x="78870" y="658158"/>
                    <a:pt x="62552" y="658158"/>
                  </a:cubicBezTo>
                  <a:cubicBezTo>
                    <a:pt x="54393" y="658158"/>
                    <a:pt x="46234" y="658158"/>
                    <a:pt x="40795" y="658158"/>
                  </a:cubicBezTo>
                  <a:cubicBezTo>
                    <a:pt x="32636" y="658158"/>
                    <a:pt x="21758" y="658158"/>
                    <a:pt x="16318" y="652718"/>
                  </a:cubicBezTo>
                  <a:cubicBezTo>
                    <a:pt x="8159" y="649999"/>
                    <a:pt x="0" y="641840"/>
                    <a:pt x="0" y="636401"/>
                  </a:cubicBezTo>
                  <a:cubicBezTo>
                    <a:pt x="0" y="633681"/>
                    <a:pt x="0" y="630961"/>
                    <a:pt x="2720" y="628241"/>
                  </a:cubicBezTo>
                  <a:cubicBezTo>
                    <a:pt x="8159" y="625522"/>
                    <a:pt x="16318" y="622802"/>
                    <a:pt x="24477" y="620082"/>
                  </a:cubicBezTo>
                  <a:cubicBezTo>
                    <a:pt x="38075" y="617363"/>
                    <a:pt x="48954" y="617363"/>
                    <a:pt x="62552" y="617363"/>
                  </a:cubicBezTo>
                  <a:cubicBezTo>
                    <a:pt x="62552" y="617363"/>
                    <a:pt x="62552" y="614643"/>
                    <a:pt x="62552" y="614643"/>
                  </a:cubicBezTo>
                  <a:cubicBezTo>
                    <a:pt x="62552" y="603765"/>
                    <a:pt x="65272" y="590166"/>
                    <a:pt x="65272" y="587447"/>
                  </a:cubicBezTo>
                  <a:cubicBezTo>
                    <a:pt x="67992" y="565689"/>
                    <a:pt x="73431" y="543932"/>
                    <a:pt x="76151" y="522175"/>
                  </a:cubicBezTo>
                  <a:cubicBezTo>
                    <a:pt x="78870" y="505857"/>
                    <a:pt x="81590" y="486820"/>
                    <a:pt x="87029" y="470501"/>
                  </a:cubicBezTo>
                  <a:cubicBezTo>
                    <a:pt x="87029" y="465062"/>
                    <a:pt x="92468" y="451464"/>
                    <a:pt x="92468" y="446025"/>
                  </a:cubicBezTo>
                  <a:cubicBezTo>
                    <a:pt x="92468" y="437866"/>
                    <a:pt x="73431" y="437866"/>
                    <a:pt x="65272" y="432426"/>
                  </a:cubicBezTo>
                  <a:cubicBezTo>
                    <a:pt x="59833" y="429707"/>
                    <a:pt x="54393" y="426987"/>
                    <a:pt x="54393" y="421548"/>
                  </a:cubicBezTo>
                  <a:cubicBezTo>
                    <a:pt x="54393" y="413389"/>
                    <a:pt x="62552" y="410669"/>
                    <a:pt x="73431" y="407949"/>
                  </a:cubicBezTo>
                  <a:cubicBezTo>
                    <a:pt x="78870" y="407949"/>
                    <a:pt x="92468" y="405230"/>
                    <a:pt x="100629" y="399790"/>
                  </a:cubicBezTo>
                  <a:cubicBezTo>
                    <a:pt x="106068" y="394351"/>
                    <a:pt x="106068" y="378033"/>
                    <a:pt x="108788" y="369874"/>
                  </a:cubicBezTo>
                  <a:cubicBezTo>
                    <a:pt x="114227" y="348117"/>
                    <a:pt x="119666" y="326360"/>
                    <a:pt x="125105" y="307322"/>
                  </a:cubicBezTo>
                  <a:cubicBezTo>
                    <a:pt x="130545" y="285565"/>
                    <a:pt x="135984" y="263808"/>
                    <a:pt x="141423" y="242051"/>
                  </a:cubicBezTo>
                  <a:cubicBezTo>
                    <a:pt x="146863" y="220293"/>
                    <a:pt x="152302" y="198536"/>
                    <a:pt x="155022" y="179498"/>
                  </a:cubicBezTo>
                  <a:cubicBezTo>
                    <a:pt x="157742" y="160461"/>
                    <a:pt x="163181" y="138703"/>
                    <a:pt x="168620" y="119665"/>
                  </a:cubicBezTo>
                  <a:cubicBezTo>
                    <a:pt x="176779" y="100627"/>
                    <a:pt x="182218" y="76150"/>
                    <a:pt x="193097" y="57113"/>
                  </a:cubicBezTo>
                  <a:lnTo>
                    <a:pt x="201256" y="38075"/>
                  </a:lnTo>
                  <a:cubicBezTo>
                    <a:pt x="206695" y="29916"/>
                    <a:pt x="209415" y="19038"/>
                    <a:pt x="217574" y="13598"/>
                  </a:cubicBezTo>
                  <a:cubicBezTo>
                    <a:pt x="231172" y="2720"/>
                    <a:pt x="255649" y="0"/>
                    <a:pt x="274687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5DC50316-A07C-4F98-A88F-9678B26F0223}"/>
                </a:ext>
              </a:extLst>
            </p:cNvPr>
            <p:cNvSpPr/>
            <p:nvPr/>
          </p:nvSpPr>
          <p:spPr>
            <a:xfrm>
              <a:off x="6876542" y="4244897"/>
              <a:ext cx="462342" cy="677195"/>
            </a:xfrm>
            <a:custGeom>
              <a:avLst/>
              <a:gdLst>
                <a:gd name="connsiteX0" fmla="*/ 214853 w 462342"/>
                <a:gd name="connsiteY0" fmla="*/ 65272 h 677195"/>
                <a:gd name="connsiteX1" fmla="*/ 195815 w 462342"/>
                <a:gd name="connsiteY1" fmla="*/ 73431 h 677195"/>
                <a:gd name="connsiteX2" fmla="*/ 193096 w 462342"/>
                <a:gd name="connsiteY2" fmla="*/ 125105 h 677195"/>
                <a:gd name="connsiteX3" fmla="*/ 190376 w 462342"/>
                <a:gd name="connsiteY3" fmla="*/ 280125 h 677195"/>
                <a:gd name="connsiteX4" fmla="*/ 190376 w 462342"/>
                <a:gd name="connsiteY4" fmla="*/ 301882 h 677195"/>
                <a:gd name="connsiteX5" fmla="*/ 193096 w 462342"/>
                <a:gd name="connsiteY5" fmla="*/ 342677 h 677195"/>
                <a:gd name="connsiteX6" fmla="*/ 195815 w 462342"/>
                <a:gd name="connsiteY6" fmla="*/ 397070 h 677195"/>
                <a:gd name="connsiteX7" fmla="*/ 195815 w 462342"/>
                <a:gd name="connsiteY7" fmla="*/ 443304 h 677195"/>
                <a:gd name="connsiteX8" fmla="*/ 195815 w 462342"/>
                <a:gd name="connsiteY8" fmla="*/ 530333 h 677195"/>
                <a:gd name="connsiteX9" fmla="*/ 193096 w 462342"/>
                <a:gd name="connsiteY9" fmla="*/ 554810 h 677195"/>
                <a:gd name="connsiteX10" fmla="*/ 190376 w 462342"/>
                <a:gd name="connsiteY10" fmla="*/ 603764 h 677195"/>
                <a:gd name="connsiteX11" fmla="*/ 198535 w 462342"/>
                <a:gd name="connsiteY11" fmla="*/ 611923 h 677195"/>
                <a:gd name="connsiteX12" fmla="*/ 214853 w 462342"/>
                <a:gd name="connsiteY12" fmla="*/ 611923 h 677195"/>
                <a:gd name="connsiteX13" fmla="*/ 236610 w 462342"/>
                <a:gd name="connsiteY13" fmla="*/ 611923 h 677195"/>
                <a:gd name="connsiteX14" fmla="*/ 263807 w 462342"/>
                <a:gd name="connsiteY14" fmla="*/ 598325 h 677195"/>
                <a:gd name="connsiteX15" fmla="*/ 277405 w 462342"/>
                <a:gd name="connsiteY15" fmla="*/ 592885 h 677195"/>
                <a:gd name="connsiteX16" fmla="*/ 291004 w 462342"/>
                <a:gd name="connsiteY16" fmla="*/ 573848 h 677195"/>
                <a:gd name="connsiteX17" fmla="*/ 307322 w 462342"/>
                <a:gd name="connsiteY17" fmla="*/ 543931 h 677195"/>
                <a:gd name="connsiteX18" fmla="*/ 326359 w 462342"/>
                <a:gd name="connsiteY18" fmla="*/ 481379 h 677195"/>
                <a:gd name="connsiteX19" fmla="*/ 337238 w 462342"/>
                <a:gd name="connsiteY19" fmla="*/ 413388 h 677195"/>
                <a:gd name="connsiteX20" fmla="*/ 337238 w 462342"/>
                <a:gd name="connsiteY20" fmla="*/ 350836 h 677195"/>
                <a:gd name="connsiteX21" fmla="*/ 334518 w 462342"/>
                <a:gd name="connsiteY21" fmla="*/ 296443 h 677195"/>
                <a:gd name="connsiteX22" fmla="*/ 329079 w 462342"/>
                <a:gd name="connsiteY22" fmla="*/ 244769 h 677195"/>
                <a:gd name="connsiteX23" fmla="*/ 307322 w 462342"/>
                <a:gd name="connsiteY23" fmla="*/ 135983 h 677195"/>
                <a:gd name="connsiteX24" fmla="*/ 271966 w 462342"/>
                <a:gd name="connsiteY24" fmla="*/ 78870 h 677195"/>
                <a:gd name="connsiteX25" fmla="*/ 214853 w 462342"/>
                <a:gd name="connsiteY25" fmla="*/ 65272 h 677195"/>
                <a:gd name="connsiteX26" fmla="*/ 114226 w 462342"/>
                <a:gd name="connsiteY26" fmla="*/ 0 h 677195"/>
                <a:gd name="connsiteX27" fmla="*/ 127824 w 462342"/>
                <a:gd name="connsiteY27" fmla="*/ 0 h 677195"/>
                <a:gd name="connsiteX28" fmla="*/ 146862 w 462342"/>
                <a:gd name="connsiteY28" fmla="*/ 2720 h 677195"/>
                <a:gd name="connsiteX29" fmla="*/ 174059 w 462342"/>
                <a:gd name="connsiteY29" fmla="*/ 21758 h 677195"/>
                <a:gd name="connsiteX30" fmla="*/ 193096 w 462342"/>
                <a:gd name="connsiteY30" fmla="*/ 21758 h 677195"/>
                <a:gd name="connsiteX31" fmla="*/ 261088 w 462342"/>
                <a:gd name="connsiteY31" fmla="*/ 27197 h 677195"/>
                <a:gd name="connsiteX32" fmla="*/ 310042 w 462342"/>
                <a:gd name="connsiteY32" fmla="*/ 35356 h 677195"/>
                <a:gd name="connsiteX33" fmla="*/ 334518 w 462342"/>
                <a:gd name="connsiteY33" fmla="*/ 40795 h 677195"/>
                <a:gd name="connsiteX34" fmla="*/ 356276 w 462342"/>
                <a:gd name="connsiteY34" fmla="*/ 59833 h 677195"/>
                <a:gd name="connsiteX35" fmla="*/ 372593 w 462342"/>
                <a:gd name="connsiteY35" fmla="*/ 76151 h 677195"/>
                <a:gd name="connsiteX36" fmla="*/ 380752 w 462342"/>
                <a:gd name="connsiteY36" fmla="*/ 95188 h 677195"/>
                <a:gd name="connsiteX37" fmla="*/ 405230 w 462342"/>
                <a:gd name="connsiteY37" fmla="*/ 114226 h 677195"/>
                <a:gd name="connsiteX38" fmla="*/ 416108 w 462342"/>
                <a:gd name="connsiteY38" fmla="*/ 141422 h 677195"/>
                <a:gd name="connsiteX39" fmla="*/ 451464 w 462342"/>
                <a:gd name="connsiteY39" fmla="*/ 201256 h 677195"/>
                <a:gd name="connsiteX40" fmla="*/ 456903 w 462342"/>
                <a:gd name="connsiteY40" fmla="*/ 252929 h 677195"/>
                <a:gd name="connsiteX41" fmla="*/ 456903 w 462342"/>
                <a:gd name="connsiteY41" fmla="*/ 291004 h 677195"/>
                <a:gd name="connsiteX42" fmla="*/ 459623 w 462342"/>
                <a:gd name="connsiteY42" fmla="*/ 318201 h 677195"/>
                <a:gd name="connsiteX43" fmla="*/ 459623 w 462342"/>
                <a:gd name="connsiteY43" fmla="*/ 326360 h 677195"/>
                <a:gd name="connsiteX44" fmla="*/ 459623 w 462342"/>
                <a:gd name="connsiteY44" fmla="*/ 348117 h 677195"/>
                <a:gd name="connsiteX45" fmla="*/ 462342 w 462342"/>
                <a:gd name="connsiteY45" fmla="*/ 367155 h 677195"/>
                <a:gd name="connsiteX46" fmla="*/ 456903 w 462342"/>
                <a:gd name="connsiteY46" fmla="*/ 391632 h 677195"/>
                <a:gd name="connsiteX47" fmla="*/ 456903 w 462342"/>
                <a:gd name="connsiteY47" fmla="*/ 418828 h 677195"/>
                <a:gd name="connsiteX48" fmla="*/ 451464 w 462342"/>
                <a:gd name="connsiteY48" fmla="*/ 437866 h 677195"/>
                <a:gd name="connsiteX49" fmla="*/ 446025 w 462342"/>
                <a:gd name="connsiteY49" fmla="*/ 454184 h 677195"/>
                <a:gd name="connsiteX50" fmla="*/ 440585 w 462342"/>
                <a:gd name="connsiteY50" fmla="*/ 481380 h 677195"/>
                <a:gd name="connsiteX51" fmla="*/ 432426 w 462342"/>
                <a:gd name="connsiteY51" fmla="*/ 508577 h 677195"/>
                <a:gd name="connsiteX52" fmla="*/ 418828 w 462342"/>
                <a:gd name="connsiteY52" fmla="*/ 530334 h 677195"/>
                <a:gd name="connsiteX53" fmla="*/ 410669 w 462342"/>
                <a:gd name="connsiteY53" fmla="*/ 549371 h 677195"/>
                <a:gd name="connsiteX54" fmla="*/ 391631 w 462342"/>
                <a:gd name="connsiteY54" fmla="*/ 579288 h 677195"/>
                <a:gd name="connsiteX55" fmla="*/ 337238 w 462342"/>
                <a:gd name="connsiteY55" fmla="*/ 630961 h 677195"/>
                <a:gd name="connsiteX56" fmla="*/ 301883 w 462342"/>
                <a:gd name="connsiteY56" fmla="*/ 647279 h 677195"/>
                <a:gd name="connsiteX57" fmla="*/ 263807 w 462342"/>
                <a:gd name="connsiteY57" fmla="*/ 652718 h 677195"/>
                <a:gd name="connsiteX58" fmla="*/ 233891 w 462342"/>
                <a:gd name="connsiteY58" fmla="*/ 649999 h 677195"/>
                <a:gd name="connsiteX59" fmla="*/ 187657 w 462342"/>
                <a:gd name="connsiteY59" fmla="*/ 652718 h 677195"/>
                <a:gd name="connsiteX60" fmla="*/ 171339 w 462342"/>
                <a:gd name="connsiteY60" fmla="*/ 669036 h 677195"/>
                <a:gd name="connsiteX61" fmla="*/ 155021 w 462342"/>
                <a:gd name="connsiteY61" fmla="*/ 671756 h 677195"/>
                <a:gd name="connsiteX62" fmla="*/ 138703 w 462342"/>
                <a:gd name="connsiteY62" fmla="*/ 674476 h 677195"/>
                <a:gd name="connsiteX63" fmla="*/ 125105 w 462342"/>
                <a:gd name="connsiteY63" fmla="*/ 677195 h 677195"/>
                <a:gd name="connsiteX64" fmla="*/ 106067 w 462342"/>
                <a:gd name="connsiteY64" fmla="*/ 671756 h 677195"/>
                <a:gd name="connsiteX65" fmla="*/ 87029 w 462342"/>
                <a:gd name="connsiteY65" fmla="*/ 658158 h 677195"/>
                <a:gd name="connsiteX66" fmla="*/ 81590 w 462342"/>
                <a:gd name="connsiteY66" fmla="*/ 652718 h 677195"/>
                <a:gd name="connsiteX67" fmla="*/ 67992 w 462342"/>
                <a:gd name="connsiteY67" fmla="*/ 652718 h 677195"/>
                <a:gd name="connsiteX68" fmla="*/ 43515 w 462342"/>
                <a:gd name="connsiteY68" fmla="*/ 652718 h 677195"/>
                <a:gd name="connsiteX69" fmla="*/ 16318 w 462342"/>
                <a:gd name="connsiteY69" fmla="*/ 647279 h 677195"/>
                <a:gd name="connsiteX70" fmla="*/ 0 w 462342"/>
                <a:gd name="connsiteY70" fmla="*/ 630961 h 677195"/>
                <a:gd name="connsiteX71" fmla="*/ 5439 w 462342"/>
                <a:gd name="connsiteY71" fmla="*/ 620083 h 677195"/>
                <a:gd name="connsiteX72" fmla="*/ 27197 w 462342"/>
                <a:gd name="connsiteY72" fmla="*/ 611924 h 677195"/>
                <a:gd name="connsiteX73" fmla="*/ 65272 w 462342"/>
                <a:gd name="connsiteY73" fmla="*/ 609204 h 677195"/>
                <a:gd name="connsiteX74" fmla="*/ 65272 w 462342"/>
                <a:gd name="connsiteY74" fmla="*/ 584727 h 677195"/>
                <a:gd name="connsiteX75" fmla="*/ 62552 w 462342"/>
                <a:gd name="connsiteY75" fmla="*/ 456903 h 677195"/>
                <a:gd name="connsiteX76" fmla="*/ 65272 w 462342"/>
                <a:gd name="connsiteY76" fmla="*/ 337238 h 677195"/>
                <a:gd name="connsiteX77" fmla="*/ 67992 w 462342"/>
                <a:gd name="connsiteY77" fmla="*/ 203975 h 677195"/>
                <a:gd name="connsiteX78" fmla="*/ 70712 w 462342"/>
                <a:gd name="connsiteY78" fmla="*/ 119665 h 677195"/>
                <a:gd name="connsiteX79" fmla="*/ 73431 w 462342"/>
                <a:gd name="connsiteY79" fmla="*/ 67992 h 677195"/>
                <a:gd name="connsiteX80" fmla="*/ 67992 w 462342"/>
                <a:gd name="connsiteY80" fmla="*/ 67992 h 677195"/>
                <a:gd name="connsiteX81" fmla="*/ 43515 w 462342"/>
                <a:gd name="connsiteY81" fmla="*/ 67992 h 677195"/>
                <a:gd name="connsiteX82" fmla="*/ 16318 w 462342"/>
                <a:gd name="connsiteY82" fmla="*/ 62552 h 677195"/>
                <a:gd name="connsiteX83" fmla="*/ 0 w 462342"/>
                <a:gd name="connsiteY83" fmla="*/ 46234 h 677195"/>
                <a:gd name="connsiteX84" fmla="*/ 5439 w 462342"/>
                <a:gd name="connsiteY84" fmla="*/ 35356 h 677195"/>
                <a:gd name="connsiteX85" fmla="*/ 27197 w 462342"/>
                <a:gd name="connsiteY85" fmla="*/ 27197 h 677195"/>
                <a:gd name="connsiteX86" fmla="*/ 76151 w 462342"/>
                <a:gd name="connsiteY86" fmla="*/ 21758 h 677195"/>
                <a:gd name="connsiteX87" fmla="*/ 81590 w 462342"/>
                <a:gd name="connsiteY87" fmla="*/ 13598 h 677195"/>
                <a:gd name="connsiteX88" fmla="*/ 97908 w 462342"/>
                <a:gd name="connsiteY88" fmla="*/ 5439 h 677195"/>
                <a:gd name="connsiteX89" fmla="*/ 114226 w 462342"/>
                <a:gd name="connsiteY89" fmla="*/ 0 h 67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462342" h="677195">
                  <a:moveTo>
                    <a:pt x="214853" y="65272"/>
                  </a:moveTo>
                  <a:cubicBezTo>
                    <a:pt x="203975" y="65272"/>
                    <a:pt x="195815" y="67992"/>
                    <a:pt x="195815" y="73431"/>
                  </a:cubicBezTo>
                  <a:cubicBezTo>
                    <a:pt x="193096" y="78870"/>
                    <a:pt x="193096" y="100628"/>
                    <a:pt x="193096" y="125105"/>
                  </a:cubicBezTo>
                  <a:cubicBezTo>
                    <a:pt x="193096" y="182217"/>
                    <a:pt x="193096" y="266527"/>
                    <a:pt x="190376" y="280125"/>
                  </a:cubicBezTo>
                  <a:cubicBezTo>
                    <a:pt x="190376" y="288284"/>
                    <a:pt x="190376" y="293723"/>
                    <a:pt x="190376" y="301882"/>
                  </a:cubicBezTo>
                  <a:cubicBezTo>
                    <a:pt x="190376" y="315480"/>
                    <a:pt x="190376" y="329079"/>
                    <a:pt x="193096" y="342677"/>
                  </a:cubicBezTo>
                  <a:cubicBezTo>
                    <a:pt x="193096" y="361715"/>
                    <a:pt x="193096" y="378033"/>
                    <a:pt x="195815" y="397070"/>
                  </a:cubicBezTo>
                  <a:cubicBezTo>
                    <a:pt x="195815" y="413388"/>
                    <a:pt x="195815" y="426986"/>
                    <a:pt x="195815" y="443304"/>
                  </a:cubicBezTo>
                  <a:cubicBezTo>
                    <a:pt x="195815" y="465061"/>
                    <a:pt x="198535" y="508576"/>
                    <a:pt x="195815" y="530333"/>
                  </a:cubicBezTo>
                  <a:cubicBezTo>
                    <a:pt x="195815" y="538492"/>
                    <a:pt x="193096" y="546651"/>
                    <a:pt x="193096" y="554810"/>
                  </a:cubicBezTo>
                  <a:cubicBezTo>
                    <a:pt x="193096" y="560249"/>
                    <a:pt x="190376" y="590166"/>
                    <a:pt x="190376" y="603764"/>
                  </a:cubicBezTo>
                  <a:cubicBezTo>
                    <a:pt x="190376" y="609203"/>
                    <a:pt x="190376" y="611923"/>
                    <a:pt x="198535" y="611923"/>
                  </a:cubicBezTo>
                  <a:cubicBezTo>
                    <a:pt x="206694" y="611923"/>
                    <a:pt x="209414" y="611923"/>
                    <a:pt x="214853" y="611923"/>
                  </a:cubicBezTo>
                  <a:cubicBezTo>
                    <a:pt x="223012" y="611923"/>
                    <a:pt x="220293" y="611923"/>
                    <a:pt x="236610" y="611923"/>
                  </a:cubicBezTo>
                  <a:cubicBezTo>
                    <a:pt x="242050" y="611923"/>
                    <a:pt x="258368" y="601044"/>
                    <a:pt x="263807" y="598325"/>
                  </a:cubicBezTo>
                  <a:cubicBezTo>
                    <a:pt x="266527" y="598325"/>
                    <a:pt x="274686" y="592885"/>
                    <a:pt x="277405" y="592885"/>
                  </a:cubicBezTo>
                  <a:cubicBezTo>
                    <a:pt x="285564" y="587446"/>
                    <a:pt x="288284" y="579287"/>
                    <a:pt x="291004" y="573848"/>
                  </a:cubicBezTo>
                  <a:cubicBezTo>
                    <a:pt x="296443" y="562969"/>
                    <a:pt x="301882" y="554810"/>
                    <a:pt x="307322" y="543931"/>
                  </a:cubicBezTo>
                  <a:cubicBezTo>
                    <a:pt x="315481" y="524894"/>
                    <a:pt x="320920" y="524894"/>
                    <a:pt x="326359" y="481379"/>
                  </a:cubicBezTo>
                  <a:cubicBezTo>
                    <a:pt x="329079" y="456903"/>
                    <a:pt x="334518" y="435145"/>
                    <a:pt x="337238" y="413388"/>
                  </a:cubicBezTo>
                  <a:cubicBezTo>
                    <a:pt x="337238" y="391631"/>
                    <a:pt x="337238" y="369873"/>
                    <a:pt x="337238" y="350836"/>
                  </a:cubicBezTo>
                  <a:cubicBezTo>
                    <a:pt x="337238" y="339957"/>
                    <a:pt x="337238" y="320920"/>
                    <a:pt x="334518" y="296443"/>
                  </a:cubicBezTo>
                  <a:cubicBezTo>
                    <a:pt x="331798" y="269246"/>
                    <a:pt x="329079" y="250209"/>
                    <a:pt x="329079" y="244769"/>
                  </a:cubicBezTo>
                  <a:cubicBezTo>
                    <a:pt x="323640" y="206694"/>
                    <a:pt x="318200" y="174058"/>
                    <a:pt x="307322" y="135983"/>
                  </a:cubicBezTo>
                  <a:cubicBezTo>
                    <a:pt x="304602" y="125105"/>
                    <a:pt x="304602" y="108787"/>
                    <a:pt x="271966" y="78870"/>
                  </a:cubicBezTo>
                  <a:cubicBezTo>
                    <a:pt x="263807" y="73431"/>
                    <a:pt x="233891" y="65272"/>
                    <a:pt x="214853" y="65272"/>
                  </a:cubicBezTo>
                  <a:close/>
                  <a:moveTo>
                    <a:pt x="114226" y="0"/>
                  </a:moveTo>
                  <a:cubicBezTo>
                    <a:pt x="119665" y="0"/>
                    <a:pt x="125105" y="0"/>
                    <a:pt x="127824" y="0"/>
                  </a:cubicBezTo>
                  <a:cubicBezTo>
                    <a:pt x="133264" y="0"/>
                    <a:pt x="141422" y="0"/>
                    <a:pt x="146862" y="2720"/>
                  </a:cubicBezTo>
                  <a:cubicBezTo>
                    <a:pt x="157741" y="5439"/>
                    <a:pt x="165900" y="13598"/>
                    <a:pt x="174059" y="21758"/>
                  </a:cubicBezTo>
                  <a:cubicBezTo>
                    <a:pt x="179498" y="21758"/>
                    <a:pt x="187657" y="21758"/>
                    <a:pt x="193096" y="21758"/>
                  </a:cubicBezTo>
                  <a:cubicBezTo>
                    <a:pt x="212134" y="21758"/>
                    <a:pt x="228452" y="27197"/>
                    <a:pt x="261088" y="27197"/>
                  </a:cubicBezTo>
                  <a:cubicBezTo>
                    <a:pt x="277405" y="27197"/>
                    <a:pt x="293723" y="35356"/>
                    <a:pt x="310042" y="35356"/>
                  </a:cubicBezTo>
                  <a:cubicBezTo>
                    <a:pt x="318200" y="35356"/>
                    <a:pt x="329079" y="35356"/>
                    <a:pt x="334518" y="40795"/>
                  </a:cubicBezTo>
                  <a:cubicBezTo>
                    <a:pt x="342677" y="46234"/>
                    <a:pt x="348117" y="54393"/>
                    <a:pt x="356276" y="59833"/>
                  </a:cubicBezTo>
                  <a:cubicBezTo>
                    <a:pt x="361715" y="65272"/>
                    <a:pt x="369874" y="67992"/>
                    <a:pt x="372593" y="76151"/>
                  </a:cubicBezTo>
                  <a:cubicBezTo>
                    <a:pt x="375313" y="81590"/>
                    <a:pt x="378033" y="89749"/>
                    <a:pt x="380752" y="95188"/>
                  </a:cubicBezTo>
                  <a:cubicBezTo>
                    <a:pt x="386192" y="103347"/>
                    <a:pt x="391631" y="106067"/>
                    <a:pt x="405230" y="114226"/>
                  </a:cubicBezTo>
                  <a:cubicBezTo>
                    <a:pt x="413388" y="119665"/>
                    <a:pt x="410669" y="133263"/>
                    <a:pt x="416108" y="141422"/>
                  </a:cubicBezTo>
                  <a:cubicBezTo>
                    <a:pt x="426987" y="160461"/>
                    <a:pt x="446025" y="182218"/>
                    <a:pt x="451464" y="201256"/>
                  </a:cubicBezTo>
                  <a:cubicBezTo>
                    <a:pt x="456903" y="220293"/>
                    <a:pt x="456903" y="236611"/>
                    <a:pt x="456903" y="252929"/>
                  </a:cubicBezTo>
                  <a:cubicBezTo>
                    <a:pt x="456903" y="266527"/>
                    <a:pt x="456903" y="277406"/>
                    <a:pt x="456903" y="291004"/>
                  </a:cubicBezTo>
                  <a:cubicBezTo>
                    <a:pt x="456903" y="299163"/>
                    <a:pt x="456903" y="307322"/>
                    <a:pt x="459623" y="318201"/>
                  </a:cubicBezTo>
                  <a:cubicBezTo>
                    <a:pt x="459623" y="320921"/>
                    <a:pt x="459623" y="323640"/>
                    <a:pt x="459623" y="326360"/>
                  </a:cubicBezTo>
                  <a:cubicBezTo>
                    <a:pt x="462342" y="331799"/>
                    <a:pt x="459623" y="337238"/>
                    <a:pt x="459623" y="348117"/>
                  </a:cubicBezTo>
                  <a:cubicBezTo>
                    <a:pt x="459623" y="350837"/>
                    <a:pt x="462342" y="361715"/>
                    <a:pt x="462342" y="367155"/>
                  </a:cubicBezTo>
                  <a:cubicBezTo>
                    <a:pt x="462342" y="375314"/>
                    <a:pt x="456903" y="383473"/>
                    <a:pt x="456903" y="391632"/>
                  </a:cubicBezTo>
                  <a:cubicBezTo>
                    <a:pt x="456903" y="399790"/>
                    <a:pt x="456903" y="410669"/>
                    <a:pt x="456903" y="418828"/>
                  </a:cubicBezTo>
                  <a:cubicBezTo>
                    <a:pt x="456903" y="421548"/>
                    <a:pt x="454183" y="429707"/>
                    <a:pt x="451464" y="437866"/>
                  </a:cubicBezTo>
                  <a:cubicBezTo>
                    <a:pt x="448744" y="443305"/>
                    <a:pt x="448744" y="451464"/>
                    <a:pt x="446025" y="454184"/>
                  </a:cubicBezTo>
                  <a:cubicBezTo>
                    <a:pt x="443305" y="462343"/>
                    <a:pt x="440585" y="473221"/>
                    <a:pt x="440585" y="481380"/>
                  </a:cubicBezTo>
                  <a:cubicBezTo>
                    <a:pt x="437865" y="489539"/>
                    <a:pt x="437865" y="500418"/>
                    <a:pt x="432426" y="508577"/>
                  </a:cubicBezTo>
                  <a:cubicBezTo>
                    <a:pt x="429706" y="516736"/>
                    <a:pt x="424267" y="522175"/>
                    <a:pt x="418828" y="530334"/>
                  </a:cubicBezTo>
                  <a:cubicBezTo>
                    <a:pt x="416108" y="535773"/>
                    <a:pt x="413388" y="543932"/>
                    <a:pt x="410669" y="549371"/>
                  </a:cubicBezTo>
                  <a:cubicBezTo>
                    <a:pt x="405230" y="557531"/>
                    <a:pt x="397071" y="573848"/>
                    <a:pt x="391631" y="579288"/>
                  </a:cubicBezTo>
                  <a:cubicBezTo>
                    <a:pt x="369874" y="609204"/>
                    <a:pt x="350836" y="620083"/>
                    <a:pt x="337238" y="630961"/>
                  </a:cubicBezTo>
                  <a:cubicBezTo>
                    <a:pt x="326359" y="639120"/>
                    <a:pt x="315481" y="641840"/>
                    <a:pt x="301883" y="647279"/>
                  </a:cubicBezTo>
                  <a:cubicBezTo>
                    <a:pt x="291004" y="649999"/>
                    <a:pt x="277405" y="652718"/>
                    <a:pt x="263807" y="652718"/>
                  </a:cubicBezTo>
                  <a:cubicBezTo>
                    <a:pt x="252929" y="652718"/>
                    <a:pt x="244770" y="649999"/>
                    <a:pt x="233891" y="649999"/>
                  </a:cubicBezTo>
                  <a:cubicBezTo>
                    <a:pt x="206694" y="649999"/>
                    <a:pt x="217573" y="652718"/>
                    <a:pt x="187657" y="652718"/>
                  </a:cubicBezTo>
                  <a:cubicBezTo>
                    <a:pt x="184937" y="660877"/>
                    <a:pt x="179498" y="666317"/>
                    <a:pt x="171339" y="669036"/>
                  </a:cubicBezTo>
                  <a:cubicBezTo>
                    <a:pt x="165900" y="671756"/>
                    <a:pt x="160460" y="671756"/>
                    <a:pt x="155021" y="671756"/>
                  </a:cubicBezTo>
                  <a:cubicBezTo>
                    <a:pt x="149581" y="671756"/>
                    <a:pt x="144142" y="674476"/>
                    <a:pt x="138703" y="674476"/>
                  </a:cubicBezTo>
                  <a:cubicBezTo>
                    <a:pt x="135983" y="674476"/>
                    <a:pt x="127824" y="677195"/>
                    <a:pt x="125105" y="677195"/>
                  </a:cubicBezTo>
                  <a:cubicBezTo>
                    <a:pt x="116946" y="677195"/>
                    <a:pt x="108787" y="671756"/>
                    <a:pt x="106067" y="671756"/>
                  </a:cubicBezTo>
                  <a:cubicBezTo>
                    <a:pt x="100628" y="669036"/>
                    <a:pt x="95188" y="663597"/>
                    <a:pt x="87029" y="658158"/>
                  </a:cubicBezTo>
                  <a:cubicBezTo>
                    <a:pt x="84310" y="655438"/>
                    <a:pt x="81590" y="655438"/>
                    <a:pt x="81590" y="652718"/>
                  </a:cubicBezTo>
                  <a:cubicBezTo>
                    <a:pt x="73431" y="652718"/>
                    <a:pt x="81590" y="652718"/>
                    <a:pt x="67992" y="652718"/>
                  </a:cubicBezTo>
                  <a:cubicBezTo>
                    <a:pt x="59833" y="652718"/>
                    <a:pt x="51674" y="652718"/>
                    <a:pt x="43515" y="652718"/>
                  </a:cubicBezTo>
                  <a:cubicBezTo>
                    <a:pt x="35356" y="652718"/>
                    <a:pt x="24477" y="652718"/>
                    <a:pt x="16318" y="647279"/>
                  </a:cubicBezTo>
                  <a:cubicBezTo>
                    <a:pt x="8159" y="644559"/>
                    <a:pt x="0" y="636401"/>
                    <a:pt x="0" y="630961"/>
                  </a:cubicBezTo>
                  <a:cubicBezTo>
                    <a:pt x="0" y="625522"/>
                    <a:pt x="0" y="622802"/>
                    <a:pt x="5439" y="620083"/>
                  </a:cubicBezTo>
                  <a:cubicBezTo>
                    <a:pt x="10879" y="617363"/>
                    <a:pt x="21758" y="614643"/>
                    <a:pt x="27197" y="611924"/>
                  </a:cubicBezTo>
                  <a:cubicBezTo>
                    <a:pt x="38076" y="609204"/>
                    <a:pt x="54393" y="609204"/>
                    <a:pt x="65272" y="609204"/>
                  </a:cubicBezTo>
                  <a:cubicBezTo>
                    <a:pt x="65272" y="601045"/>
                    <a:pt x="65272" y="592886"/>
                    <a:pt x="65272" y="584727"/>
                  </a:cubicBezTo>
                  <a:cubicBezTo>
                    <a:pt x="65272" y="541213"/>
                    <a:pt x="62552" y="500418"/>
                    <a:pt x="62552" y="456903"/>
                  </a:cubicBezTo>
                  <a:cubicBezTo>
                    <a:pt x="62552" y="440585"/>
                    <a:pt x="65272" y="397071"/>
                    <a:pt x="65272" y="337238"/>
                  </a:cubicBezTo>
                  <a:cubicBezTo>
                    <a:pt x="65272" y="293724"/>
                    <a:pt x="67992" y="247490"/>
                    <a:pt x="67992" y="203975"/>
                  </a:cubicBezTo>
                  <a:cubicBezTo>
                    <a:pt x="67992" y="179498"/>
                    <a:pt x="67992" y="149582"/>
                    <a:pt x="70712" y="119665"/>
                  </a:cubicBezTo>
                  <a:cubicBezTo>
                    <a:pt x="70712" y="103347"/>
                    <a:pt x="73431" y="84309"/>
                    <a:pt x="73431" y="67992"/>
                  </a:cubicBezTo>
                  <a:cubicBezTo>
                    <a:pt x="73431" y="67992"/>
                    <a:pt x="70712" y="67992"/>
                    <a:pt x="67992" y="67992"/>
                  </a:cubicBezTo>
                  <a:cubicBezTo>
                    <a:pt x="59833" y="67992"/>
                    <a:pt x="51674" y="67992"/>
                    <a:pt x="43515" y="67992"/>
                  </a:cubicBezTo>
                  <a:cubicBezTo>
                    <a:pt x="35356" y="67992"/>
                    <a:pt x="24477" y="67992"/>
                    <a:pt x="16318" y="62552"/>
                  </a:cubicBezTo>
                  <a:cubicBezTo>
                    <a:pt x="8159" y="59833"/>
                    <a:pt x="0" y="51674"/>
                    <a:pt x="0" y="46234"/>
                  </a:cubicBezTo>
                  <a:cubicBezTo>
                    <a:pt x="0" y="43515"/>
                    <a:pt x="0" y="38075"/>
                    <a:pt x="5439" y="35356"/>
                  </a:cubicBezTo>
                  <a:cubicBezTo>
                    <a:pt x="10879" y="32636"/>
                    <a:pt x="21758" y="29916"/>
                    <a:pt x="27197" y="27197"/>
                  </a:cubicBezTo>
                  <a:cubicBezTo>
                    <a:pt x="46234" y="24477"/>
                    <a:pt x="65272" y="21758"/>
                    <a:pt x="76151" y="21758"/>
                  </a:cubicBezTo>
                  <a:cubicBezTo>
                    <a:pt x="76151" y="19038"/>
                    <a:pt x="78871" y="16318"/>
                    <a:pt x="81590" y="13598"/>
                  </a:cubicBezTo>
                  <a:cubicBezTo>
                    <a:pt x="84310" y="10879"/>
                    <a:pt x="92469" y="5439"/>
                    <a:pt x="97908" y="5439"/>
                  </a:cubicBezTo>
                  <a:cubicBezTo>
                    <a:pt x="103347" y="2720"/>
                    <a:pt x="108787" y="0"/>
                    <a:pt x="11422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C7E78CC9-07D3-4E5F-9486-4571F99E25AF}"/>
                </a:ext>
              </a:extLst>
            </p:cNvPr>
            <p:cNvSpPr/>
            <p:nvPr/>
          </p:nvSpPr>
          <p:spPr>
            <a:xfrm>
              <a:off x="7310622" y="4197597"/>
              <a:ext cx="489539" cy="761503"/>
            </a:xfrm>
            <a:custGeom>
              <a:avLst/>
              <a:gdLst>
                <a:gd name="connsiteX0" fmla="*/ 433491 w 489538"/>
                <a:gd name="connsiteY0" fmla="*/ 651063 h 761503"/>
                <a:gd name="connsiteX1" fmla="*/ 438930 w 489538"/>
                <a:gd name="connsiteY1" fmla="*/ 661942 h 761503"/>
                <a:gd name="connsiteX2" fmla="*/ 425332 w 489538"/>
                <a:gd name="connsiteY2" fmla="*/ 683699 h 761503"/>
                <a:gd name="connsiteX3" fmla="*/ 400855 w 489538"/>
                <a:gd name="connsiteY3" fmla="*/ 691858 h 761503"/>
                <a:gd name="connsiteX4" fmla="*/ 343742 w 489538"/>
                <a:gd name="connsiteY4" fmla="*/ 700017 h 761503"/>
                <a:gd name="connsiteX5" fmla="*/ 316546 w 489538"/>
                <a:gd name="connsiteY5" fmla="*/ 705456 h 761503"/>
                <a:gd name="connsiteX6" fmla="*/ 275751 w 489538"/>
                <a:gd name="connsiteY6" fmla="*/ 705456 h 761503"/>
                <a:gd name="connsiteX7" fmla="*/ 264872 w 489538"/>
                <a:gd name="connsiteY7" fmla="*/ 708176 h 761503"/>
                <a:gd name="connsiteX8" fmla="*/ 253994 w 489538"/>
                <a:gd name="connsiteY8" fmla="*/ 708176 h 761503"/>
                <a:gd name="connsiteX9" fmla="*/ 240395 w 489538"/>
                <a:gd name="connsiteY9" fmla="*/ 719054 h 761503"/>
                <a:gd name="connsiteX10" fmla="*/ 224077 w 489538"/>
                <a:gd name="connsiteY10" fmla="*/ 721774 h 761503"/>
                <a:gd name="connsiteX11" fmla="*/ 205040 w 489538"/>
                <a:gd name="connsiteY11" fmla="*/ 724494 h 761503"/>
                <a:gd name="connsiteX12" fmla="*/ 191441 w 489538"/>
                <a:gd name="connsiteY12" fmla="*/ 727213 h 761503"/>
                <a:gd name="connsiteX13" fmla="*/ 169684 w 489538"/>
                <a:gd name="connsiteY13" fmla="*/ 721774 h 761503"/>
                <a:gd name="connsiteX14" fmla="*/ 150646 w 489538"/>
                <a:gd name="connsiteY14" fmla="*/ 708176 h 761503"/>
                <a:gd name="connsiteX15" fmla="*/ 139768 w 489538"/>
                <a:gd name="connsiteY15" fmla="*/ 708176 h 761503"/>
                <a:gd name="connsiteX16" fmla="*/ 120730 w 489538"/>
                <a:gd name="connsiteY16" fmla="*/ 708176 h 761503"/>
                <a:gd name="connsiteX17" fmla="*/ 98973 w 489538"/>
                <a:gd name="connsiteY17" fmla="*/ 708176 h 761503"/>
                <a:gd name="connsiteX18" fmla="*/ 74496 w 489538"/>
                <a:gd name="connsiteY18" fmla="*/ 702736 h 761503"/>
                <a:gd name="connsiteX19" fmla="*/ 58178 w 489538"/>
                <a:gd name="connsiteY19" fmla="*/ 683699 h 761503"/>
                <a:gd name="connsiteX20" fmla="*/ 63617 w 489538"/>
                <a:gd name="connsiteY20" fmla="*/ 675540 h 761503"/>
                <a:gd name="connsiteX21" fmla="*/ 85375 w 489538"/>
                <a:gd name="connsiteY21" fmla="*/ 667381 h 761503"/>
                <a:gd name="connsiteX22" fmla="*/ 128889 w 489538"/>
                <a:gd name="connsiteY22" fmla="*/ 661942 h 761503"/>
                <a:gd name="connsiteX23" fmla="*/ 128889 w 489538"/>
                <a:gd name="connsiteY23" fmla="*/ 602109 h 761503"/>
                <a:gd name="connsiteX24" fmla="*/ 126170 w 489538"/>
                <a:gd name="connsiteY24" fmla="*/ 523239 h 761503"/>
                <a:gd name="connsiteX25" fmla="*/ 126170 w 489538"/>
                <a:gd name="connsiteY25" fmla="*/ 468846 h 761503"/>
                <a:gd name="connsiteX26" fmla="*/ 123450 w 489538"/>
                <a:gd name="connsiteY26" fmla="*/ 409014 h 761503"/>
                <a:gd name="connsiteX27" fmla="*/ 123450 w 489538"/>
                <a:gd name="connsiteY27" fmla="*/ 384537 h 761503"/>
                <a:gd name="connsiteX28" fmla="*/ 126170 w 489538"/>
                <a:gd name="connsiteY28" fmla="*/ 349181 h 761503"/>
                <a:gd name="connsiteX29" fmla="*/ 126170 w 489538"/>
                <a:gd name="connsiteY29" fmla="*/ 324704 h 761503"/>
                <a:gd name="connsiteX30" fmla="*/ 128889 w 489538"/>
                <a:gd name="connsiteY30" fmla="*/ 292068 h 761503"/>
                <a:gd name="connsiteX31" fmla="*/ 134329 w 489538"/>
                <a:gd name="connsiteY31" fmla="*/ 234956 h 761503"/>
                <a:gd name="connsiteX32" fmla="*/ 134329 w 489538"/>
                <a:gd name="connsiteY32" fmla="*/ 172404 h 761503"/>
                <a:gd name="connsiteX33" fmla="*/ 137048 w 489538"/>
                <a:gd name="connsiteY33" fmla="*/ 123450 h 761503"/>
                <a:gd name="connsiteX34" fmla="*/ 123450 w 489538"/>
                <a:gd name="connsiteY34" fmla="*/ 123450 h 761503"/>
                <a:gd name="connsiteX35" fmla="*/ 101693 w 489538"/>
                <a:gd name="connsiteY35" fmla="*/ 123450 h 761503"/>
                <a:gd name="connsiteX36" fmla="*/ 77216 w 489538"/>
                <a:gd name="connsiteY36" fmla="*/ 118011 h 761503"/>
                <a:gd name="connsiteX37" fmla="*/ 60898 w 489538"/>
                <a:gd name="connsiteY37" fmla="*/ 98973 h 761503"/>
                <a:gd name="connsiteX38" fmla="*/ 66337 w 489538"/>
                <a:gd name="connsiteY38" fmla="*/ 90814 h 761503"/>
                <a:gd name="connsiteX39" fmla="*/ 88094 w 489538"/>
                <a:gd name="connsiteY39" fmla="*/ 82655 h 761503"/>
                <a:gd name="connsiteX40" fmla="*/ 145207 w 489538"/>
                <a:gd name="connsiteY40" fmla="*/ 77216 h 761503"/>
                <a:gd name="connsiteX41" fmla="*/ 145207 w 489538"/>
                <a:gd name="connsiteY41" fmla="*/ 77216 h 761503"/>
                <a:gd name="connsiteX42" fmla="*/ 153366 w 489538"/>
                <a:gd name="connsiteY42" fmla="*/ 69057 h 761503"/>
                <a:gd name="connsiteX43" fmla="*/ 177843 w 489538"/>
                <a:gd name="connsiteY43" fmla="*/ 60898 h 761503"/>
                <a:gd name="connsiteX44" fmla="*/ 196881 w 489538"/>
                <a:gd name="connsiteY44" fmla="*/ 58178 h 761503"/>
                <a:gd name="connsiteX45" fmla="*/ 205040 w 489538"/>
                <a:gd name="connsiteY45" fmla="*/ 58178 h 761503"/>
                <a:gd name="connsiteX46" fmla="*/ 215919 w 489538"/>
                <a:gd name="connsiteY46" fmla="*/ 63617 h 761503"/>
                <a:gd name="connsiteX47" fmla="*/ 229517 w 489538"/>
                <a:gd name="connsiteY47" fmla="*/ 69057 h 761503"/>
                <a:gd name="connsiteX48" fmla="*/ 256713 w 489538"/>
                <a:gd name="connsiteY48" fmla="*/ 77216 h 761503"/>
                <a:gd name="connsiteX49" fmla="*/ 264872 w 489538"/>
                <a:gd name="connsiteY49" fmla="*/ 77216 h 761503"/>
                <a:gd name="connsiteX50" fmla="*/ 281190 w 489538"/>
                <a:gd name="connsiteY50" fmla="*/ 77216 h 761503"/>
                <a:gd name="connsiteX51" fmla="*/ 330144 w 489538"/>
                <a:gd name="connsiteY51" fmla="*/ 77216 h 761503"/>
                <a:gd name="connsiteX52" fmla="*/ 357341 w 489538"/>
                <a:gd name="connsiteY52" fmla="*/ 79935 h 761503"/>
                <a:gd name="connsiteX53" fmla="*/ 387257 w 489538"/>
                <a:gd name="connsiteY53" fmla="*/ 82655 h 761503"/>
                <a:gd name="connsiteX54" fmla="*/ 406295 w 489538"/>
                <a:gd name="connsiteY54" fmla="*/ 85375 h 761503"/>
                <a:gd name="connsiteX55" fmla="*/ 417173 w 489538"/>
                <a:gd name="connsiteY55" fmla="*/ 79935 h 761503"/>
                <a:gd name="connsiteX56" fmla="*/ 425332 w 489538"/>
                <a:gd name="connsiteY56" fmla="*/ 85375 h 761503"/>
                <a:gd name="connsiteX57" fmla="*/ 433491 w 489538"/>
                <a:gd name="connsiteY57" fmla="*/ 104412 h 761503"/>
                <a:gd name="connsiteX58" fmla="*/ 436211 w 489538"/>
                <a:gd name="connsiteY58" fmla="*/ 137048 h 761503"/>
                <a:gd name="connsiteX59" fmla="*/ 438930 w 489538"/>
                <a:gd name="connsiteY59" fmla="*/ 183282 h 761503"/>
                <a:gd name="connsiteX60" fmla="*/ 422612 w 489538"/>
                <a:gd name="connsiteY60" fmla="*/ 218638 h 761503"/>
                <a:gd name="connsiteX61" fmla="*/ 406295 w 489538"/>
                <a:gd name="connsiteY61" fmla="*/ 213198 h 761503"/>
                <a:gd name="connsiteX62" fmla="*/ 398136 w 489538"/>
                <a:gd name="connsiteY62" fmla="*/ 196881 h 761503"/>
                <a:gd name="connsiteX63" fmla="*/ 395416 w 489538"/>
                <a:gd name="connsiteY63" fmla="*/ 175123 h 761503"/>
                <a:gd name="connsiteX64" fmla="*/ 395416 w 489538"/>
                <a:gd name="connsiteY64" fmla="*/ 153366 h 761503"/>
                <a:gd name="connsiteX65" fmla="*/ 395416 w 489538"/>
                <a:gd name="connsiteY65" fmla="*/ 126170 h 761503"/>
                <a:gd name="connsiteX66" fmla="*/ 370939 w 489538"/>
                <a:gd name="connsiteY66" fmla="*/ 128889 h 761503"/>
                <a:gd name="connsiteX67" fmla="*/ 338303 w 489538"/>
                <a:gd name="connsiteY67" fmla="*/ 131609 h 761503"/>
                <a:gd name="connsiteX68" fmla="*/ 286629 w 489538"/>
                <a:gd name="connsiteY68" fmla="*/ 134328 h 761503"/>
                <a:gd name="connsiteX69" fmla="*/ 273031 w 489538"/>
                <a:gd name="connsiteY69" fmla="*/ 137048 h 761503"/>
                <a:gd name="connsiteX70" fmla="*/ 262153 w 489538"/>
                <a:gd name="connsiteY70" fmla="*/ 142487 h 761503"/>
                <a:gd name="connsiteX71" fmla="*/ 259433 w 489538"/>
                <a:gd name="connsiteY71" fmla="*/ 153366 h 761503"/>
                <a:gd name="connsiteX72" fmla="*/ 262153 w 489538"/>
                <a:gd name="connsiteY72" fmla="*/ 166964 h 761503"/>
                <a:gd name="connsiteX73" fmla="*/ 262153 w 489538"/>
                <a:gd name="connsiteY73" fmla="*/ 196881 h 761503"/>
                <a:gd name="connsiteX74" fmla="*/ 262153 w 489538"/>
                <a:gd name="connsiteY74" fmla="*/ 215918 h 761503"/>
                <a:gd name="connsiteX75" fmla="*/ 262153 w 489538"/>
                <a:gd name="connsiteY75" fmla="*/ 251274 h 761503"/>
                <a:gd name="connsiteX76" fmla="*/ 259433 w 489538"/>
                <a:gd name="connsiteY76" fmla="*/ 278470 h 761503"/>
                <a:gd name="connsiteX77" fmla="*/ 259433 w 489538"/>
                <a:gd name="connsiteY77" fmla="*/ 308386 h 761503"/>
                <a:gd name="connsiteX78" fmla="*/ 259433 w 489538"/>
                <a:gd name="connsiteY78" fmla="*/ 321985 h 761503"/>
                <a:gd name="connsiteX79" fmla="*/ 259433 w 489538"/>
                <a:gd name="connsiteY79" fmla="*/ 332863 h 761503"/>
                <a:gd name="connsiteX80" fmla="*/ 267592 w 489538"/>
                <a:gd name="connsiteY80" fmla="*/ 335583 h 761503"/>
                <a:gd name="connsiteX81" fmla="*/ 281190 w 489538"/>
                <a:gd name="connsiteY81" fmla="*/ 335583 h 761503"/>
                <a:gd name="connsiteX82" fmla="*/ 327424 w 489538"/>
                <a:gd name="connsiteY82" fmla="*/ 338303 h 761503"/>
                <a:gd name="connsiteX83" fmla="*/ 351901 w 489538"/>
                <a:gd name="connsiteY83" fmla="*/ 341022 h 761503"/>
                <a:gd name="connsiteX84" fmla="*/ 351901 w 489538"/>
                <a:gd name="connsiteY84" fmla="*/ 335583 h 761503"/>
                <a:gd name="connsiteX85" fmla="*/ 351901 w 489538"/>
                <a:gd name="connsiteY85" fmla="*/ 313826 h 761503"/>
                <a:gd name="connsiteX86" fmla="*/ 357341 w 489538"/>
                <a:gd name="connsiteY86" fmla="*/ 289349 h 761503"/>
                <a:gd name="connsiteX87" fmla="*/ 373658 w 489538"/>
                <a:gd name="connsiteY87" fmla="*/ 273031 h 761503"/>
                <a:gd name="connsiteX88" fmla="*/ 381817 w 489538"/>
                <a:gd name="connsiteY88" fmla="*/ 278470 h 761503"/>
                <a:gd name="connsiteX89" fmla="*/ 389977 w 489538"/>
                <a:gd name="connsiteY89" fmla="*/ 300228 h 761503"/>
                <a:gd name="connsiteX90" fmla="*/ 395416 w 489538"/>
                <a:gd name="connsiteY90" fmla="*/ 351901 h 761503"/>
                <a:gd name="connsiteX91" fmla="*/ 398136 w 489538"/>
                <a:gd name="connsiteY91" fmla="*/ 409014 h 761503"/>
                <a:gd name="connsiteX92" fmla="*/ 381817 w 489538"/>
                <a:gd name="connsiteY92" fmla="*/ 444369 h 761503"/>
                <a:gd name="connsiteX93" fmla="*/ 365500 w 489538"/>
                <a:gd name="connsiteY93" fmla="*/ 438930 h 761503"/>
                <a:gd name="connsiteX94" fmla="*/ 357341 w 489538"/>
                <a:gd name="connsiteY94" fmla="*/ 422612 h 761503"/>
                <a:gd name="connsiteX95" fmla="*/ 354621 w 489538"/>
                <a:gd name="connsiteY95" fmla="*/ 400855 h 761503"/>
                <a:gd name="connsiteX96" fmla="*/ 354621 w 489538"/>
                <a:gd name="connsiteY96" fmla="*/ 381817 h 761503"/>
                <a:gd name="connsiteX97" fmla="*/ 270312 w 489538"/>
                <a:gd name="connsiteY97" fmla="*/ 381817 h 761503"/>
                <a:gd name="connsiteX98" fmla="*/ 256713 w 489538"/>
                <a:gd name="connsiteY98" fmla="*/ 395415 h 761503"/>
                <a:gd name="connsiteX99" fmla="*/ 253994 w 489538"/>
                <a:gd name="connsiteY99" fmla="*/ 422612 h 761503"/>
                <a:gd name="connsiteX100" fmla="*/ 253994 w 489538"/>
                <a:gd name="connsiteY100" fmla="*/ 433490 h 761503"/>
                <a:gd name="connsiteX101" fmla="*/ 253994 w 489538"/>
                <a:gd name="connsiteY101" fmla="*/ 449809 h 761503"/>
                <a:gd name="connsiteX102" fmla="*/ 256713 w 489538"/>
                <a:gd name="connsiteY102" fmla="*/ 474285 h 761503"/>
                <a:gd name="connsiteX103" fmla="*/ 256713 w 489538"/>
                <a:gd name="connsiteY103" fmla="*/ 496043 h 761503"/>
                <a:gd name="connsiteX104" fmla="*/ 259433 w 489538"/>
                <a:gd name="connsiteY104" fmla="*/ 534118 h 761503"/>
                <a:gd name="connsiteX105" fmla="*/ 259433 w 489538"/>
                <a:gd name="connsiteY105" fmla="*/ 591231 h 761503"/>
                <a:gd name="connsiteX106" fmla="*/ 262153 w 489538"/>
                <a:gd name="connsiteY106" fmla="*/ 618427 h 761503"/>
                <a:gd name="connsiteX107" fmla="*/ 267592 w 489538"/>
                <a:gd name="connsiteY107" fmla="*/ 648343 h 761503"/>
                <a:gd name="connsiteX108" fmla="*/ 292069 w 489538"/>
                <a:gd name="connsiteY108" fmla="*/ 651063 h 761503"/>
                <a:gd name="connsiteX109" fmla="*/ 327424 w 489538"/>
                <a:gd name="connsiteY109" fmla="*/ 651063 h 761503"/>
                <a:gd name="connsiteX110" fmla="*/ 362780 w 489538"/>
                <a:gd name="connsiteY110" fmla="*/ 653783 h 761503"/>
                <a:gd name="connsiteX111" fmla="*/ 395416 w 489538"/>
                <a:gd name="connsiteY111" fmla="*/ 648343 h 761503"/>
                <a:gd name="connsiteX112" fmla="*/ 395416 w 489538"/>
                <a:gd name="connsiteY112" fmla="*/ 618427 h 761503"/>
                <a:gd name="connsiteX113" fmla="*/ 395416 w 489538"/>
                <a:gd name="connsiteY113" fmla="*/ 596670 h 761503"/>
                <a:gd name="connsiteX114" fmla="*/ 398136 w 489538"/>
                <a:gd name="connsiteY114" fmla="*/ 574913 h 761503"/>
                <a:gd name="connsiteX115" fmla="*/ 406295 w 489538"/>
                <a:gd name="connsiteY115" fmla="*/ 558595 h 761503"/>
                <a:gd name="connsiteX116" fmla="*/ 422612 w 489538"/>
                <a:gd name="connsiteY116" fmla="*/ 553155 h 761503"/>
                <a:gd name="connsiteX117" fmla="*/ 438930 w 489538"/>
                <a:gd name="connsiteY117" fmla="*/ 588511 h 761503"/>
                <a:gd name="connsiteX118" fmla="*/ 436211 w 489538"/>
                <a:gd name="connsiteY118" fmla="*/ 645624 h 761503"/>
                <a:gd name="connsiteX119" fmla="*/ 433491 w 489538"/>
                <a:gd name="connsiteY119" fmla="*/ 651063 h 761503"/>
                <a:gd name="connsiteX120" fmla="*/ 433491 w 489538"/>
                <a:gd name="connsiteY120" fmla="*/ 651063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489538" h="761503">
                  <a:moveTo>
                    <a:pt x="433491" y="651063"/>
                  </a:moveTo>
                  <a:cubicBezTo>
                    <a:pt x="436211" y="653783"/>
                    <a:pt x="438930" y="656502"/>
                    <a:pt x="438930" y="661942"/>
                  </a:cubicBezTo>
                  <a:cubicBezTo>
                    <a:pt x="438930" y="670101"/>
                    <a:pt x="433491" y="678259"/>
                    <a:pt x="425332" y="683699"/>
                  </a:cubicBezTo>
                  <a:cubicBezTo>
                    <a:pt x="417173" y="689138"/>
                    <a:pt x="409014" y="689138"/>
                    <a:pt x="400855" y="691858"/>
                  </a:cubicBezTo>
                  <a:cubicBezTo>
                    <a:pt x="381817" y="694578"/>
                    <a:pt x="362780" y="694578"/>
                    <a:pt x="343742" y="700017"/>
                  </a:cubicBezTo>
                  <a:cubicBezTo>
                    <a:pt x="335583" y="702736"/>
                    <a:pt x="324705" y="702736"/>
                    <a:pt x="316546" y="705456"/>
                  </a:cubicBezTo>
                  <a:cubicBezTo>
                    <a:pt x="308387" y="705456"/>
                    <a:pt x="289349" y="705456"/>
                    <a:pt x="275751" y="705456"/>
                  </a:cubicBezTo>
                  <a:cubicBezTo>
                    <a:pt x="270312" y="705456"/>
                    <a:pt x="267592" y="708176"/>
                    <a:pt x="264872" y="708176"/>
                  </a:cubicBezTo>
                  <a:cubicBezTo>
                    <a:pt x="264872" y="708176"/>
                    <a:pt x="259433" y="708176"/>
                    <a:pt x="253994" y="708176"/>
                  </a:cubicBezTo>
                  <a:cubicBezTo>
                    <a:pt x="251274" y="713615"/>
                    <a:pt x="245835" y="716335"/>
                    <a:pt x="240395" y="719054"/>
                  </a:cubicBezTo>
                  <a:cubicBezTo>
                    <a:pt x="234956" y="721774"/>
                    <a:pt x="229517" y="721774"/>
                    <a:pt x="224077" y="721774"/>
                  </a:cubicBezTo>
                  <a:cubicBezTo>
                    <a:pt x="218638" y="721774"/>
                    <a:pt x="213199" y="724494"/>
                    <a:pt x="205040" y="724494"/>
                  </a:cubicBezTo>
                  <a:cubicBezTo>
                    <a:pt x="202320" y="724494"/>
                    <a:pt x="194161" y="727213"/>
                    <a:pt x="191441" y="727213"/>
                  </a:cubicBezTo>
                  <a:cubicBezTo>
                    <a:pt x="183282" y="727213"/>
                    <a:pt x="172404" y="721774"/>
                    <a:pt x="169684" y="721774"/>
                  </a:cubicBezTo>
                  <a:cubicBezTo>
                    <a:pt x="164245" y="719054"/>
                    <a:pt x="156086" y="713615"/>
                    <a:pt x="150646" y="708176"/>
                  </a:cubicBezTo>
                  <a:cubicBezTo>
                    <a:pt x="145207" y="708176"/>
                    <a:pt x="139768" y="708176"/>
                    <a:pt x="139768" y="708176"/>
                  </a:cubicBezTo>
                  <a:cubicBezTo>
                    <a:pt x="126170" y="708176"/>
                    <a:pt x="137048" y="708176"/>
                    <a:pt x="120730" y="708176"/>
                  </a:cubicBezTo>
                  <a:cubicBezTo>
                    <a:pt x="112571" y="708176"/>
                    <a:pt x="104412" y="708176"/>
                    <a:pt x="98973" y="708176"/>
                  </a:cubicBezTo>
                  <a:cubicBezTo>
                    <a:pt x="90814" y="708176"/>
                    <a:pt x="79936" y="708176"/>
                    <a:pt x="74496" y="702736"/>
                  </a:cubicBezTo>
                  <a:cubicBezTo>
                    <a:pt x="66337" y="700017"/>
                    <a:pt x="58178" y="689138"/>
                    <a:pt x="58178" y="683699"/>
                  </a:cubicBezTo>
                  <a:cubicBezTo>
                    <a:pt x="58178" y="680979"/>
                    <a:pt x="58178" y="678259"/>
                    <a:pt x="63617" y="675540"/>
                  </a:cubicBezTo>
                  <a:cubicBezTo>
                    <a:pt x="69057" y="672820"/>
                    <a:pt x="77216" y="670101"/>
                    <a:pt x="85375" y="667381"/>
                  </a:cubicBezTo>
                  <a:cubicBezTo>
                    <a:pt x="98973" y="664661"/>
                    <a:pt x="115291" y="664661"/>
                    <a:pt x="128889" y="661942"/>
                  </a:cubicBezTo>
                  <a:cubicBezTo>
                    <a:pt x="128889" y="645624"/>
                    <a:pt x="128889" y="623866"/>
                    <a:pt x="128889" y="602109"/>
                  </a:cubicBezTo>
                  <a:cubicBezTo>
                    <a:pt x="128889" y="566754"/>
                    <a:pt x="128889" y="531398"/>
                    <a:pt x="126170" y="523239"/>
                  </a:cubicBezTo>
                  <a:cubicBezTo>
                    <a:pt x="126170" y="517800"/>
                    <a:pt x="126170" y="487884"/>
                    <a:pt x="126170" y="468846"/>
                  </a:cubicBezTo>
                  <a:cubicBezTo>
                    <a:pt x="126170" y="449809"/>
                    <a:pt x="123450" y="430771"/>
                    <a:pt x="123450" y="409014"/>
                  </a:cubicBezTo>
                  <a:cubicBezTo>
                    <a:pt x="123450" y="400855"/>
                    <a:pt x="123450" y="392696"/>
                    <a:pt x="123450" y="384537"/>
                  </a:cubicBezTo>
                  <a:cubicBezTo>
                    <a:pt x="123450" y="373658"/>
                    <a:pt x="126170" y="360060"/>
                    <a:pt x="126170" y="349181"/>
                  </a:cubicBezTo>
                  <a:cubicBezTo>
                    <a:pt x="126170" y="341022"/>
                    <a:pt x="126170" y="332863"/>
                    <a:pt x="126170" y="324704"/>
                  </a:cubicBezTo>
                  <a:cubicBezTo>
                    <a:pt x="126170" y="313826"/>
                    <a:pt x="126170" y="302947"/>
                    <a:pt x="128889" y="292068"/>
                  </a:cubicBezTo>
                  <a:cubicBezTo>
                    <a:pt x="131609" y="273031"/>
                    <a:pt x="134329" y="253993"/>
                    <a:pt x="134329" y="234956"/>
                  </a:cubicBezTo>
                  <a:cubicBezTo>
                    <a:pt x="134329" y="213198"/>
                    <a:pt x="134329" y="191441"/>
                    <a:pt x="134329" y="172404"/>
                  </a:cubicBezTo>
                  <a:cubicBezTo>
                    <a:pt x="134329" y="156086"/>
                    <a:pt x="134329" y="139768"/>
                    <a:pt x="137048" y="123450"/>
                  </a:cubicBezTo>
                  <a:cubicBezTo>
                    <a:pt x="131609" y="123450"/>
                    <a:pt x="134329" y="123450"/>
                    <a:pt x="123450" y="123450"/>
                  </a:cubicBezTo>
                  <a:cubicBezTo>
                    <a:pt x="115291" y="123450"/>
                    <a:pt x="107132" y="123450"/>
                    <a:pt x="101693" y="123450"/>
                  </a:cubicBezTo>
                  <a:cubicBezTo>
                    <a:pt x="93534" y="123450"/>
                    <a:pt x="82655" y="123450"/>
                    <a:pt x="77216" y="118011"/>
                  </a:cubicBezTo>
                  <a:cubicBezTo>
                    <a:pt x="69057" y="115291"/>
                    <a:pt x="60898" y="101693"/>
                    <a:pt x="60898" y="98973"/>
                  </a:cubicBezTo>
                  <a:cubicBezTo>
                    <a:pt x="60898" y="96253"/>
                    <a:pt x="60898" y="93534"/>
                    <a:pt x="66337" y="90814"/>
                  </a:cubicBezTo>
                  <a:cubicBezTo>
                    <a:pt x="71777" y="88094"/>
                    <a:pt x="79936" y="85375"/>
                    <a:pt x="88094" y="82655"/>
                  </a:cubicBezTo>
                  <a:cubicBezTo>
                    <a:pt x="104412" y="79935"/>
                    <a:pt x="131609" y="77216"/>
                    <a:pt x="145207" y="77216"/>
                  </a:cubicBezTo>
                  <a:cubicBezTo>
                    <a:pt x="145207" y="77216"/>
                    <a:pt x="145207" y="77216"/>
                    <a:pt x="145207" y="77216"/>
                  </a:cubicBezTo>
                  <a:cubicBezTo>
                    <a:pt x="145207" y="74496"/>
                    <a:pt x="150646" y="71776"/>
                    <a:pt x="153366" y="69057"/>
                  </a:cubicBezTo>
                  <a:cubicBezTo>
                    <a:pt x="161525" y="63617"/>
                    <a:pt x="169684" y="63617"/>
                    <a:pt x="177843" y="60898"/>
                  </a:cubicBezTo>
                  <a:cubicBezTo>
                    <a:pt x="183282" y="58178"/>
                    <a:pt x="191441" y="58178"/>
                    <a:pt x="196881" y="58178"/>
                  </a:cubicBezTo>
                  <a:cubicBezTo>
                    <a:pt x="199600" y="58178"/>
                    <a:pt x="202320" y="58178"/>
                    <a:pt x="205040" y="58178"/>
                  </a:cubicBezTo>
                  <a:cubicBezTo>
                    <a:pt x="207759" y="58178"/>
                    <a:pt x="213199" y="60898"/>
                    <a:pt x="215919" y="63617"/>
                  </a:cubicBezTo>
                  <a:cubicBezTo>
                    <a:pt x="221358" y="66337"/>
                    <a:pt x="224077" y="66337"/>
                    <a:pt x="229517" y="69057"/>
                  </a:cubicBezTo>
                  <a:cubicBezTo>
                    <a:pt x="237675" y="71776"/>
                    <a:pt x="245835" y="77216"/>
                    <a:pt x="256713" y="77216"/>
                  </a:cubicBezTo>
                  <a:cubicBezTo>
                    <a:pt x="259433" y="77216"/>
                    <a:pt x="262153" y="77216"/>
                    <a:pt x="264872" y="77216"/>
                  </a:cubicBezTo>
                  <a:cubicBezTo>
                    <a:pt x="270312" y="77216"/>
                    <a:pt x="275751" y="77216"/>
                    <a:pt x="281190" y="77216"/>
                  </a:cubicBezTo>
                  <a:cubicBezTo>
                    <a:pt x="292069" y="77216"/>
                    <a:pt x="321985" y="77216"/>
                    <a:pt x="330144" y="77216"/>
                  </a:cubicBezTo>
                  <a:cubicBezTo>
                    <a:pt x="338303" y="77216"/>
                    <a:pt x="349182" y="77216"/>
                    <a:pt x="357341" y="79935"/>
                  </a:cubicBezTo>
                  <a:cubicBezTo>
                    <a:pt x="368219" y="79935"/>
                    <a:pt x="379098" y="82655"/>
                    <a:pt x="387257" y="82655"/>
                  </a:cubicBezTo>
                  <a:cubicBezTo>
                    <a:pt x="392696" y="82655"/>
                    <a:pt x="400855" y="85375"/>
                    <a:pt x="406295" y="85375"/>
                  </a:cubicBezTo>
                  <a:cubicBezTo>
                    <a:pt x="409014" y="82655"/>
                    <a:pt x="414453" y="79935"/>
                    <a:pt x="417173" y="79935"/>
                  </a:cubicBezTo>
                  <a:cubicBezTo>
                    <a:pt x="419893" y="79935"/>
                    <a:pt x="422612" y="79935"/>
                    <a:pt x="425332" y="85375"/>
                  </a:cubicBezTo>
                  <a:cubicBezTo>
                    <a:pt x="428052" y="90814"/>
                    <a:pt x="433491" y="98973"/>
                    <a:pt x="433491" y="104412"/>
                  </a:cubicBezTo>
                  <a:cubicBezTo>
                    <a:pt x="436211" y="131609"/>
                    <a:pt x="436211" y="120730"/>
                    <a:pt x="436211" y="137048"/>
                  </a:cubicBezTo>
                  <a:cubicBezTo>
                    <a:pt x="438930" y="158805"/>
                    <a:pt x="438930" y="158805"/>
                    <a:pt x="438930" y="183282"/>
                  </a:cubicBezTo>
                  <a:cubicBezTo>
                    <a:pt x="438930" y="194161"/>
                    <a:pt x="438930" y="218638"/>
                    <a:pt x="422612" y="218638"/>
                  </a:cubicBezTo>
                  <a:cubicBezTo>
                    <a:pt x="414453" y="218638"/>
                    <a:pt x="411734" y="215918"/>
                    <a:pt x="406295" y="213198"/>
                  </a:cubicBezTo>
                  <a:cubicBezTo>
                    <a:pt x="400855" y="210479"/>
                    <a:pt x="398136" y="202320"/>
                    <a:pt x="398136" y="196881"/>
                  </a:cubicBezTo>
                  <a:cubicBezTo>
                    <a:pt x="395416" y="188722"/>
                    <a:pt x="395416" y="183282"/>
                    <a:pt x="395416" y="175123"/>
                  </a:cubicBezTo>
                  <a:cubicBezTo>
                    <a:pt x="395416" y="169684"/>
                    <a:pt x="395416" y="164245"/>
                    <a:pt x="395416" y="153366"/>
                  </a:cubicBezTo>
                  <a:cubicBezTo>
                    <a:pt x="395416" y="145207"/>
                    <a:pt x="395416" y="134328"/>
                    <a:pt x="395416" y="126170"/>
                  </a:cubicBezTo>
                  <a:cubicBezTo>
                    <a:pt x="387257" y="128889"/>
                    <a:pt x="379098" y="128889"/>
                    <a:pt x="370939" y="128889"/>
                  </a:cubicBezTo>
                  <a:cubicBezTo>
                    <a:pt x="360060" y="128889"/>
                    <a:pt x="349182" y="128889"/>
                    <a:pt x="338303" y="131609"/>
                  </a:cubicBezTo>
                  <a:cubicBezTo>
                    <a:pt x="327424" y="131609"/>
                    <a:pt x="319265" y="134328"/>
                    <a:pt x="286629" y="134328"/>
                  </a:cubicBezTo>
                  <a:cubicBezTo>
                    <a:pt x="281190" y="134328"/>
                    <a:pt x="278470" y="134328"/>
                    <a:pt x="273031" y="137048"/>
                  </a:cubicBezTo>
                  <a:cubicBezTo>
                    <a:pt x="270312" y="137048"/>
                    <a:pt x="264872" y="137048"/>
                    <a:pt x="262153" y="142487"/>
                  </a:cubicBezTo>
                  <a:cubicBezTo>
                    <a:pt x="259433" y="145207"/>
                    <a:pt x="259433" y="150647"/>
                    <a:pt x="259433" y="153366"/>
                  </a:cubicBezTo>
                  <a:cubicBezTo>
                    <a:pt x="259433" y="158805"/>
                    <a:pt x="259433" y="164245"/>
                    <a:pt x="262153" y="166964"/>
                  </a:cubicBezTo>
                  <a:cubicBezTo>
                    <a:pt x="262153" y="177843"/>
                    <a:pt x="262153" y="186002"/>
                    <a:pt x="262153" y="196881"/>
                  </a:cubicBezTo>
                  <a:cubicBezTo>
                    <a:pt x="262153" y="202320"/>
                    <a:pt x="262153" y="210479"/>
                    <a:pt x="262153" y="215918"/>
                  </a:cubicBezTo>
                  <a:cubicBezTo>
                    <a:pt x="262153" y="229516"/>
                    <a:pt x="262153" y="240395"/>
                    <a:pt x="262153" y="251274"/>
                  </a:cubicBezTo>
                  <a:cubicBezTo>
                    <a:pt x="262153" y="259433"/>
                    <a:pt x="259433" y="270311"/>
                    <a:pt x="259433" y="278470"/>
                  </a:cubicBezTo>
                  <a:cubicBezTo>
                    <a:pt x="259433" y="289349"/>
                    <a:pt x="259433" y="297508"/>
                    <a:pt x="259433" y="308386"/>
                  </a:cubicBezTo>
                  <a:cubicBezTo>
                    <a:pt x="259433" y="313826"/>
                    <a:pt x="259433" y="319265"/>
                    <a:pt x="259433" y="321985"/>
                  </a:cubicBezTo>
                  <a:cubicBezTo>
                    <a:pt x="259433" y="324704"/>
                    <a:pt x="259433" y="330144"/>
                    <a:pt x="259433" y="332863"/>
                  </a:cubicBezTo>
                  <a:cubicBezTo>
                    <a:pt x="262153" y="335583"/>
                    <a:pt x="264872" y="335583"/>
                    <a:pt x="267592" y="335583"/>
                  </a:cubicBezTo>
                  <a:cubicBezTo>
                    <a:pt x="273031" y="335583"/>
                    <a:pt x="275751" y="335583"/>
                    <a:pt x="281190" y="335583"/>
                  </a:cubicBezTo>
                  <a:cubicBezTo>
                    <a:pt x="311107" y="335583"/>
                    <a:pt x="319265" y="335583"/>
                    <a:pt x="327424" y="338303"/>
                  </a:cubicBezTo>
                  <a:cubicBezTo>
                    <a:pt x="335583" y="341022"/>
                    <a:pt x="343742" y="341022"/>
                    <a:pt x="351901" y="341022"/>
                  </a:cubicBezTo>
                  <a:cubicBezTo>
                    <a:pt x="351901" y="338303"/>
                    <a:pt x="351901" y="338303"/>
                    <a:pt x="351901" y="335583"/>
                  </a:cubicBezTo>
                  <a:cubicBezTo>
                    <a:pt x="351901" y="327424"/>
                    <a:pt x="351901" y="319265"/>
                    <a:pt x="351901" y="313826"/>
                  </a:cubicBezTo>
                  <a:cubicBezTo>
                    <a:pt x="351901" y="305667"/>
                    <a:pt x="351901" y="294788"/>
                    <a:pt x="357341" y="289349"/>
                  </a:cubicBezTo>
                  <a:cubicBezTo>
                    <a:pt x="360060" y="281190"/>
                    <a:pt x="368219" y="273031"/>
                    <a:pt x="373658" y="273031"/>
                  </a:cubicBezTo>
                  <a:cubicBezTo>
                    <a:pt x="376378" y="273031"/>
                    <a:pt x="379098" y="273031"/>
                    <a:pt x="381817" y="278470"/>
                  </a:cubicBezTo>
                  <a:cubicBezTo>
                    <a:pt x="384537" y="283909"/>
                    <a:pt x="387257" y="292068"/>
                    <a:pt x="389977" y="300228"/>
                  </a:cubicBezTo>
                  <a:cubicBezTo>
                    <a:pt x="392696" y="316545"/>
                    <a:pt x="392696" y="335583"/>
                    <a:pt x="395416" y="351901"/>
                  </a:cubicBezTo>
                  <a:cubicBezTo>
                    <a:pt x="398136" y="373658"/>
                    <a:pt x="398136" y="384537"/>
                    <a:pt x="398136" y="409014"/>
                  </a:cubicBezTo>
                  <a:cubicBezTo>
                    <a:pt x="398136" y="422612"/>
                    <a:pt x="398136" y="444369"/>
                    <a:pt x="381817" y="444369"/>
                  </a:cubicBezTo>
                  <a:cubicBezTo>
                    <a:pt x="373658" y="444369"/>
                    <a:pt x="370939" y="441650"/>
                    <a:pt x="365500" y="438930"/>
                  </a:cubicBezTo>
                  <a:cubicBezTo>
                    <a:pt x="360060" y="436210"/>
                    <a:pt x="357341" y="428051"/>
                    <a:pt x="357341" y="422612"/>
                  </a:cubicBezTo>
                  <a:cubicBezTo>
                    <a:pt x="354621" y="414453"/>
                    <a:pt x="354621" y="409014"/>
                    <a:pt x="354621" y="400855"/>
                  </a:cubicBezTo>
                  <a:cubicBezTo>
                    <a:pt x="354621" y="395415"/>
                    <a:pt x="354621" y="389976"/>
                    <a:pt x="354621" y="381817"/>
                  </a:cubicBezTo>
                  <a:cubicBezTo>
                    <a:pt x="335583" y="381817"/>
                    <a:pt x="308387" y="384537"/>
                    <a:pt x="270312" y="381817"/>
                  </a:cubicBezTo>
                  <a:cubicBezTo>
                    <a:pt x="262153" y="381817"/>
                    <a:pt x="256713" y="387256"/>
                    <a:pt x="256713" y="395415"/>
                  </a:cubicBezTo>
                  <a:cubicBezTo>
                    <a:pt x="256713" y="403574"/>
                    <a:pt x="256713" y="414453"/>
                    <a:pt x="253994" y="422612"/>
                  </a:cubicBezTo>
                  <a:cubicBezTo>
                    <a:pt x="253994" y="425332"/>
                    <a:pt x="253994" y="430771"/>
                    <a:pt x="253994" y="433490"/>
                  </a:cubicBezTo>
                  <a:cubicBezTo>
                    <a:pt x="253994" y="438930"/>
                    <a:pt x="253994" y="444369"/>
                    <a:pt x="253994" y="449809"/>
                  </a:cubicBezTo>
                  <a:cubicBezTo>
                    <a:pt x="253994" y="457967"/>
                    <a:pt x="256713" y="466126"/>
                    <a:pt x="256713" y="474285"/>
                  </a:cubicBezTo>
                  <a:cubicBezTo>
                    <a:pt x="256713" y="482444"/>
                    <a:pt x="256713" y="490603"/>
                    <a:pt x="256713" y="496043"/>
                  </a:cubicBezTo>
                  <a:cubicBezTo>
                    <a:pt x="256713" y="509641"/>
                    <a:pt x="259433" y="520520"/>
                    <a:pt x="259433" y="534118"/>
                  </a:cubicBezTo>
                  <a:cubicBezTo>
                    <a:pt x="259433" y="553155"/>
                    <a:pt x="259433" y="572193"/>
                    <a:pt x="259433" y="591231"/>
                  </a:cubicBezTo>
                  <a:cubicBezTo>
                    <a:pt x="259433" y="602109"/>
                    <a:pt x="262153" y="610268"/>
                    <a:pt x="262153" y="618427"/>
                  </a:cubicBezTo>
                  <a:cubicBezTo>
                    <a:pt x="264872" y="626586"/>
                    <a:pt x="262153" y="642904"/>
                    <a:pt x="267592" y="648343"/>
                  </a:cubicBezTo>
                  <a:cubicBezTo>
                    <a:pt x="270312" y="651063"/>
                    <a:pt x="275751" y="651063"/>
                    <a:pt x="292069" y="651063"/>
                  </a:cubicBezTo>
                  <a:cubicBezTo>
                    <a:pt x="305667" y="651063"/>
                    <a:pt x="319265" y="651063"/>
                    <a:pt x="327424" y="651063"/>
                  </a:cubicBezTo>
                  <a:cubicBezTo>
                    <a:pt x="338303" y="651063"/>
                    <a:pt x="351901" y="653783"/>
                    <a:pt x="362780" y="653783"/>
                  </a:cubicBezTo>
                  <a:cubicBezTo>
                    <a:pt x="376378" y="653783"/>
                    <a:pt x="384537" y="651063"/>
                    <a:pt x="395416" y="648343"/>
                  </a:cubicBezTo>
                  <a:cubicBezTo>
                    <a:pt x="395416" y="637465"/>
                    <a:pt x="395416" y="629306"/>
                    <a:pt x="395416" y="618427"/>
                  </a:cubicBezTo>
                  <a:cubicBezTo>
                    <a:pt x="395416" y="610268"/>
                    <a:pt x="395416" y="602109"/>
                    <a:pt x="395416" y="596670"/>
                  </a:cubicBezTo>
                  <a:cubicBezTo>
                    <a:pt x="395416" y="591231"/>
                    <a:pt x="395416" y="585791"/>
                    <a:pt x="398136" y="574913"/>
                  </a:cubicBezTo>
                  <a:cubicBezTo>
                    <a:pt x="400855" y="569473"/>
                    <a:pt x="400855" y="564034"/>
                    <a:pt x="406295" y="558595"/>
                  </a:cubicBezTo>
                  <a:cubicBezTo>
                    <a:pt x="411734" y="553155"/>
                    <a:pt x="414453" y="553155"/>
                    <a:pt x="422612" y="553155"/>
                  </a:cubicBezTo>
                  <a:cubicBezTo>
                    <a:pt x="436211" y="553155"/>
                    <a:pt x="438930" y="577632"/>
                    <a:pt x="438930" y="588511"/>
                  </a:cubicBezTo>
                  <a:cubicBezTo>
                    <a:pt x="438930" y="612988"/>
                    <a:pt x="438930" y="623866"/>
                    <a:pt x="436211" y="645624"/>
                  </a:cubicBezTo>
                  <a:cubicBezTo>
                    <a:pt x="433491" y="648343"/>
                    <a:pt x="433491" y="648343"/>
                    <a:pt x="433491" y="651063"/>
                  </a:cubicBezTo>
                  <a:lnTo>
                    <a:pt x="433491" y="651063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283C7F09-BDBA-419E-A82F-29A47CF06020}"/>
                </a:ext>
              </a:extLst>
            </p:cNvPr>
            <p:cNvSpPr/>
            <p:nvPr/>
          </p:nvSpPr>
          <p:spPr>
            <a:xfrm>
              <a:off x="7912732" y="4250336"/>
              <a:ext cx="465062" cy="658157"/>
            </a:xfrm>
            <a:custGeom>
              <a:avLst/>
              <a:gdLst>
                <a:gd name="connsiteX0" fmla="*/ 193096 w 465062"/>
                <a:gd name="connsiteY0" fmla="*/ 59832 h 658157"/>
                <a:gd name="connsiteX1" fmla="*/ 193096 w 465062"/>
                <a:gd name="connsiteY1" fmla="*/ 114226 h 658157"/>
                <a:gd name="connsiteX2" fmla="*/ 198536 w 465062"/>
                <a:gd name="connsiteY2" fmla="*/ 209414 h 658157"/>
                <a:gd name="connsiteX3" fmla="*/ 201255 w 465062"/>
                <a:gd name="connsiteY3" fmla="*/ 282845 h 658157"/>
                <a:gd name="connsiteX4" fmla="*/ 203975 w 465062"/>
                <a:gd name="connsiteY4" fmla="*/ 315481 h 658157"/>
                <a:gd name="connsiteX5" fmla="*/ 203975 w 465062"/>
                <a:gd name="connsiteY5" fmla="*/ 320920 h 658157"/>
                <a:gd name="connsiteX6" fmla="*/ 212134 w 465062"/>
                <a:gd name="connsiteY6" fmla="*/ 329079 h 658157"/>
                <a:gd name="connsiteX7" fmla="*/ 223013 w 465062"/>
                <a:gd name="connsiteY7" fmla="*/ 329079 h 658157"/>
                <a:gd name="connsiteX8" fmla="*/ 239331 w 465062"/>
                <a:gd name="connsiteY8" fmla="*/ 329079 h 658157"/>
                <a:gd name="connsiteX9" fmla="*/ 280126 w 465062"/>
                <a:gd name="connsiteY9" fmla="*/ 312761 h 658157"/>
                <a:gd name="connsiteX10" fmla="*/ 296443 w 465062"/>
                <a:gd name="connsiteY10" fmla="*/ 288284 h 658157"/>
                <a:gd name="connsiteX11" fmla="*/ 304602 w 465062"/>
                <a:gd name="connsiteY11" fmla="*/ 258368 h 658157"/>
                <a:gd name="connsiteX12" fmla="*/ 312761 w 465062"/>
                <a:gd name="connsiteY12" fmla="*/ 225732 h 658157"/>
                <a:gd name="connsiteX13" fmla="*/ 315481 w 465062"/>
                <a:gd name="connsiteY13" fmla="*/ 195816 h 658157"/>
                <a:gd name="connsiteX14" fmla="*/ 318201 w 465062"/>
                <a:gd name="connsiteY14" fmla="*/ 168619 h 658157"/>
                <a:gd name="connsiteX15" fmla="*/ 312761 w 465062"/>
                <a:gd name="connsiteY15" fmla="*/ 135983 h 658157"/>
                <a:gd name="connsiteX16" fmla="*/ 312761 w 465062"/>
                <a:gd name="connsiteY16" fmla="*/ 122385 h 658157"/>
                <a:gd name="connsiteX17" fmla="*/ 293724 w 465062"/>
                <a:gd name="connsiteY17" fmla="*/ 84309 h 658157"/>
                <a:gd name="connsiteX18" fmla="*/ 280126 w 465062"/>
                <a:gd name="connsiteY18" fmla="*/ 73430 h 658157"/>
                <a:gd name="connsiteX19" fmla="*/ 258368 w 465062"/>
                <a:gd name="connsiteY19" fmla="*/ 62552 h 658157"/>
                <a:gd name="connsiteX20" fmla="*/ 217573 w 465062"/>
                <a:gd name="connsiteY20" fmla="*/ 59832 h 658157"/>
                <a:gd name="connsiteX21" fmla="*/ 111506 w 465062"/>
                <a:gd name="connsiteY21" fmla="*/ 0 h 658157"/>
                <a:gd name="connsiteX22" fmla="*/ 127824 w 465062"/>
                <a:gd name="connsiteY22" fmla="*/ 0 h 658157"/>
                <a:gd name="connsiteX23" fmla="*/ 157741 w 465062"/>
                <a:gd name="connsiteY23" fmla="*/ 5440 h 658157"/>
                <a:gd name="connsiteX24" fmla="*/ 179497 w 465062"/>
                <a:gd name="connsiteY24" fmla="*/ 16318 h 658157"/>
                <a:gd name="connsiteX25" fmla="*/ 209414 w 465062"/>
                <a:gd name="connsiteY25" fmla="*/ 16318 h 658157"/>
                <a:gd name="connsiteX26" fmla="*/ 247489 w 465062"/>
                <a:gd name="connsiteY26" fmla="*/ 16318 h 658157"/>
                <a:gd name="connsiteX27" fmla="*/ 266527 w 465062"/>
                <a:gd name="connsiteY27" fmla="*/ 16318 h 658157"/>
                <a:gd name="connsiteX28" fmla="*/ 312761 w 465062"/>
                <a:gd name="connsiteY28" fmla="*/ 27197 h 658157"/>
                <a:gd name="connsiteX29" fmla="*/ 337238 w 465062"/>
                <a:gd name="connsiteY29" fmla="*/ 38075 h 658157"/>
                <a:gd name="connsiteX30" fmla="*/ 364434 w 465062"/>
                <a:gd name="connsiteY30" fmla="*/ 54393 h 658157"/>
                <a:gd name="connsiteX31" fmla="*/ 386192 w 465062"/>
                <a:gd name="connsiteY31" fmla="*/ 73431 h 658157"/>
                <a:gd name="connsiteX32" fmla="*/ 407949 w 465062"/>
                <a:gd name="connsiteY32" fmla="*/ 103347 h 658157"/>
                <a:gd name="connsiteX33" fmla="*/ 416108 w 465062"/>
                <a:gd name="connsiteY33" fmla="*/ 141422 h 658157"/>
                <a:gd name="connsiteX34" fmla="*/ 418828 w 465062"/>
                <a:gd name="connsiteY34" fmla="*/ 163179 h 658157"/>
                <a:gd name="connsiteX35" fmla="*/ 418828 w 465062"/>
                <a:gd name="connsiteY35" fmla="*/ 171339 h 658157"/>
                <a:gd name="connsiteX36" fmla="*/ 421547 w 465062"/>
                <a:gd name="connsiteY36" fmla="*/ 187656 h 658157"/>
                <a:gd name="connsiteX37" fmla="*/ 418828 w 465062"/>
                <a:gd name="connsiteY37" fmla="*/ 206694 h 658157"/>
                <a:gd name="connsiteX38" fmla="*/ 416108 w 465062"/>
                <a:gd name="connsiteY38" fmla="*/ 233891 h 658157"/>
                <a:gd name="connsiteX39" fmla="*/ 405229 w 465062"/>
                <a:gd name="connsiteY39" fmla="*/ 263807 h 658157"/>
                <a:gd name="connsiteX40" fmla="*/ 394351 w 465062"/>
                <a:gd name="connsiteY40" fmla="*/ 274686 h 658157"/>
                <a:gd name="connsiteX41" fmla="*/ 388912 w 465062"/>
                <a:gd name="connsiteY41" fmla="*/ 285564 h 658157"/>
                <a:gd name="connsiteX42" fmla="*/ 369874 w 465062"/>
                <a:gd name="connsiteY42" fmla="*/ 304602 h 658157"/>
                <a:gd name="connsiteX43" fmla="*/ 358995 w 465062"/>
                <a:gd name="connsiteY43" fmla="*/ 310041 h 658157"/>
                <a:gd name="connsiteX44" fmla="*/ 348117 w 465062"/>
                <a:gd name="connsiteY44" fmla="*/ 320920 h 658157"/>
                <a:gd name="connsiteX45" fmla="*/ 326359 w 465062"/>
                <a:gd name="connsiteY45" fmla="*/ 339957 h 658157"/>
                <a:gd name="connsiteX46" fmla="*/ 312761 w 465062"/>
                <a:gd name="connsiteY46" fmla="*/ 353555 h 658157"/>
                <a:gd name="connsiteX47" fmla="*/ 337238 w 465062"/>
                <a:gd name="connsiteY47" fmla="*/ 380752 h 658157"/>
                <a:gd name="connsiteX48" fmla="*/ 358995 w 465062"/>
                <a:gd name="connsiteY48" fmla="*/ 421547 h 658157"/>
                <a:gd name="connsiteX49" fmla="*/ 372593 w 465062"/>
                <a:gd name="connsiteY49" fmla="*/ 459622 h 658157"/>
                <a:gd name="connsiteX50" fmla="*/ 386192 w 465062"/>
                <a:gd name="connsiteY50" fmla="*/ 514015 h 658157"/>
                <a:gd name="connsiteX51" fmla="*/ 407949 w 465062"/>
                <a:gd name="connsiteY51" fmla="*/ 568408 h 658157"/>
                <a:gd name="connsiteX52" fmla="*/ 421547 w 465062"/>
                <a:gd name="connsiteY52" fmla="*/ 598324 h 658157"/>
                <a:gd name="connsiteX53" fmla="*/ 451463 w 465062"/>
                <a:gd name="connsiteY53" fmla="*/ 628241 h 658157"/>
                <a:gd name="connsiteX54" fmla="*/ 465062 w 465062"/>
                <a:gd name="connsiteY54" fmla="*/ 644559 h 658157"/>
                <a:gd name="connsiteX55" fmla="*/ 462342 w 465062"/>
                <a:gd name="connsiteY55" fmla="*/ 649998 h 658157"/>
                <a:gd name="connsiteX56" fmla="*/ 437865 w 465062"/>
                <a:gd name="connsiteY56" fmla="*/ 658157 h 658157"/>
                <a:gd name="connsiteX57" fmla="*/ 361715 w 465062"/>
                <a:gd name="connsiteY57" fmla="*/ 622801 h 658157"/>
                <a:gd name="connsiteX58" fmla="*/ 320920 w 465062"/>
                <a:gd name="connsiteY58" fmla="*/ 565689 h 658157"/>
                <a:gd name="connsiteX59" fmla="*/ 304602 w 465062"/>
                <a:gd name="connsiteY59" fmla="*/ 530333 h 658157"/>
                <a:gd name="connsiteX60" fmla="*/ 293723 w 465062"/>
                <a:gd name="connsiteY60" fmla="*/ 497697 h 658157"/>
                <a:gd name="connsiteX61" fmla="*/ 282845 w 465062"/>
                <a:gd name="connsiteY61" fmla="*/ 462342 h 658157"/>
                <a:gd name="connsiteX62" fmla="*/ 269246 w 465062"/>
                <a:gd name="connsiteY62" fmla="*/ 424267 h 658157"/>
                <a:gd name="connsiteX63" fmla="*/ 255648 w 465062"/>
                <a:gd name="connsiteY63" fmla="*/ 391631 h 658157"/>
                <a:gd name="connsiteX64" fmla="*/ 236610 w 465062"/>
                <a:gd name="connsiteY64" fmla="*/ 367154 h 658157"/>
                <a:gd name="connsiteX65" fmla="*/ 217573 w 465062"/>
                <a:gd name="connsiteY65" fmla="*/ 361714 h 658157"/>
                <a:gd name="connsiteX66" fmla="*/ 201255 w 465062"/>
                <a:gd name="connsiteY66" fmla="*/ 361714 h 658157"/>
                <a:gd name="connsiteX67" fmla="*/ 198535 w 465062"/>
                <a:gd name="connsiteY67" fmla="*/ 367154 h 658157"/>
                <a:gd name="connsiteX68" fmla="*/ 201255 w 465062"/>
                <a:gd name="connsiteY68" fmla="*/ 388911 h 658157"/>
                <a:gd name="connsiteX69" fmla="*/ 198535 w 465062"/>
                <a:gd name="connsiteY69" fmla="*/ 426986 h 658157"/>
                <a:gd name="connsiteX70" fmla="*/ 203975 w 465062"/>
                <a:gd name="connsiteY70" fmla="*/ 478660 h 658157"/>
                <a:gd name="connsiteX71" fmla="*/ 198535 w 465062"/>
                <a:gd name="connsiteY71" fmla="*/ 552090 h 658157"/>
                <a:gd name="connsiteX72" fmla="*/ 195816 w 465062"/>
                <a:gd name="connsiteY72" fmla="*/ 576567 h 658157"/>
                <a:gd name="connsiteX73" fmla="*/ 198535 w 465062"/>
                <a:gd name="connsiteY73" fmla="*/ 592885 h 658157"/>
                <a:gd name="connsiteX74" fmla="*/ 233891 w 465062"/>
                <a:gd name="connsiteY74" fmla="*/ 592885 h 658157"/>
                <a:gd name="connsiteX75" fmla="*/ 271966 w 465062"/>
                <a:gd name="connsiteY75" fmla="*/ 611923 h 658157"/>
                <a:gd name="connsiteX76" fmla="*/ 266527 w 465062"/>
                <a:gd name="connsiteY76" fmla="*/ 628241 h 658157"/>
                <a:gd name="connsiteX77" fmla="*/ 250209 w 465062"/>
                <a:gd name="connsiteY77" fmla="*/ 636400 h 658157"/>
                <a:gd name="connsiteX78" fmla="*/ 228451 w 465062"/>
                <a:gd name="connsiteY78" fmla="*/ 639119 h 658157"/>
                <a:gd name="connsiteX79" fmla="*/ 187657 w 465062"/>
                <a:gd name="connsiteY79" fmla="*/ 639119 h 658157"/>
                <a:gd name="connsiteX80" fmla="*/ 152301 w 465062"/>
                <a:gd name="connsiteY80" fmla="*/ 652717 h 658157"/>
                <a:gd name="connsiteX81" fmla="*/ 133263 w 465062"/>
                <a:gd name="connsiteY81" fmla="*/ 655437 h 658157"/>
                <a:gd name="connsiteX82" fmla="*/ 122385 w 465062"/>
                <a:gd name="connsiteY82" fmla="*/ 652717 h 658157"/>
                <a:gd name="connsiteX83" fmla="*/ 97908 w 465062"/>
                <a:gd name="connsiteY83" fmla="*/ 639119 h 658157"/>
                <a:gd name="connsiteX84" fmla="*/ 70711 w 465062"/>
                <a:gd name="connsiteY84" fmla="*/ 639119 h 658157"/>
                <a:gd name="connsiteX85" fmla="*/ 46234 w 465062"/>
                <a:gd name="connsiteY85" fmla="*/ 639119 h 658157"/>
                <a:gd name="connsiteX86" fmla="*/ 19038 w 465062"/>
                <a:gd name="connsiteY86" fmla="*/ 630960 h 658157"/>
                <a:gd name="connsiteX87" fmla="*/ 2720 w 465062"/>
                <a:gd name="connsiteY87" fmla="*/ 614642 h 658157"/>
                <a:gd name="connsiteX88" fmla="*/ 8159 w 465062"/>
                <a:gd name="connsiteY88" fmla="*/ 606483 h 658157"/>
                <a:gd name="connsiteX89" fmla="*/ 29916 w 465062"/>
                <a:gd name="connsiteY89" fmla="*/ 598324 h 658157"/>
                <a:gd name="connsiteX90" fmla="*/ 76151 w 465062"/>
                <a:gd name="connsiteY90" fmla="*/ 592885 h 658157"/>
                <a:gd name="connsiteX91" fmla="*/ 73431 w 465062"/>
                <a:gd name="connsiteY91" fmla="*/ 573848 h 658157"/>
                <a:gd name="connsiteX92" fmla="*/ 70711 w 465062"/>
                <a:gd name="connsiteY92" fmla="*/ 500417 h 658157"/>
                <a:gd name="connsiteX93" fmla="*/ 73431 w 465062"/>
                <a:gd name="connsiteY93" fmla="*/ 437865 h 658157"/>
                <a:gd name="connsiteX94" fmla="*/ 70711 w 465062"/>
                <a:gd name="connsiteY94" fmla="*/ 369873 h 658157"/>
                <a:gd name="connsiteX95" fmla="*/ 70711 w 465062"/>
                <a:gd name="connsiteY95" fmla="*/ 293723 h 658157"/>
                <a:gd name="connsiteX96" fmla="*/ 73431 w 465062"/>
                <a:gd name="connsiteY96" fmla="*/ 212133 h 658157"/>
                <a:gd name="connsiteX97" fmla="*/ 76151 w 465062"/>
                <a:gd name="connsiteY97" fmla="*/ 155021 h 658157"/>
                <a:gd name="connsiteX98" fmla="*/ 76151 w 465062"/>
                <a:gd name="connsiteY98" fmla="*/ 119665 h 658157"/>
                <a:gd name="connsiteX99" fmla="*/ 78870 w 465062"/>
                <a:gd name="connsiteY99" fmla="*/ 84310 h 658157"/>
                <a:gd name="connsiteX100" fmla="*/ 76151 w 465062"/>
                <a:gd name="connsiteY100" fmla="*/ 62552 h 658157"/>
                <a:gd name="connsiteX101" fmla="*/ 67992 w 465062"/>
                <a:gd name="connsiteY101" fmla="*/ 62552 h 658157"/>
                <a:gd name="connsiteX102" fmla="*/ 43515 w 465062"/>
                <a:gd name="connsiteY102" fmla="*/ 62552 h 658157"/>
                <a:gd name="connsiteX103" fmla="*/ 16318 w 465062"/>
                <a:gd name="connsiteY103" fmla="*/ 57113 h 658157"/>
                <a:gd name="connsiteX104" fmla="*/ 0 w 465062"/>
                <a:gd name="connsiteY104" fmla="*/ 40795 h 658157"/>
                <a:gd name="connsiteX105" fmla="*/ 5439 w 465062"/>
                <a:gd name="connsiteY105" fmla="*/ 32636 h 658157"/>
                <a:gd name="connsiteX106" fmla="*/ 27197 w 465062"/>
                <a:gd name="connsiteY106" fmla="*/ 24477 h 658157"/>
                <a:gd name="connsiteX107" fmla="*/ 76151 w 465062"/>
                <a:gd name="connsiteY107" fmla="*/ 19038 h 658157"/>
                <a:gd name="connsiteX108" fmla="*/ 78870 w 465062"/>
                <a:gd name="connsiteY108" fmla="*/ 13598 h 658157"/>
                <a:gd name="connsiteX109" fmla="*/ 95188 w 465062"/>
                <a:gd name="connsiteY109" fmla="*/ 5440 h 658157"/>
                <a:gd name="connsiteX110" fmla="*/ 111506 w 465062"/>
                <a:gd name="connsiteY110" fmla="*/ 0 h 65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465062" h="658157">
                  <a:moveTo>
                    <a:pt x="193096" y="59832"/>
                  </a:moveTo>
                  <a:cubicBezTo>
                    <a:pt x="193096" y="73430"/>
                    <a:pt x="193096" y="89748"/>
                    <a:pt x="193096" y="114226"/>
                  </a:cubicBezTo>
                  <a:cubicBezTo>
                    <a:pt x="193096" y="144142"/>
                    <a:pt x="195816" y="176778"/>
                    <a:pt x="198536" y="209414"/>
                  </a:cubicBezTo>
                  <a:cubicBezTo>
                    <a:pt x="198536" y="247489"/>
                    <a:pt x="201255" y="277406"/>
                    <a:pt x="201255" y="282845"/>
                  </a:cubicBezTo>
                  <a:cubicBezTo>
                    <a:pt x="201255" y="293723"/>
                    <a:pt x="203975" y="304602"/>
                    <a:pt x="203975" y="315481"/>
                  </a:cubicBezTo>
                  <a:cubicBezTo>
                    <a:pt x="203975" y="318200"/>
                    <a:pt x="203975" y="318200"/>
                    <a:pt x="203975" y="320920"/>
                  </a:cubicBezTo>
                  <a:cubicBezTo>
                    <a:pt x="203975" y="326359"/>
                    <a:pt x="206695" y="329079"/>
                    <a:pt x="212134" y="329079"/>
                  </a:cubicBezTo>
                  <a:cubicBezTo>
                    <a:pt x="214854" y="329079"/>
                    <a:pt x="220293" y="329079"/>
                    <a:pt x="223013" y="329079"/>
                  </a:cubicBezTo>
                  <a:cubicBezTo>
                    <a:pt x="228452" y="329079"/>
                    <a:pt x="233891" y="329079"/>
                    <a:pt x="239331" y="329079"/>
                  </a:cubicBezTo>
                  <a:cubicBezTo>
                    <a:pt x="252929" y="329079"/>
                    <a:pt x="271967" y="323640"/>
                    <a:pt x="280126" y="312761"/>
                  </a:cubicBezTo>
                  <a:cubicBezTo>
                    <a:pt x="288284" y="304602"/>
                    <a:pt x="291004" y="299163"/>
                    <a:pt x="296443" y="288284"/>
                  </a:cubicBezTo>
                  <a:cubicBezTo>
                    <a:pt x="299163" y="277406"/>
                    <a:pt x="301883" y="269247"/>
                    <a:pt x="304602" y="258368"/>
                  </a:cubicBezTo>
                  <a:cubicBezTo>
                    <a:pt x="307322" y="244770"/>
                    <a:pt x="310042" y="239330"/>
                    <a:pt x="312761" y="225732"/>
                  </a:cubicBezTo>
                  <a:cubicBezTo>
                    <a:pt x="315481" y="212134"/>
                    <a:pt x="315481" y="209414"/>
                    <a:pt x="315481" y="195816"/>
                  </a:cubicBezTo>
                  <a:cubicBezTo>
                    <a:pt x="315481" y="179498"/>
                    <a:pt x="315481" y="184937"/>
                    <a:pt x="318201" y="168619"/>
                  </a:cubicBezTo>
                  <a:cubicBezTo>
                    <a:pt x="312761" y="152302"/>
                    <a:pt x="312761" y="149582"/>
                    <a:pt x="312761" y="135983"/>
                  </a:cubicBezTo>
                  <a:cubicBezTo>
                    <a:pt x="312761" y="133264"/>
                    <a:pt x="312761" y="127825"/>
                    <a:pt x="312761" y="122385"/>
                  </a:cubicBezTo>
                  <a:cubicBezTo>
                    <a:pt x="312761" y="111507"/>
                    <a:pt x="301883" y="95188"/>
                    <a:pt x="293724" y="84309"/>
                  </a:cubicBezTo>
                  <a:cubicBezTo>
                    <a:pt x="288284" y="78870"/>
                    <a:pt x="285565" y="76150"/>
                    <a:pt x="280126" y="73430"/>
                  </a:cubicBezTo>
                  <a:cubicBezTo>
                    <a:pt x="271967" y="67991"/>
                    <a:pt x="266527" y="65271"/>
                    <a:pt x="258368" y="62552"/>
                  </a:cubicBezTo>
                  <a:cubicBezTo>
                    <a:pt x="244770" y="59832"/>
                    <a:pt x="228452" y="59832"/>
                    <a:pt x="217573" y="59832"/>
                  </a:cubicBezTo>
                  <a:close/>
                  <a:moveTo>
                    <a:pt x="111506" y="0"/>
                  </a:moveTo>
                  <a:cubicBezTo>
                    <a:pt x="114226" y="0"/>
                    <a:pt x="122385" y="0"/>
                    <a:pt x="127824" y="0"/>
                  </a:cubicBezTo>
                  <a:cubicBezTo>
                    <a:pt x="135983" y="0"/>
                    <a:pt x="146862" y="2720"/>
                    <a:pt x="157741" y="5440"/>
                  </a:cubicBezTo>
                  <a:cubicBezTo>
                    <a:pt x="168619" y="8159"/>
                    <a:pt x="176778" y="10879"/>
                    <a:pt x="179497" y="16318"/>
                  </a:cubicBezTo>
                  <a:cubicBezTo>
                    <a:pt x="193096" y="16318"/>
                    <a:pt x="201255" y="16318"/>
                    <a:pt x="209414" y="16318"/>
                  </a:cubicBezTo>
                  <a:cubicBezTo>
                    <a:pt x="220292" y="16318"/>
                    <a:pt x="231171" y="16318"/>
                    <a:pt x="247489" y="16318"/>
                  </a:cubicBezTo>
                  <a:cubicBezTo>
                    <a:pt x="250209" y="16318"/>
                    <a:pt x="258368" y="16318"/>
                    <a:pt x="266527" y="16318"/>
                  </a:cubicBezTo>
                  <a:cubicBezTo>
                    <a:pt x="277405" y="16318"/>
                    <a:pt x="291004" y="21758"/>
                    <a:pt x="312761" y="27197"/>
                  </a:cubicBezTo>
                  <a:cubicBezTo>
                    <a:pt x="320920" y="29917"/>
                    <a:pt x="329079" y="35356"/>
                    <a:pt x="337238" y="38075"/>
                  </a:cubicBezTo>
                  <a:cubicBezTo>
                    <a:pt x="342677" y="40795"/>
                    <a:pt x="353556" y="48954"/>
                    <a:pt x="364434" y="54393"/>
                  </a:cubicBezTo>
                  <a:cubicBezTo>
                    <a:pt x="375313" y="62552"/>
                    <a:pt x="386192" y="67992"/>
                    <a:pt x="386192" y="73431"/>
                  </a:cubicBezTo>
                  <a:cubicBezTo>
                    <a:pt x="391631" y="84310"/>
                    <a:pt x="402510" y="92469"/>
                    <a:pt x="407949" y="103347"/>
                  </a:cubicBezTo>
                  <a:cubicBezTo>
                    <a:pt x="413388" y="116945"/>
                    <a:pt x="416108" y="130544"/>
                    <a:pt x="416108" y="141422"/>
                  </a:cubicBezTo>
                  <a:cubicBezTo>
                    <a:pt x="416108" y="152301"/>
                    <a:pt x="418828" y="157740"/>
                    <a:pt x="418828" y="163179"/>
                  </a:cubicBezTo>
                  <a:cubicBezTo>
                    <a:pt x="418828" y="165899"/>
                    <a:pt x="418828" y="168619"/>
                    <a:pt x="418828" y="171339"/>
                  </a:cubicBezTo>
                  <a:cubicBezTo>
                    <a:pt x="418828" y="174058"/>
                    <a:pt x="421547" y="182217"/>
                    <a:pt x="421547" y="187656"/>
                  </a:cubicBezTo>
                  <a:cubicBezTo>
                    <a:pt x="421547" y="193096"/>
                    <a:pt x="418828" y="201255"/>
                    <a:pt x="418828" y="206694"/>
                  </a:cubicBezTo>
                  <a:cubicBezTo>
                    <a:pt x="418828" y="217573"/>
                    <a:pt x="418828" y="223012"/>
                    <a:pt x="416108" y="233891"/>
                  </a:cubicBezTo>
                  <a:cubicBezTo>
                    <a:pt x="413388" y="244769"/>
                    <a:pt x="410668" y="255648"/>
                    <a:pt x="405229" y="263807"/>
                  </a:cubicBezTo>
                  <a:cubicBezTo>
                    <a:pt x="402510" y="269246"/>
                    <a:pt x="397070" y="269246"/>
                    <a:pt x="394351" y="274686"/>
                  </a:cubicBezTo>
                  <a:cubicBezTo>
                    <a:pt x="391631" y="277405"/>
                    <a:pt x="391631" y="282844"/>
                    <a:pt x="388912" y="285564"/>
                  </a:cubicBezTo>
                  <a:cubicBezTo>
                    <a:pt x="383472" y="291003"/>
                    <a:pt x="375313" y="301882"/>
                    <a:pt x="369874" y="304602"/>
                  </a:cubicBezTo>
                  <a:cubicBezTo>
                    <a:pt x="367154" y="307321"/>
                    <a:pt x="361715" y="307321"/>
                    <a:pt x="358995" y="310041"/>
                  </a:cubicBezTo>
                  <a:cubicBezTo>
                    <a:pt x="356275" y="312761"/>
                    <a:pt x="350836" y="318200"/>
                    <a:pt x="348117" y="320920"/>
                  </a:cubicBezTo>
                  <a:cubicBezTo>
                    <a:pt x="339958" y="326359"/>
                    <a:pt x="334518" y="334518"/>
                    <a:pt x="326359" y="339957"/>
                  </a:cubicBezTo>
                  <a:cubicBezTo>
                    <a:pt x="320920" y="342677"/>
                    <a:pt x="312761" y="342677"/>
                    <a:pt x="312761" y="353555"/>
                  </a:cubicBezTo>
                  <a:cubicBezTo>
                    <a:pt x="312761" y="361714"/>
                    <a:pt x="334518" y="372593"/>
                    <a:pt x="337238" y="380752"/>
                  </a:cubicBezTo>
                  <a:cubicBezTo>
                    <a:pt x="345397" y="394350"/>
                    <a:pt x="353556" y="407948"/>
                    <a:pt x="358995" y="421547"/>
                  </a:cubicBezTo>
                  <a:cubicBezTo>
                    <a:pt x="364434" y="435145"/>
                    <a:pt x="367154" y="446024"/>
                    <a:pt x="372593" y="459622"/>
                  </a:cubicBezTo>
                  <a:cubicBezTo>
                    <a:pt x="378033" y="478660"/>
                    <a:pt x="383472" y="494978"/>
                    <a:pt x="386192" y="514015"/>
                  </a:cubicBezTo>
                  <a:cubicBezTo>
                    <a:pt x="391631" y="533053"/>
                    <a:pt x="402510" y="549371"/>
                    <a:pt x="407949" y="568408"/>
                  </a:cubicBezTo>
                  <a:cubicBezTo>
                    <a:pt x="410668" y="579287"/>
                    <a:pt x="416108" y="590165"/>
                    <a:pt x="421547" y="598324"/>
                  </a:cubicBezTo>
                  <a:cubicBezTo>
                    <a:pt x="435146" y="614642"/>
                    <a:pt x="443305" y="622801"/>
                    <a:pt x="451463" y="628241"/>
                  </a:cubicBezTo>
                  <a:cubicBezTo>
                    <a:pt x="456903" y="630960"/>
                    <a:pt x="465062" y="636400"/>
                    <a:pt x="465062" y="644559"/>
                  </a:cubicBezTo>
                  <a:cubicBezTo>
                    <a:pt x="465062" y="647278"/>
                    <a:pt x="465062" y="647278"/>
                    <a:pt x="462342" y="649998"/>
                  </a:cubicBezTo>
                  <a:cubicBezTo>
                    <a:pt x="456903" y="655437"/>
                    <a:pt x="446024" y="658157"/>
                    <a:pt x="437865" y="658157"/>
                  </a:cubicBezTo>
                  <a:cubicBezTo>
                    <a:pt x="413388" y="658157"/>
                    <a:pt x="378033" y="641839"/>
                    <a:pt x="361715" y="622801"/>
                  </a:cubicBezTo>
                  <a:cubicBezTo>
                    <a:pt x="345397" y="606483"/>
                    <a:pt x="334518" y="584726"/>
                    <a:pt x="320920" y="565689"/>
                  </a:cubicBezTo>
                  <a:cubicBezTo>
                    <a:pt x="315480" y="554810"/>
                    <a:pt x="310041" y="543931"/>
                    <a:pt x="304602" y="530333"/>
                  </a:cubicBezTo>
                  <a:cubicBezTo>
                    <a:pt x="299163" y="519454"/>
                    <a:pt x="296443" y="508576"/>
                    <a:pt x="293723" y="497697"/>
                  </a:cubicBezTo>
                  <a:cubicBezTo>
                    <a:pt x="291004" y="486819"/>
                    <a:pt x="288284" y="473220"/>
                    <a:pt x="282845" y="462342"/>
                  </a:cubicBezTo>
                  <a:cubicBezTo>
                    <a:pt x="280125" y="448743"/>
                    <a:pt x="274686" y="437865"/>
                    <a:pt x="269246" y="424267"/>
                  </a:cubicBezTo>
                  <a:cubicBezTo>
                    <a:pt x="266527" y="416108"/>
                    <a:pt x="261087" y="402509"/>
                    <a:pt x="255648" y="391631"/>
                  </a:cubicBezTo>
                  <a:cubicBezTo>
                    <a:pt x="250209" y="380752"/>
                    <a:pt x="244770" y="375313"/>
                    <a:pt x="236610" y="367154"/>
                  </a:cubicBezTo>
                  <a:cubicBezTo>
                    <a:pt x="231171" y="361714"/>
                    <a:pt x="223012" y="361714"/>
                    <a:pt x="217573" y="361714"/>
                  </a:cubicBezTo>
                  <a:cubicBezTo>
                    <a:pt x="212134" y="361714"/>
                    <a:pt x="206694" y="361714"/>
                    <a:pt x="201255" y="361714"/>
                  </a:cubicBezTo>
                  <a:cubicBezTo>
                    <a:pt x="198535" y="361714"/>
                    <a:pt x="198535" y="364434"/>
                    <a:pt x="198535" y="367154"/>
                  </a:cubicBezTo>
                  <a:cubicBezTo>
                    <a:pt x="198535" y="375313"/>
                    <a:pt x="201255" y="386191"/>
                    <a:pt x="201255" y="388911"/>
                  </a:cubicBezTo>
                  <a:cubicBezTo>
                    <a:pt x="201255" y="402509"/>
                    <a:pt x="198535" y="413388"/>
                    <a:pt x="198535" y="426986"/>
                  </a:cubicBezTo>
                  <a:cubicBezTo>
                    <a:pt x="198535" y="446024"/>
                    <a:pt x="203975" y="456902"/>
                    <a:pt x="203975" y="478660"/>
                  </a:cubicBezTo>
                  <a:cubicBezTo>
                    <a:pt x="203975" y="503136"/>
                    <a:pt x="201255" y="527613"/>
                    <a:pt x="198535" y="552090"/>
                  </a:cubicBezTo>
                  <a:cubicBezTo>
                    <a:pt x="198535" y="560249"/>
                    <a:pt x="195816" y="568408"/>
                    <a:pt x="195816" y="576567"/>
                  </a:cubicBezTo>
                  <a:cubicBezTo>
                    <a:pt x="195816" y="582006"/>
                    <a:pt x="195816" y="587446"/>
                    <a:pt x="198535" y="592885"/>
                  </a:cubicBezTo>
                  <a:cubicBezTo>
                    <a:pt x="212134" y="592885"/>
                    <a:pt x="225732" y="592885"/>
                    <a:pt x="233891" y="592885"/>
                  </a:cubicBezTo>
                  <a:cubicBezTo>
                    <a:pt x="247489" y="592885"/>
                    <a:pt x="271966" y="592885"/>
                    <a:pt x="271966" y="611923"/>
                  </a:cubicBezTo>
                  <a:cubicBezTo>
                    <a:pt x="271966" y="620082"/>
                    <a:pt x="269246" y="622801"/>
                    <a:pt x="266527" y="628241"/>
                  </a:cubicBezTo>
                  <a:cubicBezTo>
                    <a:pt x="261087" y="633680"/>
                    <a:pt x="255648" y="636400"/>
                    <a:pt x="250209" y="636400"/>
                  </a:cubicBezTo>
                  <a:cubicBezTo>
                    <a:pt x="239330" y="639119"/>
                    <a:pt x="233891" y="639119"/>
                    <a:pt x="228451" y="639119"/>
                  </a:cubicBezTo>
                  <a:cubicBezTo>
                    <a:pt x="223012" y="639119"/>
                    <a:pt x="206694" y="639119"/>
                    <a:pt x="187657" y="639119"/>
                  </a:cubicBezTo>
                  <a:cubicBezTo>
                    <a:pt x="176778" y="647278"/>
                    <a:pt x="163180" y="649998"/>
                    <a:pt x="152301" y="652717"/>
                  </a:cubicBezTo>
                  <a:cubicBezTo>
                    <a:pt x="146862" y="652717"/>
                    <a:pt x="138703" y="655437"/>
                    <a:pt x="133263" y="655437"/>
                  </a:cubicBezTo>
                  <a:cubicBezTo>
                    <a:pt x="130544" y="655437"/>
                    <a:pt x="125104" y="655437"/>
                    <a:pt x="122385" y="652717"/>
                  </a:cubicBezTo>
                  <a:cubicBezTo>
                    <a:pt x="114226" y="649998"/>
                    <a:pt x="103347" y="644559"/>
                    <a:pt x="97908" y="639119"/>
                  </a:cubicBezTo>
                  <a:cubicBezTo>
                    <a:pt x="87029" y="639119"/>
                    <a:pt x="78870" y="639119"/>
                    <a:pt x="70711" y="639119"/>
                  </a:cubicBezTo>
                  <a:cubicBezTo>
                    <a:pt x="62552" y="639119"/>
                    <a:pt x="54393" y="639119"/>
                    <a:pt x="46234" y="639119"/>
                  </a:cubicBezTo>
                  <a:cubicBezTo>
                    <a:pt x="38075" y="639119"/>
                    <a:pt x="27197" y="633680"/>
                    <a:pt x="19038" y="630960"/>
                  </a:cubicBezTo>
                  <a:cubicBezTo>
                    <a:pt x="10879" y="628241"/>
                    <a:pt x="2720" y="620082"/>
                    <a:pt x="2720" y="614642"/>
                  </a:cubicBezTo>
                  <a:cubicBezTo>
                    <a:pt x="2720" y="611923"/>
                    <a:pt x="2720" y="609203"/>
                    <a:pt x="8159" y="606483"/>
                  </a:cubicBezTo>
                  <a:cubicBezTo>
                    <a:pt x="13599" y="603764"/>
                    <a:pt x="24477" y="601044"/>
                    <a:pt x="29916" y="598324"/>
                  </a:cubicBezTo>
                  <a:cubicBezTo>
                    <a:pt x="43515" y="595605"/>
                    <a:pt x="62552" y="595605"/>
                    <a:pt x="76151" y="592885"/>
                  </a:cubicBezTo>
                  <a:cubicBezTo>
                    <a:pt x="76151" y="587446"/>
                    <a:pt x="73431" y="582006"/>
                    <a:pt x="73431" y="573848"/>
                  </a:cubicBezTo>
                  <a:cubicBezTo>
                    <a:pt x="73431" y="565689"/>
                    <a:pt x="70711" y="516735"/>
                    <a:pt x="70711" y="500417"/>
                  </a:cubicBezTo>
                  <a:cubicBezTo>
                    <a:pt x="70711" y="481379"/>
                    <a:pt x="73431" y="456902"/>
                    <a:pt x="73431" y="437865"/>
                  </a:cubicBezTo>
                  <a:cubicBezTo>
                    <a:pt x="73431" y="416108"/>
                    <a:pt x="70711" y="391631"/>
                    <a:pt x="70711" y="369873"/>
                  </a:cubicBezTo>
                  <a:cubicBezTo>
                    <a:pt x="70711" y="345397"/>
                    <a:pt x="70711" y="318200"/>
                    <a:pt x="70711" y="293723"/>
                  </a:cubicBezTo>
                  <a:cubicBezTo>
                    <a:pt x="70711" y="266526"/>
                    <a:pt x="73431" y="239330"/>
                    <a:pt x="73431" y="212133"/>
                  </a:cubicBezTo>
                  <a:cubicBezTo>
                    <a:pt x="73431" y="187656"/>
                    <a:pt x="76151" y="179498"/>
                    <a:pt x="76151" y="155021"/>
                  </a:cubicBezTo>
                  <a:cubicBezTo>
                    <a:pt x="76151" y="144142"/>
                    <a:pt x="76151" y="130544"/>
                    <a:pt x="76151" y="119665"/>
                  </a:cubicBezTo>
                  <a:cubicBezTo>
                    <a:pt x="76151" y="106067"/>
                    <a:pt x="78870" y="95188"/>
                    <a:pt x="78870" y="84310"/>
                  </a:cubicBezTo>
                  <a:cubicBezTo>
                    <a:pt x="78870" y="78870"/>
                    <a:pt x="78870" y="70711"/>
                    <a:pt x="76151" y="62552"/>
                  </a:cubicBezTo>
                  <a:cubicBezTo>
                    <a:pt x="76151" y="62552"/>
                    <a:pt x="73431" y="62552"/>
                    <a:pt x="67992" y="62552"/>
                  </a:cubicBezTo>
                  <a:cubicBezTo>
                    <a:pt x="59833" y="62552"/>
                    <a:pt x="51674" y="62552"/>
                    <a:pt x="43515" y="62552"/>
                  </a:cubicBezTo>
                  <a:cubicBezTo>
                    <a:pt x="35356" y="62552"/>
                    <a:pt x="24477" y="59833"/>
                    <a:pt x="16318" y="57113"/>
                  </a:cubicBezTo>
                  <a:cubicBezTo>
                    <a:pt x="8159" y="54393"/>
                    <a:pt x="0" y="43515"/>
                    <a:pt x="0" y="40795"/>
                  </a:cubicBezTo>
                  <a:cubicBezTo>
                    <a:pt x="0" y="38075"/>
                    <a:pt x="0" y="35356"/>
                    <a:pt x="5439" y="32636"/>
                  </a:cubicBezTo>
                  <a:cubicBezTo>
                    <a:pt x="10879" y="29917"/>
                    <a:pt x="21758" y="27197"/>
                    <a:pt x="27197" y="24477"/>
                  </a:cubicBezTo>
                  <a:cubicBezTo>
                    <a:pt x="46234" y="21758"/>
                    <a:pt x="62552" y="19038"/>
                    <a:pt x="76151" y="19038"/>
                  </a:cubicBezTo>
                  <a:cubicBezTo>
                    <a:pt x="76151" y="16318"/>
                    <a:pt x="78870" y="16318"/>
                    <a:pt x="78870" y="13598"/>
                  </a:cubicBezTo>
                  <a:cubicBezTo>
                    <a:pt x="84309" y="10879"/>
                    <a:pt x="89749" y="8159"/>
                    <a:pt x="95188" y="5440"/>
                  </a:cubicBezTo>
                  <a:cubicBezTo>
                    <a:pt x="100628" y="2720"/>
                    <a:pt x="106067" y="0"/>
                    <a:pt x="111506" y="0"/>
                  </a:cubicBez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67094D88-7910-4ABA-AB84-F44B55F3B694}"/>
                </a:ext>
              </a:extLst>
            </p:cNvPr>
            <p:cNvSpPr/>
            <p:nvPr/>
          </p:nvSpPr>
          <p:spPr>
            <a:xfrm>
              <a:off x="8346812" y="4186718"/>
              <a:ext cx="353556" cy="761503"/>
            </a:xfrm>
            <a:custGeom>
              <a:avLst/>
              <a:gdLst>
                <a:gd name="connsiteX0" fmla="*/ 283910 w 353555"/>
                <a:gd name="connsiteY0" fmla="*/ 672820 h 761503"/>
                <a:gd name="connsiteX1" fmla="*/ 321985 w 353555"/>
                <a:gd name="connsiteY1" fmla="*/ 689138 h 761503"/>
                <a:gd name="connsiteX2" fmla="*/ 316546 w 353555"/>
                <a:gd name="connsiteY2" fmla="*/ 705456 h 761503"/>
                <a:gd name="connsiteX3" fmla="*/ 300228 w 353555"/>
                <a:gd name="connsiteY3" fmla="*/ 713615 h 761503"/>
                <a:gd name="connsiteX4" fmla="*/ 278471 w 353555"/>
                <a:gd name="connsiteY4" fmla="*/ 716335 h 761503"/>
                <a:gd name="connsiteX5" fmla="*/ 237676 w 353555"/>
                <a:gd name="connsiteY5" fmla="*/ 716335 h 761503"/>
                <a:gd name="connsiteX6" fmla="*/ 180563 w 353555"/>
                <a:gd name="connsiteY6" fmla="*/ 719054 h 761503"/>
                <a:gd name="connsiteX7" fmla="*/ 126170 w 353555"/>
                <a:gd name="connsiteY7" fmla="*/ 719054 h 761503"/>
                <a:gd name="connsiteX8" fmla="*/ 101693 w 353555"/>
                <a:gd name="connsiteY8" fmla="*/ 719054 h 761503"/>
                <a:gd name="connsiteX9" fmla="*/ 74496 w 353555"/>
                <a:gd name="connsiteY9" fmla="*/ 713615 h 761503"/>
                <a:gd name="connsiteX10" fmla="*/ 58178 w 353555"/>
                <a:gd name="connsiteY10" fmla="*/ 697297 h 761503"/>
                <a:gd name="connsiteX11" fmla="*/ 63618 w 353555"/>
                <a:gd name="connsiteY11" fmla="*/ 689138 h 761503"/>
                <a:gd name="connsiteX12" fmla="*/ 85375 w 353555"/>
                <a:gd name="connsiteY12" fmla="*/ 680979 h 761503"/>
                <a:gd name="connsiteX13" fmla="*/ 131609 w 353555"/>
                <a:gd name="connsiteY13" fmla="*/ 675540 h 761503"/>
                <a:gd name="connsiteX14" fmla="*/ 142488 w 353555"/>
                <a:gd name="connsiteY14" fmla="*/ 675540 h 761503"/>
                <a:gd name="connsiteX15" fmla="*/ 131609 w 353555"/>
                <a:gd name="connsiteY15" fmla="*/ 653783 h 761503"/>
                <a:gd name="connsiteX16" fmla="*/ 128890 w 353555"/>
                <a:gd name="connsiteY16" fmla="*/ 640184 h 761503"/>
                <a:gd name="connsiteX17" fmla="*/ 128890 w 353555"/>
                <a:gd name="connsiteY17" fmla="*/ 629306 h 761503"/>
                <a:gd name="connsiteX18" fmla="*/ 128890 w 353555"/>
                <a:gd name="connsiteY18" fmla="*/ 621147 h 761503"/>
                <a:gd name="connsiteX19" fmla="*/ 128890 w 353555"/>
                <a:gd name="connsiteY19" fmla="*/ 593950 h 761503"/>
                <a:gd name="connsiteX20" fmla="*/ 128890 w 353555"/>
                <a:gd name="connsiteY20" fmla="*/ 583072 h 761503"/>
                <a:gd name="connsiteX21" fmla="*/ 128890 w 353555"/>
                <a:gd name="connsiteY21" fmla="*/ 436210 h 761503"/>
                <a:gd name="connsiteX22" fmla="*/ 128890 w 353555"/>
                <a:gd name="connsiteY22" fmla="*/ 357340 h 761503"/>
                <a:gd name="connsiteX23" fmla="*/ 131609 w 353555"/>
                <a:gd name="connsiteY23" fmla="*/ 289349 h 761503"/>
                <a:gd name="connsiteX24" fmla="*/ 131609 w 353555"/>
                <a:gd name="connsiteY24" fmla="*/ 251274 h 761503"/>
                <a:gd name="connsiteX25" fmla="*/ 131609 w 353555"/>
                <a:gd name="connsiteY25" fmla="*/ 205040 h 761503"/>
                <a:gd name="connsiteX26" fmla="*/ 131609 w 353555"/>
                <a:gd name="connsiteY26" fmla="*/ 139768 h 761503"/>
                <a:gd name="connsiteX27" fmla="*/ 131609 w 353555"/>
                <a:gd name="connsiteY27" fmla="*/ 128889 h 761503"/>
                <a:gd name="connsiteX28" fmla="*/ 126170 w 353555"/>
                <a:gd name="connsiteY28" fmla="*/ 128889 h 761503"/>
                <a:gd name="connsiteX29" fmla="*/ 101693 w 353555"/>
                <a:gd name="connsiteY29" fmla="*/ 128889 h 761503"/>
                <a:gd name="connsiteX30" fmla="*/ 74496 w 353555"/>
                <a:gd name="connsiteY30" fmla="*/ 123450 h 761503"/>
                <a:gd name="connsiteX31" fmla="*/ 58178 w 353555"/>
                <a:gd name="connsiteY31" fmla="*/ 107132 h 761503"/>
                <a:gd name="connsiteX32" fmla="*/ 60898 w 353555"/>
                <a:gd name="connsiteY32" fmla="*/ 98973 h 761503"/>
                <a:gd name="connsiteX33" fmla="*/ 82655 w 353555"/>
                <a:gd name="connsiteY33" fmla="*/ 93534 h 761503"/>
                <a:gd name="connsiteX34" fmla="*/ 131609 w 353555"/>
                <a:gd name="connsiteY34" fmla="*/ 88094 h 761503"/>
                <a:gd name="connsiteX35" fmla="*/ 131609 w 353555"/>
                <a:gd name="connsiteY35" fmla="*/ 82655 h 761503"/>
                <a:gd name="connsiteX36" fmla="*/ 134329 w 353555"/>
                <a:gd name="connsiteY36" fmla="*/ 71776 h 761503"/>
                <a:gd name="connsiteX37" fmla="*/ 147927 w 353555"/>
                <a:gd name="connsiteY37" fmla="*/ 63617 h 761503"/>
                <a:gd name="connsiteX38" fmla="*/ 164245 w 353555"/>
                <a:gd name="connsiteY38" fmla="*/ 58178 h 761503"/>
                <a:gd name="connsiteX39" fmla="*/ 177843 w 353555"/>
                <a:gd name="connsiteY39" fmla="*/ 58178 h 761503"/>
                <a:gd name="connsiteX40" fmla="*/ 196881 w 353555"/>
                <a:gd name="connsiteY40" fmla="*/ 60898 h 761503"/>
                <a:gd name="connsiteX41" fmla="*/ 232237 w 353555"/>
                <a:gd name="connsiteY41" fmla="*/ 88094 h 761503"/>
                <a:gd name="connsiteX42" fmla="*/ 278471 w 353555"/>
                <a:gd name="connsiteY42" fmla="*/ 88094 h 761503"/>
                <a:gd name="connsiteX43" fmla="*/ 316546 w 353555"/>
                <a:gd name="connsiteY43" fmla="*/ 104412 h 761503"/>
                <a:gd name="connsiteX44" fmla="*/ 311107 w 353555"/>
                <a:gd name="connsiteY44" fmla="*/ 120730 h 761503"/>
                <a:gd name="connsiteX45" fmla="*/ 294789 w 353555"/>
                <a:gd name="connsiteY45" fmla="*/ 128889 h 761503"/>
                <a:gd name="connsiteX46" fmla="*/ 273032 w 353555"/>
                <a:gd name="connsiteY46" fmla="*/ 131609 h 761503"/>
                <a:gd name="connsiteX47" fmla="*/ 243115 w 353555"/>
                <a:gd name="connsiteY47" fmla="*/ 131609 h 761503"/>
                <a:gd name="connsiteX48" fmla="*/ 243115 w 353555"/>
                <a:gd name="connsiteY48" fmla="*/ 134329 h 761503"/>
                <a:gd name="connsiteX49" fmla="*/ 248554 w 353555"/>
                <a:gd name="connsiteY49" fmla="*/ 169684 h 761503"/>
                <a:gd name="connsiteX50" fmla="*/ 251274 w 353555"/>
                <a:gd name="connsiteY50" fmla="*/ 205040 h 761503"/>
                <a:gd name="connsiteX51" fmla="*/ 251274 w 353555"/>
                <a:gd name="connsiteY51" fmla="*/ 240395 h 761503"/>
                <a:gd name="connsiteX52" fmla="*/ 251274 w 353555"/>
                <a:gd name="connsiteY52" fmla="*/ 256713 h 761503"/>
                <a:gd name="connsiteX53" fmla="*/ 253994 w 353555"/>
                <a:gd name="connsiteY53" fmla="*/ 270311 h 761503"/>
                <a:gd name="connsiteX54" fmla="*/ 259433 w 353555"/>
                <a:gd name="connsiteY54" fmla="*/ 343742 h 761503"/>
                <a:gd name="connsiteX55" fmla="*/ 262153 w 353555"/>
                <a:gd name="connsiteY55" fmla="*/ 425332 h 761503"/>
                <a:gd name="connsiteX56" fmla="*/ 264872 w 353555"/>
                <a:gd name="connsiteY56" fmla="*/ 490603 h 761503"/>
                <a:gd name="connsiteX57" fmla="*/ 270312 w 353555"/>
                <a:gd name="connsiteY57" fmla="*/ 564034 h 761503"/>
                <a:gd name="connsiteX58" fmla="*/ 270312 w 353555"/>
                <a:gd name="connsiteY58" fmla="*/ 599390 h 761503"/>
                <a:gd name="connsiteX59" fmla="*/ 270312 w 353555"/>
                <a:gd name="connsiteY59" fmla="*/ 637465 h 761503"/>
                <a:gd name="connsiteX60" fmla="*/ 264872 w 353555"/>
                <a:gd name="connsiteY60" fmla="*/ 670101 h 761503"/>
                <a:gd name="connsiteX61" fmla="*/ 283910 w 353555"/>
                <a:gd name="connsiteY61" fmla="*/ 672820 h 761503"/>
                <a:gd name="connsiteX62" fmla="*/ 283910 w 353555"/>
                <a:gd name="connsiteY62" fmla="*/ 672820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353555" h="761503">
                  <a:moveTo>
                    <a:pt x="283910" y="672820"/>
                  </a:moveTo>
                  <a:cubicBezTo>
                    <a:pt x="297508" y="672820"/>
                    <a:pt x="321985" y="672820"/>
                    <a:pt x="321985" y="689138"/>
                  </a:cubicBezTo>
                  <a:cubicBezTo>
                    <a:pt x="321985" y="697297"/>
                    <a:pt x="319266" y="697297"/>
                    <a:pt x="316546" y="705456"/>
                  </a:cubicBezTo>
                  <a:cubicBezTo>
                    <a:pt x="311107" y="710895"/>
                    <a:pt x="305667" y="713615"/>
                    <a:pt x="300228" y="713615"/>
                  </a:cubicBezTo>
                  <a:cubicBezTo>
                    <a:pt x="292069" y="716335"/>
                    <a:pt x="283910" y="716335"/>
                    <a:pt x="278471" y="716335"/>
                  </a:cubicBezTo>
                  <a:cubicBezTo>
                    <a:pt x="275751" y="716335"/>
                    <a:pt x="256713" y="716335"/>
                    <a:pt x="237676" y="716335"/>
                  </a:cubicBezTo>
                  <a:cubicBezTo>
                    <a:pt x="213199" y="716335"/>
                    <a:pt x="186003" y="719054"/>
                    <a:pt x="180563" y="719054"/>
                  </a:cubicBezTo>
                  <a:cubicBezTo>
                    <a:pt x="166965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7" y="710895"/>
                    <a:pt x="58178" y="702736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8"/>
                    <a:pt x="79936" y="683699"/>
                    <a:pt x="85375" y="680979"/>
                  </a:cubicBezTo>
                  <a:cubicBezTo>
                    <a:pt x="104413" y="678260"/>
                    <a:pt x="123450" y="675540"/>
                    <a:pt x="131609" y="675540"/>
                  </a:cubicBezTo>
                  <a:cubicBezTo>
                    <a:pt x="134329" y="675540"/>
                    <a:pt x="137049" y="675540"/>
                    <a:pt x="142488" y="675540"/>
                  </a:cubicBezTo>
                  <a:cubicBezTo>
                    <a:pt x="134329" y="670101"/>
                    <a:pt x="131609" y="661942"/>
                    <a:pt x="131609" y="653783"/>
                  </a:cubicBezTo>
                  <a:cubicBezTo>
                    <a:pt x="131609" y="648343"/>
                    <a:pt x="131609" y="642904"/>
                    <a:pt x="128890" y="640184"/>
                  </a:cubicBezTo>
                  <a:cubicBezTo>
                    <a:pt x="128890" y="637465"/>
                    <a:pt x="128890" y="634745"/>
                    <a:pt x="128890" y="629306"/>
                  </a:cubicBezTo>
                  <a:cubicBezTo>
                    <a:pt x="128890" y="626586"/>
                    <a:pt x="128890" y="623867"/>
                    <a:pt x="128890" y="621147"/>
                  </a:cubicBezTo>
                  <a:cubicBezTo>
                    <a:pt x="128890" y="612988"/>
                    <a:pt x="128890" y="604829"/>
                    <a:pt x="128890" y="593950"/>
                  </a:cubicBezTo>
                  <a:cubicBezTo>
                    <a:pt x="128890" y="591231"/>
                    <a:pt x="128890" y="585791"/>
                    <a:pt x="128890" y="583072"/>
                  </a:cubicBezTo>
                  <a:cubicBezTo>
                    <a:pt x="128890" y="534118"/>
                    <a:pt x="131609" y="485164"/>
                    <a:pt x="128890" y="436210"/>
                  </a:cubicBezTo>
                  <a:cubicBezTo>
                    <a:pt x="128890" y="409014"/>
                    <a:pt x="128890" y="384537"/>
                    <a:pt x="128890" y="357340"/>
                  </a:cubicBezTo>
                  <a:cubicBezTo>
                    <a:pt x="128890" y="335583"/>
                    <a:pt x="131609" y="313826"/>
                    <a:pt x="131609" y="289349"/>
                  </a:cubicBezTo>
                  <a:cubicBezTo>
                    <a:pt x="131609" y="275751"/>
                    <a:pt x="131609" y="264872"/>
                    <a:pt x="131609" y="251274"/>
                  </a:cubicBezTo>
                  <a:cubicBezTo>
                    <a:pt x="131609" y="234956"/>
                    <a:pt x="131609" y="221357"/>
                    <a:pt x="131609" y="205040"/>
                  </a:cubicBezTo>
                  <a:cubicBezTo>
                    <a:pt x="131609" y="183282"/>
                    <a:pt x="131609" y="161525"/>
                    <a:pt x="131609" y="139768"/>
                  </a:cubicBezTo>
                  <a:cubicBezTo>
                    <a:pt x="131609" y="137048"/>
                    <a:pt x="131609" y="134329"/>
                    <a:pt x="131609" y="128889"/>
                  </a:cubicBezTo>
                  <a:cubicBezTo>
                    <a:pt x="128890" y="128889"/>
                    <a:pt x="126170" y="128889"/>
                    <a:pt x="126170" y="128889"/>
                  </a:cubicBezTo>
                  <a:cubicBezTo>
                    <a:pt x="118011" y="128889"/>
                    <a:pt x="109852" y="128889"/>
                    <a:pt x="101693" y="128889"/>
                  </a:cubicBezTo>
                  <a:cubicBezTo>
                    <a:pt x="93534" y="128889"/>
                    <a:pt x="82655" y="128889"/>
                    <a:pt x="74496" y="123450"/>
                  </a:cubicBezTo>
                  <a:cubicBezTo>
                    <a:pt x="66337" y="120730"/>
                    <a:pt x="58178" y="112571"/>
                    <a:pt x="58178" y="107132"/>
                  </a:cubicBezTo>
                  <a:cubicBezTo>
                    <a:pt x="58178" y="104412"/>
                    <a:pt x="58178" y="101693"/>
                    <a:pt x="60898" y="98973"/>
                  </a:cubicBezTo>
                  <a:cubicBezTo>
                    <a:pt x="63618" y="96253"/>
                    <a:pt x="77216" y="93534"/>
                    <a:pt x="82655" y="93534"/>
                  </a:cubicBezTo>
                  <a:cubicBezTo>
                    <a:pt x="98973" y="90814"/>
                    <a:pt x="123450" y="88094"/>
                    <a:pt x="131609" y="88094"/>
                  </a:cubicBezTo>
                  <a:cubicBezTo>
                    <a:pt x="131609" y="85375"/>
                    <a:pt x="131609" y="85375"/>
                    <a:pt x="131609" y="82655"/>
                  </a:cubicBezTo>
                  <a:cubicBezTo>
                    <a:pt x="131609" y="77216"/>
                    <a:pt x="131609" y="74496"/>
                    <a:pt x="134329" y="71776"/>
                  </a:cubicBezTo>
                  <a:cubicBezTo>
                    <a:pt x="137049" y="69057"/>
                    <a:pt x="145208" y="66337"/>
                    <a:pt x="147927" y="63617"/>
                  </a:cubicBezTo>
                  <a:cubicBezTo>
                    <a:pt x="153366" y="60898"/>
                    <a:pt x="158806" y="58178"/>
                    <a:pt x="164245" y="58178"/>
                  </a:cubicBezTo>
                  <a:cubicBezTo>
                    <a:pt x="169684" y="58178"/>
                    <a:pt x="175124" y="58178"/>
                    <a:pt x="177843" y="58178"/>
                  </a:cubicBezTo>
                  <a:cubicBezTo>
                    <a:pt x="183283" y="58178"/>
                    <a:pt x="191442" y="58178"/>
                    <a:pt x="196881" y="60898"/>
                  </a:cubicBezTo>
                  <a:cubicBezTo>
                    <a:pt x="213199" y="63617"/>
                    <a:pt x="224078" y="74496"/>
                    <a:pt x="232237" y="88094"/>
                  </a:cubicBezTo>
                  <a:cubicBezTo>
                    <a:pt x="253994" y="88094"/>
                    <a:pt x="270312" y="88094"/>
                    <a:pt x="278471" y="88094"/>
                  </a:cubicBezTo>
                  <a:cubicBezTo>
                    <a:pt x="292069" y="88094"/>
                    <a:pt x="316546" y="88094"/>
                    <a:pt x="316546" y="104412"/>
                  </a:cubicBezTo>
                  <a:cubicBezTo>
                    <a:pt x="316546" y="112571"/>
                    <a:pt x="313826" y="112571"/>
                    <a:pt x="311107" y="120730"/>
                  </a:cubicBezTo>
                  <a:cubicBezTo>
                    <a:pt x="305667" y="126170"/>
                    <a:pt x="300228" y="128889"/>
                    <a:pt x="294789" y="128889"/>
                  </a:cubicBezTo>
                  <a:cubicBezTo>
                    <a:pt x="286630" y="131609"/>
                    <a:pt x="278471" y="131609"/>
                    <a:pt x="273032" y="131609"/>
                  </a:cubicBezTo>
                  <a:cubicBezTo>
                    <a:pt x="270312" y="131609"/>
                    <a:pt x="259433" y="131609"/>
                    <a:pt x="243115" y="131609"/>
                  </a:cubicBezTo>
                  <a:lnTo>
                    <a:pt x="243115" y="134329"/>
                  </a:lnTo>
                  <a:cubicBezTo>
                    <a:pt x="245835" y="145207"/>
                    <a:pt x="245835" y="158805"/>
                    <a:pt x="248554" y="169684"/>
                  </a:cubicBezTo>
                  <a:cubicBezTo>
                    <a:pt x="251274" y="180563"/>
                    <a:pt x="251274" y="194161"/>
                    <a:pt x="251274" y="205040"/>
                  </a:cubicBezTo>
                  <a:cubicBezTo>
                    <a:pt x="251274" y="215918"/>
                    <a:pt x="251274" y="226797"/>
                    <a:pt x="251274" y="240395"/>
                  </a:cubicBezTo>
                  <a:cubicBezTo>
                    <a:pt x="251274" y="245834"/>
                    <a:pt x="251274" y="251274"/>
                    <a:pt x="251274" y="256713"/>
                  </a:cubicBezTo>
                  <a:cubicBezTo>
                    <a:pt x="251274" y="262152"/>
                    <a:pt x="251274" y="267592"/>
                    <a:pt x="253994" y="270311"/>
                  </a:cubicBezTo>
                  <a:cubicBezTo>
                    <a:pt x="256713" y="294788"/>
                    <a:pt x="256713" y="319265"/>
                    <a:pt x="259433" y="343742"/>
                  </a:cubicBezTo>
                  <a:cubicBezTo>
                    <a:pt x="259433" y="370939"/>
                    <a:pt x="262153" y="398135"/>
                    <a:pt x="262153" y="425332"/>
                  </a:cubicBezTo>
                  <a:cubicBezTo>
                    <a:pt x="262153" y="447089"/>
                    <a:pt x="262153" y="468846"/>
                    <a:pt x="264872" y="490603"/>
                  </a:cubicBezTo>
                  <a:cubicBezTo>
                    <a:pt x="264872" y="515080"/>
                    <a:pt x="270312" y="539557"/>
                    <a:pt x="270312" y="564034"/>
                  </a:cubicBezTo>
                  <a:cubicBezTo>
                    <a:pt x="270312" y="574913"/>
                    <a:pt x="270312" y="588511"/>
                    <a:pt x="270312" y="599390"/>
                  </a:cubicBezTo>
                  <a:cubicBezTo>
                    <a:pt x="270312" y="612988"/>
                    <a:pt x="270312" y="623867"/>
                    <a:pt x="270312" y="637465"/>
                  </a:cubicBezTo>
                  <a:cubicBezTo>
                    <a:pt x="270312" y="648343"/>
                    <a:pt x="270312" y="661942"/>
                    <a:pt x="264872" y="670101"/>
                  </a:cubicBezTo>
                  <a:cubicBezTo>
                    <a:pt x="273032" y="672820"/>
                    <a:pt x="278471" y="672820"/>
                    <a:pt x="283910" y="672820"/>
                  </a:cubicBezTo>
                  <a:lnTo>
                    <a:pt x="283910" y="672820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6F0F00D5-B1EC-45A7-A3B2-BE9B8DD2EEB7}"/>
                </a:ext>
              </a:extLst>
            </p:cNvPr>
            <p:cNvSpPr/>
            <p:nvPr/>
          </p:nvSpPr>
          <p:spPr>
            <a:xfrm>
              <a:off x="8652924" y="4192158"/>
              <a:ext cx="516735" cy="788700"/>
            </a:xfrm>
            <a:custGeom>
              <a:avLst/>
              <a:gdLst>
                <a:gd name="connsiteX0" fmla="*/ 464616 w 516735"/>
                <a:gd name="connsiteY0" fmla="*/ 436210 h 788699"/>
                <a:gd name="connsiteX1" fmla="*/ 445578 w 516735"/>
                <a:gd name="connsiteY1" fmla="*/ 455248 h 788699"/>
                <a:gd name="connsiteX2" fmla="*/ 404783 w 516735"/>
                <a:gd name="connsiteY2" fmla="*/ 466126 h 788699"/>
                <a:gd name="connsiteX3" fmla="*/ 385746 w 516735"/>
                <a:gd name="connsiteY3" fmla="*/ 479725 h 788699"/>
                <a:gd name="connsiteX4" fmla="*/ 388466 w 516735"/>
                <a:gd name="connsiteY4" fmla="*/ 512361 h 788699"/>
                <a:gd name="connsiteX5" fmla="*/ 388466 w 516735"/>
                <a:gd name="connsiteY5" fmla="*/ 544997 h 788699"/>
                <a:gd name="connsiteX6" fmla="*/ 388466 w 516735"/>
                <a:gd name="connsiteY6" fmla="*/ 566754 h 788699"/>
                <a:gd name="connsiteX7" fmla="*/ 391185 w 516735"/>
                <a:gd name="connsiteY7" fmla="*/ 632026 h 788699"/>
                <a:gd name="connsiteX8" fmla="*/ 393905 w 516735"/>
                <a:gd name="connsiteY8" fmla="*/ 683699 h 788699"/>
                <a:gd name="connsiteX9" fmla="*/ 377587 w 516735"/>
                <a:gd name="connsiteY9" fmla="*/ 724494 h 788699"/>
                <a:gd name="connsiteX10" fmla="*/ 361269 w 516735"/>
                <a:gd name="connsiteY10" fmla="*/ 719054 h 788699"/>
                <a:gd name="connsiteX11" fmla="*/ 353110 w 516735"/>
                <a:gd name="connsiteY11" fmla="*/ 702737 h 788699"/>
                <a:gd name="connsiteX12" fmla="*/ 350390 w 516735"/>
                <a:gd name="connsiteY12" fmla="*/ 686419 h 788699"/>
                <a:gd name="connsiteX13" fmla="*/ 353110 w 516735"/>
                <a:gd name="connsiteY13" fmla="*/ 659222 h 788699"/>
                <a:gd name="connsiteX14" fmla="*/ 353110 w 516735"/>
                <a:gd name="connsiteY14" fmla="*/ 656502 h 788699"/>
                <a:gd name="connsiteX15" fmla="*/ 317754 w 516735"/>
                <a:gd name="connsiteY15" fmla="*/ 708176 h 788699"/>
                <a:gd name="connsiteX16" fmla="*/ 241604 w 516735"/>
                <a:gd name="connsiteY16" fmla="*/ 735372 h 788699"/>
                <a:gd name="connsiteX17" fmla="*/ 187211 w 516735"/>
                <a:gd name="connsiteY17" fmla="*/ 727214 h 788699"/>
                <a:gd name="connsiteX18" fmla="*/ 135537 w 516735"/>
                <a:gd name="connsiteY18" fmla="*/ 694578 h 788699"/>
                <a:gd name="connsiteX19" fmla="*/ 86583 w 516735"/>
                <a:gd name="connsiteY19" fmla="*/ 621147 h 788699"/>
                <a:gd name="connsiteX20" fmla="*/ 67546 w 516735"/>
                <a:gd name="connsiteY20" fmla="*/ 555875 h 788699"/>
                <a:gd name="connsiteX21" fmla="*/ 59387 w 516735"/>
                <a:gd name="connsiteY21" fmla="*/ 509641 h 788699"/>
                <a:gd name="connsiteX22" fmla="*/ 59387 w 516735"/>
                <a:gd name="connsiteY22" fmla="*/ 468846 h 788699"/>
                <a:gd name="connsiteX23" fmla="*/ 86583 w 516735"/>
                <a:gd name="connsiteY23" fmla="*/ 302947 h 788699"/>
                <a:gd name="connsiteX24" fmla="*/ 108341 w 516735"/>
                <a:gd name="connsiteY24" fmla="*/ 224077 h 788699"/>
                <a:gd name="connsiteX25" fmla="*/ 146416 w 516735"/>
                <a:gd name="connsiteY25" fmla="*/ 145207 h 788699"/>
                <a:gd name="connsiteX26" fmla="*/ 198090 w 516735"/>
                <a:gd name="connsiteY26" fmla="*/ 85375 h 788699"/>
                <a:gd name="connsiteX27" fmla="*/ 228006 w 516735"/>
                <a:gd name="connsiteY27" fmla="*/ 69057 h 788699"/>
                <a:gd name="connsiteX28" fmla="*/ 268801 w 516735"/>
                <a:gd name="connsiteY28" fmla="*/ 58178 h 788699"/>
                <a:gd name="connsiteX29" fmla="*/ 274240 w 516735"/>
                <a:gd name="connsiteY29" fmla="*/ 58178 h 788699"/>
                <a:gd name="connsiteX30" fmla="*/ 295997 w 516735"/>
                <a:gd name="connsiteY30" fmla="*/ 60898 h 788699"/>
                <a:gd name="connsiteX31" fmla="*/ 331353 w 516735"/>
                <a:gd name="connsiteY31" fmla="*/ 71776 h 788699"/>
                <a:gd name="connsiteX32" fmla="*/ 350390 w 516735"/>
                <a:gd name="connsiteY32" fmla="*/ 93534 h 788699"/>
                <a:gd name="connsiteX33" fmla="*/ 353110 w 516735"/>
                <a:gd name="connsiteY33" fmla="*/ 74496 h 788699"/>
                <a:gd name="connsiteX34" fmla="*/ 358549 w 516735"/>
                <a:gd name="connsiteY34" fmla="*/ 63618 h 788699"/>
                <a:gd name="connsiteX35" fmla="*/ 366708 w 516735"/>
                <a:gd name="connsiteY35" fmla="*/ 58178 h 788699"/>
                <a:gd name="connsiteX36" fmla="*/ 374867 w 516735"/>
                <a:gd name="connsiteY36" fmla="*/ 63618 h 788699"/>
                <a:gd name="connsiteX37" fmla="*/ 383027 w 516735"/>
                <a:gd name="connsiteY37" fmla="*/ 82655 h 788699"/>
                <a:gd name="connsiteX38" fmla="*/ 385746 w 516735"/>
                <a:gd name="connsiteY38" fmla="*/ 126170 h 788699"/>
                <a:gd name="connsiteX39" fmla="*/ 388466 w 516735"/>
                <a:gd name="connsiteY39" fmla="*/ 186002 h 788699"/>
                <a:gd name="connsiteX40" fmla="*/ 391185 w 516735"/>
                <a:gd name="connsiteY40" fmla="*/ 237676 h 788699"/>
                <a:gd name="connsiteX41" fmla="*/ 374867 w 516735"/>
                <a:gd name="connsiteY41" fmla="*/ 278470 h 788699"/>
                <a:gd name="connsiteX42" fmla="*/ 358549 w 516735"/>
                <a:gd name="connsiteY42" fmla="*/ 273031 h 788699"/>
                <a:gd name="connsiteX43" fmla="*/ 350390 w 516735"/>
                <a:gd name="connsiteY43" fmla="*/ 256713 h 788699"/>
                <a:gd name="connsiteX44" fmla="*/ 347671 w 516735"/>
                <a:gd name="connsiteY44" fmla="*/ 240395 h 788699"/>
                <a:gd name="connsiteX45" fmla="*/ 347671 w 516735"/>
                <a:gd name="connsiteY45" fmla="*/ 213199 h 788699"/>
                <a:gd name="connsiteX46" fmla="*/ 344951 w 516735"/>
                <a:gd name="connsiteY46" fmla="*/ 194161 h 788699"/>
                <a:gd name="connsiteX47" fmla="*/ 339512 w 516735"/>
                <a:gd name="connsiteY47" fmla="*/ 150647 h 788699"/>
                <a:gd name="connsiteX48" fmla="*/ 323194 w 516735"/>
                <a:gd name="connsiteY48" fmla="*/ 112571 h 788699"/>
                <a:gd name="connsiteX49" fmla="*/ 293278 w 516735"/>
                <a:gd name="connsiteY49" fmla="*/ 101693 h 788699"/>
                <a:gd name="connsiteX50" fmla="*/ 263361 w 516735"/>
                <a:gd name="connsiteY50" fmla="*/ 120730 h 788699"/>
                <a:gd name="connsiteX51" fmla="*/ 241604 w 516735"/>
                <a:gd name="connsiteY51" fmla="*/ 153366 h 788699"/>
                <a:gd name="connsiteX52" fmla="*/ 233445 w 516735"/>
                <a:gd name="connsiteY52" fmla="*/ 194161 h 788699"/>
                <a:gd name="connsiteX53" fmla="*/ 225286 w 516735"/>
                <a:gd name="connsiteY53" fmla="*/ 232236 h 788699"/>
                <a:gd name="connsiteX54" fmla="*/ 217127 w 516735"/>
                <a:gd name="connsiteY54" fmla="*/ 275751 h 788699"/>
                <a:gd name="connsiteX55" fmla="*/ 211688 w 516735"/>
                <a:gd name="connsiteY55" fmla="*/ 316545 h 788699"/>
                <a:gd name="connsiteX56" fmla="*/ 206249 w 516735"/>
                <a:gd name="connsiteY56" fmla="*/ 354621 h 788699"/>
                <a:gd name="connsiteX57" fmla="*/ 200809 w 516735"/>
                <a:gd name="connsiteY57" fmla="*/ 398135 h 788699"/>
                <a:gd name="connsiteX58" fmla="*/ 195370 w 516735"/>
                <a:gd name="connsiteY58" fmla="*/ 438930 h 788699"/>
                <a:gd name="connsiteX59" fmla="*/ 192650 w 516735"/>
                <a:gd name="connsiteY59" fmla="*/ 474286 h 788699"/>
                <a:gd name="connsiteX60" fmla="*/ 195370 w 516735"/>
                <a:gd name="connsiteY60" fmla="*/ 525959 h 788699"/>
                <a:gd name="connsiteX61" fmla="*/ 208968 w 516735"/>
                <a:gd name="connsiteY61" fmla="*/ 596670 h 788699"/>
                <a:gd name="connsiteX62" fmla="*/ 214407 w 516735"/>
                <a:gd name="connsiteY62" fmla="*/ 623867 h 788699"/>
                <a:gd name="connsiteX63" fmla="*/ 228006 w 516735"/>
                <a:gd name="connsiteY63" fmla="*/ 656502 h 788699"/>
                <a:gd name="connsiteX64" fmla="*/ 271520 w 516735"/>
                <a:gd name="connsiteY64" fmla="*/ 689138 h 788699"/>
                <a:gd name="connsiteX65" fmla="*/ 306876 w 516735"/>
                <a:gd name="connsiteY65" fmla="*/ 664661 h 788699"/>
                <a:gd name="connsiteX66" fmla="*/ 331353 w 516735"/>
                <a:gd name="connsiteY66" fmla="*/ 602109 h 788699"/>
                <a:gd name="connsiteX67" fmla="*/ 336792 w 516735"/>
                <a:gd name="connsiteY67" fmla="*/ 544997 h 788699"/>
                <a:gd name="connsiteX68" fmla="*/ 336792 w 516735"/>
                <a:gd name="connsiteY68" fmla="*/ 498762 h 788699"/>
                <a:gd name="connsiteX69" fmla="*/ 336792 w 516735"/>
                <a:gd name="connsiteY69" fmla="*/ 490603 h 788699"/>
                <a:gd name="connsiteX70" fmla="*/ 320474 w 516735"/>
                <a:gd name="connsiteY70" fmla="*/ 477005 h 788699"/>
                <a:gd name="connsiteX71" fmla="*/ 282399 w 516735"/>
                <a:gd name="connsiteY71" fmla="*/ 479725 h 788699"/>
                <a:gd name="connsiteX72" fmla="*/ 252483 w 516735"/>
                <a:gd name="connsiteY72" fmla="*/ 474286 h 788699"/>
                <a:gd name="connsiteX73" fmla="*/ 247044 w 516735"/>
                <a:gd name="connsiteY73" fmla="*/ 466126 h 788699"/>
                <a:gd name="connsiteX74" fmla="*/ 249763 w 516735"/>
                <a:gd name="connsiteY74" fmla="*/ 457968 h 788699"/>
                <a:gd name="connsiteX75" fmla="*/ 268801 w 516735"/>
                <a:gd name="connsiteY75" fmla="*/ 447089 h 788699"/>
                <a:gd name="connsiteX76" fmla="*/ 312315 w 516735"/>
                <a:gd name="connsiteY76" fmla="*/ 436210 h 788699"/>
                <a:gd name="connsiteX77" fmla="*/ 353110 w 516735"/>
                <a:gd name="connsiteY77" fmla="*/ 430771 h 788699"/>
                <a:gd name="connsiteX78" fmla="*/ 385746 w 516735"/>
                <a:gd name="connsiteY78" fmla="*/ 430771 h 788699"/>
                <a:gd name="connsiteX79" fmla="*/ 437420 w 516735"/>
                <a:gd name="connsiteY79" fmla="*/ 428051 h 788699"/>
                <a:gd name="connsiteX80" fmla="*/ 464616 w 516735"/>
                <a:gd name="connsiteY80" fmla="*/ 436210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16735" h="788699">
                  <a:moveTo>
                    <a:pt x="464616" y="436210"/>
                  </a:moveTo>
                  <a:cubicBezTo>
                    <a:pt x="464616" y="447089"/>
                    <a:pt x="453738" y="452528"/>
                    <a:pt x="445578" y="455248"/>
                  </a:cubicBezTo>
                  <a:cubicBezTo>
                    <a:pt x="434700" y="460687"/>
                    <a:pt x="415662" y="463407"/>
                    <a:pt x="404783" y="466126"/>
                  </a:cubicBezTo>
                  <a:cubicBezTo>
                    <a:pt x="393905" y="466126"/>
                    <a:pt x="385746" y="468846"/>
                    <a:pt x="385746" y="479725"/>
                  </a:cubicBezTo>
                  <a:cubicBezTo>
                    <a:pt x="385746" y="487884"/>
                    <a:pt x="388466" y="506921"/>
                    <a:pt x="388466" y="512361"/>
                  </a:cubicBezTo>
                  <a:cubicBezTo>
                    <a:pt x="388466" y="515080"/>
                    <a:pt x="388466" y="539557"/>
                    <a:pt x="388466" y="544997"/>
                  </a:cubicBezTo>
                  <a:cubicBezTo>
                    <a:pt x="388466" y="550436"/>
                    <a:pt x="388466" y="558595"/>
                    <a:pt x="388466" y="566754"/>
                  </a:cubicBezTo>
                  <a:cubicBezTo>
                    <a:pt x="388466" y="591231"/>
                    <a:pt x="388466" y="621147"/>
                    <a:pt x="391185" y="632026"/>
                  </a:cubicBezTo>
                  <a:cubicBezTo>
                    <a:pt x="393905" y="653783"/>
                    <a:pt x="393905" y="661942"/>
                    <a:pt x="393905" y="683699"/>
                  </a:cubicBezTo>
                  <a:cubicBezTo>
                    <a:pt x="393905" y="694578"/>
                    <a:pt x="393905" y="724494"/>
                    <a:pt x="377587" y="724494"/>
                  </a:cubicBezTo>
                  <a:cubicBezTo>
                    <a:pt x="369428" y="724494"/>
                    <a:pt x="366708" y="721774"/>
                    <a:pt x="361269" y="719054"/>
                  </a:cubicBezTo>
                  <a:cubicBezTo>
                    <a:pt x="355830" y="716335"/>
                    <a:pt x="353110" y="708176"/>
                    <a:pt x="353110" y="702737"/>
                  </a:cubicBezTo>
                  <a:cubicBezTo>
                    <a:pt x="350390" y="694578"/>
                    <a:pt x="350390" y="689138"/>
                    <a:pt x="350390" y="686419"/>
                  </a:cubicBezTo>
                  <a:cubicBezTo>
                    <a:pt x="350390" y="678260"/>
                    <a:pt x="353110" y="672820"/>
                    <a:pt x="353110" y="659222"/>
                  </a:cubicBezTo>
                  <a:lnTo>
                    <a:pt x="353110" y="656502"/>
                  </a:lnTo>
                  <a:cubicBezTo>
                    <a:pt x="347671" y="675540"/>
                    <a:pt x="334073" y="694578"/>
                    <a:pt x="317754" y="708176"/>
                  </a:cubicBezTo>
                  <a:cubicBezTo>
                    <a:pt x="293278" y="727214"/>
                    <a:pt x="274240" y="735372"/>
                    <a:pt x="241604" y="735372"/>
                  </a:cubicBezTo>
                  <a:cubicBezTo>
                    <a:pt x="222566" y="735372"/>
                    <a:pt x="203529" y="732653"/>
                    <a:pt x="187211" y="727214"/>
                  </a:cubicBezTo>
                  <a:cubicBezTo>
                    <a:pt x="165454" y="719054"/>
                    <a:pt x="149136" y="708176"/>
                    <a:pt x="135537" y="694578"/>
                  </a:cubicBezTo>
                  <a:cubicBezTo>
                    <a:pt x="113780" y="672820"/>
                    <a:pt x="100182" y="648343"/>
                    <a:pt x="86583" y="621147"/>
                  </a:cubicBezTo>
                  <a:cubicBezTo>
                    <a:pt x="75705" y="599390"/>
                    <a:pt x="70266" y="580352"/>
                    <a:pt x="67546" y="555875"/>
                  </a:cubicBezTo>
                  <a:cubicBezTo>
                    <a:pt x="64826" y="539557"/>
                    <a:pt x="62107" y="525959"/>
                    <a:pt x="59387" y="509641"/>
                  </a:cubicBezTo>
                  <a:cubicBezTo>
                    <a:pt x="56667" y="493323"/>
                    <a:pt x="59387" y="485164"/>
                    <a:pt x="59387" y="468846"/>
                  </a:cubicBezTo>
                  <a:cubicBezTo>
                    <a:pt x="59387" y="414453"/>
                    <a:pt x="72985" y="362780"/>
                    <a:pt x="86583" y="302947"/>
                  </a:cubicBezTo>
                  <a:cubicBezTo>
                    <a:pt x="92023" y="275751"/>
                    <a:pt x="100182" y="248554"/>
                    <a:pt x="108341" y="224077"/>
                  </a:cubicBezTo>
                  <a:cubicBezTo>
                    <a:pt x="116500" y="196881"/>
                    <a:pt x="130098" y="169684"/>
                    <a:pt x="146416" y="145207"/>
                  </a:cubicBezTo>
                  <a:cubicBezTo>
                    <a:pt x="160014" y="123450"/>
                    <a:pt x="176332" y="101693"/>
                    <a:pt x="198090" y="85375"/>
                  </a:cubicBezTo>
                  <a:cubicBezTo>
                    <a:pt x="206249" y="77216"/>
                    <a:pt x="217127" y="71776"/>
                    <a:pt x="228006" y="69057"/>
                  </a:cubicBezTo>
                  <a:cubicBezTo>
                    <a:pt x="241604" y="63618"/>
                    <a:pt x="255202" y="58178"/>
                    <a:pt x="268801" y="58178"/>
                  </a:cubicBezTo>
                  <a:cubicBezTo>
                    <a:pt x="271520" y="58178"/>
                    <a:pt x="274240" y="58178"/>
                    <a:pt x="274240" y="58178"/>
                  </a:cubicBezTo>
                  <a:cubicBezTo>
                    <a:pt x="279679" y="58178"/>
                    <a:pt x="285119" y="58178"/>
                    <a:pt x="295997" y="60898"/>
                  </a:cubicBezTo>
                  <a:cubicBezTo>
                    <a:pt x="309595" y="63618"/>
                    <a:pt x="320474" y="66337"/>
                    <a:pt x="331353" y="71776"/>
                  </a:cubicBezTo>
                  <a:cubicBezTo>
                    <a:pt x="339512" y="77216"/>
                    <a:pt x="347671" y="85375"/>
                    <a:pt x="350390" y="93534"/>
                  </a:cubicBezTo>
                  <a:cubicBezTo>
                    <a:pt x="350390" y="88095"/>
                    <a:pt x="353110" y="79936"/>
                    <a:pt x="353110" y="74496"/>
                  </a:cubicBezTo>
                  <a:cubicBezTo>
                    <a:pt x="355830" y="71776"/>
                    <a:pt x="355830" y="69057"/>
                    <a:pt x="358549" y="63618"/>
                  </a:cubicBezTo>
                  <a:cubicBezTo>
                    <a:pt x="361269" y="60898"/>
                    <a:pt x="363989" y="58178"/>
                    <a:pt x="366708" y="58178"/>
                  </a:cubicBezTo>
                  <a:cubicBezTo>
                    <a:pt x="369428" y="58178"/>
                    <a:pt x="372148" y="60898"/>
                    <a:pt x="374867" y="63618"/>
                  </a:cubicBezTo>
                  <a:cubicBezTo>
                    <a:pt x="377587" y="69057"/>
                    <a:pt x="380307" y="77216"/>
                    <a:pt x="383027" y="82655"/>
                  </a:cubicBezTo>
                  <a:cubicBezTo>
                    <a:pt x="383027" y="90814"/>
                    <a:pt x="385746" y="107132"/>
                    <a:pt x="385746" y="126170"/>
                  </a:cubicBezTo>
                  <a:cubicBezTo>
                    <a:pt x="385746" y="150647"/>
                    <a:pt x="385746" y="177843"/>
                    <a:pt x="388466" y="186002"/>
                  </a:cubicBezTo>
                  <a:cubicBezTo>
                    <a:pt x="391185" y="207759"/>
                    <a:pt x="391185" y="215918"/>
                    <a:pt x="391185" y="237676"/>
                  </a:cubicBezTo>
                  <a:cubicBezTo>
                    <a:pt x="391185" y="248554"/>
                    <a:pt x="391185" y="278470"/>
                    <a:pt x="374867" y="278470"/>
                  </a:cubicBezTo>
                  <a:cubicBezTo>
                    <a:pt x="366708" y="278470"/>
                    <a:pt x="363989" y="275751"/>
                    <a:pt x="358549" y="273031"/>
                  </a:cubicBezTo>
                  <a:cubicBezTo>
                    <a:pt x="353110" y="270311"/>
                    <a:pt x="350390" y="262152"/>
                    <a:pt x="350390" y="256713"/>
                  </a:cubicBezTo>
                  <a:cubicBezTo>
                    <a:pt x="350390" y="251274"/>
                    <a:pt x="347671" y="245834"/>
                    <a:pt x="347671" y="240395"/>
                  </a:cubicBezTo>
                  <a:cubicBezTo>
                    <a:pt x="347671" y="232236"/>
                    <a:pt x="347671" y="224077"/>
                    <a:pt x="347671" y="213199"/>
                  </a:cubicBezTo>
                  <a:cubicBezTo>
                    <a:pt x="347671" y="207759"/>
                    <a:pt x="347671" y="199600"/>
                    <a:pt x="344951" y="194161"/>
                  </a:cubicBezTo>
                  <a:cubicBezTo>
                    <a:pt x="342232" y="180563"/>
                    <a:pt x="342232" y="164245"/>
                    <a:pt x="339512" y="150647"/>
                  </a:cubicBezTo>
                  <a:cubicBezTo>
                    <a:pt x="336792" y="137048"/>
                    <a:pt x="331353" y="123450"/>
                    <a:pt x="323194" y="112571"/>
                  </a:cubicBezTo>
                  <a:cubicBezTo>
                    <a:pt x="317754" y="104412"/>
                    <a:pt x="304156" y="101693"/>
                    <a:pt x="293278" y="101693"/>
                  </a:cubicBezTo>
                  <a:cubicBezTo>
                    <a:pt x="279679" y="101693"/>
                    <a:pt x="271520" y="109852"/>
                    <a:pt x="263361" y="120730"/>
                  </a:cubicBezTo>
                  <a:cubicBezTo>
                    <a:pt x="257922" y="131609"/>
                    <a:pt x="247044" y="139768"/>
                    <a:pt x="241604" y="153366"/>
                  </a:cubicBezTo>
                  <a:cubicBezTo>
                    <a:pt x="236165" y="166964"/>
                    <a:pt x="233445" y="180563"/>
                    <a:pt x="233445" y="194161"/>
                  </a:cubicBezTo>
                  <a:cubicBezTo>
                    <a:pt x="233445" y="207759"/>
                    <a:pt x="230725" y="218638"/>
                    <a:pt x="225286" y="232236"/>
                  </a:cubicBezTo>
                  <a:cubicBezTo>
                    <a:pt x="219847" y="245834"/>
                    <a:pt x="219847" y="262152"/>
                    <a:pt x="217127" y="275751"/>
                  </a:cubicBezTo>
                  <a:cubicBezTo>
                    <a:pt x="214407" y="289349"/>
                    <a:pt x="214407" y="302947"/>
                    <a:pt x="211688" y="316545"/>
                  </a:cubicBezTo>
                  <a:cubicBezTo>
                    <a:pt x="211688" y="330144"/>
                    <a:pt x="206249" y="341022"/>
                    <a:pt x="206249" y="354621"/>
                  </a:cubicBezTo>
                  <a:cubicBezTo>
                    <a:pt x="203529" y="368219"/>
                    <a:pt x="203529" y="381817"/>
                    <a:pt x="200809" y="398135"/>
                  </a:cubicBezTo>
                  <a:cubicBezTo>
                    <a:pt x="198090" y="411733"/>
                    <a:pt x="198090" y="425332"/>
                    <a:pt x="195370" y="438930"/>
                  </a:cubicBezTo>
                  <a:cubicBezTo>
                    <a:pt x="195370" y="449809"/>
                    <a:pt x="192650" y="463407"/>
                    <a:pt x="192650" y="474286"/>
                  </a:cubicBezTo>
                  <a:cubicBezTo>
                    <a:pt x="192650" y="490603"/>
                    <a:pt x="195370" y="509641"/>
                    <a:pt x="195370" y="525959"/>
                  </a:cubicBezTo>
                  <a:cubicBezTo>
                    <a:pt x="195370" y="550436"/>
                    <a:pt x="203529" y="572193"/>
                    <a:pt x="208968" y="596670"/>
                  </a:cubicBezTo>
                  <a:cubicBezTo>
                    <a:pt x="211688" y="604829"/>
                    <a:pt x="211688" y="615708"/>
                    <a:pt x="214407" y="623867"/>
                  </a:cubicBezTo>
                  <a:cubicBezTo>
                    <a:pt x="217127" y="634745"/>
                    <a:pt x="222566" y="645624"/>
                    <a:pt x="228006" y="656502"/>
                  </a:cubicBezTo>
                  <a:cubicBezTo>
                    <a:pt x="236165" y="670101"/>
                    <a:pt x="252483" y="689138"/>
                    <a:pt x="271520" y="689138"/>
                  </a:cubicBezTo>
                  <a:cubicBezTo>
                    <a:pt x="287838" y="689138"/>
                    <a:pt x="298717" y="675540"/>
                    <a:pt x="306876" y="664661"/>
                  </a:cubicBezTo>
                  <a:cubicBezTo>
                    <a:pt x="320474" y="645624"/>
                    <a:pt x="325914" y="623867"/>
                    <a:pt x="331353" y="602109"/>
                  </a:cubicBezTo>
                  <a:cubicBezTo>
                    <a:pt x="334073" y="583072"/>
                    <a:pt x="336792" y="564034"/>
                    <a:pt x="336792" y="544997"/>
                  </a:cubicBezTo>
                  <a:cubicBezTo>
                    <a:pt x="336792" y="531398"/>
                    <a:pt x="336792" y="512361"/>
                    <a:pt x="336792" y="498762"/>
                  </a:cubicBezTo>
                  <a:cubicBezTo>
                    <a:pt x="336792" y="496043"/>
                    <a:pt x="336792" y="493323"/>
                    <a:pt x="336792" y="490603"/>
                  </a:cubicBezTo>
                  <a:cubicBezTo>
                    <a:pt x="336792" y="479725"/>
                    <a:pt x="336792" y="477005"/>
                    <a:pt x="320474" y="477005"/>
                  </a:cubicBezTo>
                  <a:cubicBezTo>
                    <a:pt x="309595" y="477005"/>
                    <a:pt x="295997" y="479725"/>
                    <a:pt x="282399" y="479725"/>
                  </a:cubicBezTo>
                  <a:cubicBezTo>
                    <a:pt x="271520" y="479725"/>
                    <a:pt x="260642" y="479725"/>
                    <a:pt x="252483" y="474286"/>
                  </a:cubicBezTo>
                  <a:cubicBezTo>
                    <a:pt x="249763" y="471566"/>
                    <a:pt x="247044" y="468846"/>
                    <a:pt x="247044" y="466126"/>
                  </a:cubicBezTo>
                  <a:cubicBezTo>
                    <a:pt x="247044" y="463407"/>
                    <a:pt x="247044" y="460687"/>
                    <a:pt x="249763" y="457968"/>
                  </a:cubicBezTo>
                  <a:cubicBezTo>
                    <a:pt x="255202" y="452528"/>
                    <a:pt x="260642" y="449809"/>
                    <a:pt x="268801" y="447089"/>
                  </a:cubicBezTo>
                  <a:cubicBezTo>
                    <a:pt x="282399" y="441650"/>
                    <a:pt x="295997" y="438930"/>
                    <a:pt x="312315" y="436210"/>
                  </a:cubicBezTo>
                  <a:cubicBezTo>
                    <a:pt x="325914" y="433491"/>
                    <a:pt x="339512" y="433491"/>
                    <a:pt x="353110" y="430771"/>
                  </a:cubicBezTo>
                  <a:cubicBezTo>
                    <a:pt x="363989" y="430771"/>
                    <a:pt x="374867" y="430771"/>
                    <a:pt x="385746" y="430771"/>
                  </a:cubicBezTo>
                  <a:cubicBezTo>
                    <a:pt x="402064" y="430771"/>
                    <a:pt x="426541" y="428051"/>
                    <a:pt x="437420" y="428051"/>
                  </a:cubicBezTo>
                  <a:cubicBezTo>
                    <a:pt x="451018" y="422612"/>
                    <a:pt x="464616" y="425332"/>
                    <a:pt x="464616" y="436210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661B4D71-5303-4C03-83AA-70CBCD0F8408}"/>
                </a:ext>
              </a:extLst>
            </p:cNvPr>
            <p:cNvSpPr/>
            <p:nvPr/>
          </p:nvSpPr>
          <p:spPr>
            <a:xfrm>
              <a:off x="9053923" y="4178559"/>
              <a:ext cx="625521" cy="788700"/>
            </a:xfrm>
            <a:custGeom>
              <a:avLst/>
              <a:gdLst>
                <a:gd name="connsiteX0" fmla="*/ 536838 w 625521"/>
                <a:gd name="connsiteY0" fmla="*/ 680979 h 788699"/>
                <a:gd name="connsiteX1" fmla="*/ 574913 w 625521"/>
                <a:gd name="connsiteY1" fmla="*/ 697297 h 788699"/>
                <a:gd name="connsiteX2" fmla="*/ 566755 w 625521"/>
                <a:gd name="connsiteY2" fmla="*/ 713615 h 788699"/>
                <a:gd name="connsiteX3" fmla="*/ 550437 w 625521"/>
                <a:gd name="connsiteY3" fmla="*/ 721774 h 788699"/>
                <a:gd name="connsiteX4" fmla="*/ 528680 w 625521"/>
                <a:gd name="connsiteY4" fmla="*/ 724494 h 788699"/>
                <a:gd name="connsiteX5" fmla="*/ 417174 w 625521"/>
                <a:gd name="connsiteY5" fmla="*/ 724494 h 788699"/>
                <a:gd name="connsiteX6" fmla="*/ 398136 w 625521"/>
                <a:gd name="connsiteY6" fmla="*/ 724494 h 788699"/>
                <a:gd name="connsiteX7" fmla="*/ 373659 w 625521"/>
                <a:gd name="connsiteY7" fmla="*/ 724494 h 788699"/>
                <a:gd name="connsiteX8" fmla="*/ 346462 w 625521"/>
                <a:gd name="connsiteY8" fmla="*/ 719054 h 788699"/>
                <a:gd name="connsiteX9" fmla="*/ 330144 w 625521"/>
                <a:gd name="connsiteY9" fmla="*/ 702737 h 788699"/>
                <a:gd name="connsiteX10" fmla="*/ 335584 w 625521"/>
                <a:gd name="connsiteY10" fmla="*/ 694578 h 788699"/>
                <a:gd name="connsiteX11" fmla="*/ 357341 w 625521"/>
                <a:gd name="connsiteY11" fmla="*/ 686419 h 788699"/>
                <a:gd name="connsiteX12" fmla="*/ 395416 w 625521"/>
                <a:gd name="connsiteY12" fmla="*/ 680979 h 788699"/>
                <a:gd name="connsiteX13" fmla="*/ 381817 w 625521"/>
                <a:gd name="connsiteY13" fmla="*/ 656502 h 788699"/>
                <a:gd name="connsiteX14" fmla="*/ 379098 w 625521"/>
                <a:gd name="connsiteY14" fmla="*/ 585791 h 788699"/>
                <a:gd name="connsiteX15" fmla="*/ 379098 w 625521"/>
                <a:gd name="connsiteY15" fmla="*/ 517800 h 788699"/>
                <a:gd name="connsiteX16" fmla="*/ 379098 w 625521"/>
                <a:gd name="connsiteY16" fmla="*/ 474286 h 788699"/>
                <a:gd name="connsiteX17" fmla="*/ 379098 w 625521"/>
                <a:gd name="connsiteY17" fmla="*/ 430771 h 788699"/>
                <a:gd name="connsiteX18" fmla="*/ 381817 w 625521"/>
                <a:gd name="connsiteY18" fmla="*/ 411733 h 788699"/>
                <a:gd name="connsiteX19" fmla="*/ 379098 w 625521"/>
                <a:gd name="connsiteY19" fmla="*/ 400855 h 788699"/>
                <a:gd name="connsiteX20" fmla="*/ 370939 w 625521"/>
                <a:gd name="connsiteY20" fmla="*/ 398135 h 788699"/>
                <a:gd name="connsiteX21" fmla="*/ 338304 w 625521"/>
                <a:gd name="connsiteY21" fmla="*/ 400855 h 788699"/>
                <a:gd name="connsiteX22" fmla="*/ 289349 w 625521"/>
                <a:gd name="connsiteY22" fmla="*/ 403575 h 788699"/>
                <a:gd name="connsiteX23" fmla="*/ 264872 w 625521"/>
                <a:gd name="connsiteY23" fmla="*/ 400855 h 788699"/>
                <a:gd name="connsiteX24" fmla="*/ 259433 w 625521"/>
                <a:gd name="connsiteY24" fmla="*/ 406294 h 788699"/>
                <a:gd name="connsiteX25" fmla="*/ 259433 w 625521"/>
                <a:gd name="connsiteY25" fmla="*/ 425332 h 788699"/>
                <a:gd name="connsiteX26" fmla="*/ 259433 w 625521"/>
                <a:gd name="connsiteY26" fmla="*/ 449809 h 788699"/>
                <a:gd name="connsiteX27" fmla="*/ 259433 w 625521"/>
                <a:gd name="connsiteY27" fmla="*/ 471566 h 788699"/>
                <a:gd name="connsiteX28" fmla="*/ 259433 w 625521"/>
                <a:gd name="connsiteY28" fmla="*/ 504202 h 788699"/>
                <a:gd name="connsiteX29" fmla="*/ 259433 w 625521"/>
                <a:gd name="connsiteY29" fmla="*/ 509641 h 788699"/>
                <a:gd name="connsiteX30" fmla="*/ 256714 w 625521"/>
                <a:gd name="connsiteY30" fmla="*/ 542277 h 788699"/>
                <a:gd name="connsiteX31" fmla="*/ 256714 w 625521"/>
                <a:gd name="connsiteY31" fmla="*/ 577632 h 788699"/>
                <a:gd name="connsiteX32" fmla="*/ 256714 w 625521"/>
                <a:gd name="connsiteY32" fmla="*/ 612988 h 788699"/>
                <a:gd name="connsiteX33" fmla="*/ 253994 w 625521"/>
                <a:gd name="connsiteY33" fmla="*/ 656502 h 788699"/>
                <a:gd name="connsiteX34" fmla="*/ 256714 w 625521"/>
                <a:gd name="connsiteY34" fmla="*/ 678260 h 788699"/>
                <a:gd name="connsiteX35" fmla="*/ 286629 w 625521"/>
                <a:gd name="connsiteY35" fmla="*/ 694578 h 788699"/>
                <a:gd name="connsiteX36" fmla="*/ 281191 w 625521"/>
                <a:gd name="connsiteY36" fmla="*/ 710895 h 788699"/>
                <a:gd name="connsiteX37" fmla="*/ 264872 w 625521"/>
                <a:gd name="connsiteY37" fmla="*/ 719054 h 788699"/>
                <a:gd name="connsiteX38" fmla="*/ 243116 w 625521"/>
                <a:gd name="connsiteY38" fmla="*/ 721774 h 788699"/>
                <a:gd name="connsiteX39" fmla="*/ 243116 w 625521"/>
                <a:gd name="connsiteY39" fmla="*/ 721774 h 788699"/>
                <a:gd name="connsiteX40" fmla="*/ 232236 w 625521"/>
                <a:gd name="connsiteY40" fmla="*/ 727214 h 788699"/>
                <a:gd name="connsiteX41" fmla="*/ 224078 w 625521"/>
                <a:gd name="connsiteY41" fmla="*/ 735372 h 788699"/>
                <a:gd name="connsiteX42" fmla="*/ 213199 w 625521"/>
                <a:gd name="connsiteY42" fmla="*/ 738092 h 788699"/>
                <a:gd name="connsiteX43" fmla="*/ 183283 w 625521"/>
                <a:gd name="connsiteY43" fmla="*/ 727214 h 788699"/>
                <a:gd name="connsiteX44" fmla="*/ 175124 w 625521"/>
                <a:gd name="connsiteY44" fmla="*/ 719054 h 788699"/>
                <a:gd name="connsiteX45" fmla="*/ 145208 w 625521"/>
                <a:gd name="connsiteY45" fmla="*/ 719054 h 788699"/>
                <a:gd name="connsiteX46" fmla="*/ 126170 w 625521"/>
                <a:gd name="connsiteY46" fmla="*/ 719054 h 788699"/>
                <a:gd name="connsiteX47" fmla="*/ 101693 w 625521"/>
                <a:gd name="connsiteY47" fmla="*/ 719054 h 788699"/>
                <a:gd name="connsiteX48" fmla="*/ 74496 w 625521"/>
                <a:gd name="connsiteY48" fmla="*/ 713615 h 788699"/>
                <a:gd name="connsiteX49" fmla="*/ 58178 w 625521"/>
                <a:gd name="connsiteY49" fmla="*/ 697297 h 788699"/>
                <a:gd name="connsiteX50" fmla="*/ 63618 w 625521"/>
                <a:gd name="connsiteY50" fmla="*/ 689138 h 788699"/>
                <a:gd name="connsiteX51" fmla="*/ 85375 w 625521"/>
                <a:gd name="connsiteY51" fmla="*/ 680979 h 788699"/>
                <a:gd name="connsiteX52" fmla="*/ 131609 w 625521"/>
                <a:gd name="connsiteY52" fmla="*/ 675540 h 788699"/>
                <a:gd name="connsiteX53" fmla="*/ 131609 w 625521"/>
                <a:gd name="connsiteY53" fmla="*/ 667381 h 788699"/>
                <a:gd name="connsiteX54" fmla="*/ 131609 w 625521"/>
                <a:gd name="connsiteY54" fmla="*/ 651063 h 788699"/>
                <a:gd name="connsiteX55" fmla="*/ 131609 w 625521"/>
                <a:gd name="connsiteY55" fmla="*/ 618427 h 788699"/>
                <a:gd name="connsiteX56" fmla="*/ 131609 w 625521"/>
                <a:gd name="connsiteY56" fmla="*/ 580352 h 788699"/>
                <a:gd name="connsiteX57" fmla="*/ 131609 w 625521"/>
                <a:gd name="connsiteY57" fmla="*/ 531398 h 788699"/>
                <a:gd name="connsiteX58" fmla="*/ 131609 w 625521"/>
                <a:gd name="connsiteY58" fmla="*/ 466126 h 788699"/>
                <a:gd name="connsiteX59" fmla="*/ 131609 w 625521"/>
                <a:gd name="connsiteY59" fmla="*/ 422612 h 788699"/>
                <a:gd name="connsiteX60" fmla="*/ 131609 w 625521"/>
                <a:gd name="connsiteY60" fmla="*/ 411733 h 788699"/>
                <a:gd name="connsiteX61" fmla="*/ 131609 w 625521"/>
                <a:gd name="connsiteY61" fmla="*/ 398135 h 788699"/>
                <a:gd name="connsiteX62" fmla="*/ 126170 w 625521"/>
                <a:gd name="connsiteY62" fmla="*/ 389976 h 788699"/>
                <a:gd name="connsiteX63" fmla="*/ 101693 w 625521"/>
                <a:gd name="connsiteY63" fmla="*/ 387257 h 788699"/>
                <a:gd name="connsiteX64" fmla="*/ 77216 w 625521"/>
                <a:gd name="connsiteY64" fmla="*/ 376378 h 788699"/>
                <a:gd name="connsiteX65" fmla="*/ 82655 w 625521"/>
                <a:gd name="connsiteY65" fmla="*/ 368219 h 788699"/>
                <a:gd name="connsiteX66" fmla="*/ 98973 w 625521"/>
                <a:gd name="connsiteY66" fmla="*/ 360060 h 788699"/>
                <a:gd name="connsiteX67" fmla="*/ 118011 w 625521"/>
                <a:gd name="connsiteY67" fmla="*/ 357340 h 788699"/>
                <a:gd name="connsiteX68" fmla="*/ 131609 w 625521"/>
                <a:gd name="connsiteY68" fmla="*/ 351901 h 788699"/>
                <a:gd name="connsiteX69" fmla="*/ 131609 w 625521"/>
                <a:gd name="connsiteY69" fmla="*/ 343742 h 788699"/>
                <a:gd name="connsiteX70" fmla="*/ 131609 w 625521"/>
                <a:gd name="connsiteY70" fmla="*/ 270311 h 788699"/>
                <a:gd name="connsiteX71" fmla="*/ 137048 w 625521"/>
                <a:gd name="connsiteY71" fmla="*/ 145207 h 788699"/>
                <a:gd name="connsiteX72" fmla="*/ 139768 w 625521"/>
                <a:gd name="connsiteY72" fmla="*/ 123450 h 788699"/>
                <a:gd name="connsiteX73" fmla="*/ 123450 w 625521"/>
                <a:gd name="connsiteY73" fmla="*/ 123450 h 788699"/>
                <a:gd name="connsiteX74" fmla="*/ 118011 w 625521"/>
                <a:gd name="connsiteY74" fmla="*/ 123450 h 788699"/>
                <a:gd name="connsiteX75" fmla="*/ 101693 w 625521"/>
                <a:gd name="connsiteY75" fmla="*/ 123450 h 788699"/>
                <a:gd name="connsiteX76" fmla="*/ 74496 w 625521"/>
                <a:gd name="connsiteY76" fmla="*/ 118011 h 788699"/>
                <a:gd name="connsiteX77" fmla="*/ 58178 w 625521"/>
                <a:gd name="connsiteY77" fmla="*/ 101693 h 788699"/>
                <a:gd name="connsiteX78" fmla="*/ 63618 w 625521"/>
                <a:gd name="connsiteY78" fmla="*/ 93534 h 788699"/>
                <a:gd name="connsiteX79" fmla="*/ 85375 w 625521"/>
                <a:gd name="connsiteY79" fmla="*/ 85375 h 788699"/>
                <a:gd name="connsiteX80" fmla="*/ 137048 w 625521"/>
                <a:gd name="connsiteY80" fmla="*/ 82655 h 788699"/>
                <a:gd name="connsiteX81" fmla="*/ 147927 w 625521"/>
                <a:gd name="connsiteY81" fmla="*/ 82655 h 788699"/>
                <a:gd name="connsiteX82" fmla="*/ 186003 w 625521"/>
                <a:gd name="connsiteY82" fmla="*/ 58178 h 788699"/>
                <a:gd name="connsiteX83" fmla="*/ 226797 w 625521"/>
                <a:gd name="connsiteY83" fmla="*/ 79936 h 788699"/>
                <a:gd name="connsiteX84" fmla="*/ 253994 w 625521"/>
                <a:gd name="connsiteY84" fmla="*/ 79936 h 788699"/>
                <a:gd name="connsiteX85" fmla="*/ 294789 w 625521"/>
                <a:gd name="connsiteY85" fmla="*/ 96253 h 788699"/>
                <a:gd name="connsiteX86" fmla="*/ 283910 w 625521"/>
                <a:gd name="connsiteY86" fmla="*/ 112571 h 788699"/>
                <a:gd name="connsiteX87" fmla="*/ 267592 w 625521"/>
                <a:gd name="connsiteY87" fmla="*/ 120730 h 788699"/>
                <a:gd name="connsiteX88" fmla="*/ 245835 w 625521"/>
                <a:gd name="connsiteY88" fmla="*/ 123450 h 788699"/>
                <a:gd name="connsiteX89" fmla="*/ 237676 w 625521"/>
                <a:gd name="connsiteY89" fmla="*/ 123450 h 788699"/>
                <a:gd name="connsiteX90" fmla="*/ 240396 w 625521"/>
                <a:gd name="connsiteY90" fmla="*/ 128889 h 788699"/>
                <a:gd name="connsiteX91" fmla="*/ 251274 w 625521"/>
                <a:gd name="connsiteY91" fmla="*/ 177843 h 788699"/>
                <a:gd name="connsiteX92" fmla="*/ 256714 w 625521"/>
                <a:gd name="connsiteY92" fmla="*/ 226797 h 788699"/>
                <a:gd name="connsiteX93" fmla="*/ 262153 w 625521"/>
                <a:gd name="connsiteY93" fmla="*/ 273031 h 788699"/>
                <a:gd name="connsiteX94" fmla="*/ 262153 w 625521"/>
                <a:gd name="connsiteY94" fmla="*/ 289349 h 788699"/>
                <a:gd name="connsiteX95" fmla="*/ 262153 w 625521"/>
                <a:gd name="connsiteY95" fmla="*/ 297508 h 788699"/>
                <a:gd name="connsiteX96" fmla="*/ 264872 w 625521"/>
                <a:gd name="connsiteY96" fmla="*/ 321985 h 788699"/>
                <a:gd name="connsiteX97" fmla="*/ 270312 w 625521"/>
                <a:gd name="connsiteY97" fmla="*/ 335583 h 788699"/>
                <a:gd name="connsiteX98" fmla="*/ 270312 w 625521"/>
                <a:gd name="connsiteY98" fmla="*/ 338303 h 788699"/>
                <a:gd name="connsiteX99" fmla="*/ 270312 w 625521"/>
                <a:gd name="connsiteY99" fmla="*/ 346462 h 788699"/>
                <a:gd name="connsiteX100" fmla="*/ 278471 w 625521"/>
                <a:gd name="connsiteY100" fmla="*/ 354621 h 788699"/>
                <a:gd name="connsiteX101" fmla="*/ 338304 w 625521"/>
                <a:gd name="connsiteY101" fmla="*/ 349181 h 788699"/>
                <a:gd name="connsiteX102" fmla="*/ 365500 w 625521"/>
                <a:gd name="connsiteY102" fmla="*/ 349181 h 788699"/>
                <a:gd name="connsiteX103" fmla="*/ 381817 w 625521"/>
                <a:gd name="connsiteY103" fmla="*/ 349181 h 788699"/>
                <a:gd name="connsiteX104" fmla="*/ 392697 w 625521"/>
                <a:gd name="connsiteY104" fmla="*/ 338303 h 788699"/>
                <a:gd name="connsiteX105" fmla="*/ 389977 w 625521"/>
                <a:gd name="connsiteY105" fmla="*/ 313826 h 788699"/>
                <a:gd name="connsiteX106" fmla="*/ 392697 w 625521"/>
                <a:gd name="connsiteY106" fmla="*/ 262152 h 788699"/>
                <a:gd name="connsiteX107" fmla="*/ 395416 w 625521"/>
                <a:gd name="connsiteY107" fmla="*/ 224077 h 788699"/>
                <a:gd name="connsiteX108" fmla="*/ 398136 w 625521"/>
                <a:gd name="connsiteY108" fmla="*/ 177843 h 788699"/>
                <a:gd name="connsiteX109" fmla="*/ 395416 w 625521"/>
                <a:gd name="connsiteY109" fmla="*/ 153366 h 788699"/>
                <a:gd name="connsiteX110" fmla="*/ 395416 w 625521"/>
                <a:gd name="connsiteY110" fmla="*/ 137048 h 788699"/>
                <a:gd name="connsiteX111" fmla="*/ 379098 w 625521"/>
                <a:gd name="connsiteY111" fmla="*/ 137048 h 788699"/>
                <a:gd name="connsiteX112" fmla="*/ 351902 w 625521"/>
                <a:gd name="connsiteY112" fmla="*/ 131609 h 788699"/>
                <a:gd name="connsiteX113" fmla="*/ 338304 w 625521"/>
                <a:gd name="connsiteY113" fmla="*/ 115291 h 788699"/>
                <a:gd name="connsiteX114" fmla="*/ 343742 w 625521"/>
                <a:gd name="connsiteY114" fmla="*/ 107132 h 788699"/>
                <a:gd name="connsiteX115" fmla="*/ 362780 w 625521"/>
                <a:gd name="connsiteY115" fmla="*/ 98973 h 788699"/>
                <a:gd name="connsiteX116" fmla="*/ 395416 w 625521"/>
                <a:gd name="connsiteY116" fmla="*/ 96253 h 788699"/>
                <a:gd name="connsiteX117" fmla="*/ 403575 w 625521"/>
                <a:gd name="connsiteY117" fmla="*/ 90814 h 788699"/>
                <a:gd name="connsiteX118" fmla="*/ 422612 w 625521"/>
                <a:gd name="connsiteY118" fmla="*/ 88095 h 788699"/>
                <a:gd name="connsiteX119" fmla="*/ 428052 w 625521"/>
                <a:gd name="connsiteY119" fmla="*/ 88095 h 788699"/>
                <a:gd name="connsiteX120" fmla="*/ 447090 w 625521"/>
                <a:gd name="connsiteY120" fmla="*/ 90814 h 788699"/>
                <a:gd name="connsiteX121" fmla="*/ 455249 w 625521"/>
                <a:gd name="connsiteY121" fmla="*/ 96253 h 788699"/>
                <a:gd name="connsiteX122" fmla="*/ 525960 w 625521"/>
                <a:gd name="connsiteY122" fmla="*/ 93534 h 788699"/>
                <a:gd name="connsiteX123" fmla="*/ 561315 w 625521"/>
                <a:gd name="connsiteY123" fmla="*/ 109852 h 788699"/>
                <a:gd name="connsiteX124" fmla="*/ 555876 w 625521"/>
                <a:gd name="connsiteY124" fmla="*/ 126170 h 788699"/>
                <a:gd name="connsiteX125" fmla="*/ 539558 w 625521"/>
                <a:gd name="connsiteY125" fmla="*/ 134329 h 788699"/>
                <a:gd name="connsiteX126" fmla="*/ 517800 w 625521"/>
                <a:gd name="connsiteY126" fmla="*/ 137048 h 788699"/>
                <a:gd name="connsiteX127" fmla="*/ 477006 w 625521"/>
                <a:gd name="connsiteY127" fmla="*/ 137048 h 788699"/>
                <a:gd name="connsiteX128" fmla="*/ 485165 w 625521"/>
                <a:gd name="connsiteY128" fmla="*/ 161525 h 788699"/>
                <a:gd name="connsiteX129" fmla="*/ 496043 w 625521"/>
                <a:gd name="connsiteY129" fmla="*/ 210479 h 788699"/>
                <a:gd name="connsiteX130" fmla="*/ 501483 w 625521"/>
                <a:gd name="connsiteY130" fmla="*/ 251274 h 788699"/>
                <a:gd name="connsiteX131" fmla="*/ 506922 w 625521"/>
                <a:gd name="connsiteY131" fmla="*/ 292069 h 788699"/>
                <a:gd name="connsiteX132" fmla="*/ 506922 w 625521"/>
                <a:gd name="connsiteY132" fmla="*/ 321985 h 788699"/>
                <a:gd name="connsiteX133" fmla="*/ 509642 w 625521"/>
                <a:gd name="connsiteY133" fmla="*/ 341022 h 788699"/>
                <a:gd name="connsiteX134" fmla="*/ 509642 w 625521"/>
                <a:gd name="connsiteY134" fmla="*/ 343742 h 788699"/>
                <a:gd name="connsiteX135" fmla="*/ 517800 w 625521"/>
                <a:gd name="connsiteY135" fmla="*/ 349181 h 788699"/>
                <a:gd name="connsiteX136" fmla="*/ 528680 w 625521"/>
                <a:gd name="connsiteY136" fmla="*/ 349181 h 788699"/>
                <a:gd name="connsiteX137" fmla="*/ 550437 w 625521"/>
                <a:gd name="connsiteY137" fmla="*/ 357340 h 788699"/>
                <a:gd name="connsiteX138" fmla="*/ 550437 w 625521"/>
                <a:gd name="connsiteY138" fmla="*/ 362780 h 788699"/>
                <a:gd name="connsiteX139" fmla="*/ 534119 w 625521"/>
                <a:gd name="connsiteY139" fmla="*/ 384537 h 788699"/>
                <a:gd name="connsiteX140" fmla="*/ 520520 w 625521"/>
                <a:gd name="connsiteY140" fmla="*/ 389976 h 788699"/>
                <a:gd name="connsiteX141" fmla="*/ 512362 w 625521"/>
                <a:gd name="connsiteY141" fmla="*/ 395415 h 788699"/>
                <a:gd name="connsiteX142" fmla="*/ 512362 w 625521"/>
                <a:gd name="connsiteY142" fmla="*/ 398135 h 788699"/>
                <a:gd name="connsiteX143" fmla="*/ 512362 w 625521"/>
                <a:gd name="connsiteY143" fmla="*/ 409014 h 788699"/>
                <a:gd name="connsiteX144" fmla="*/ 512362 w 625521"/>
                <a:gd name="connsiteY144" fmla="*/ 414453 h 788699"/>
                <a:gd name="connsiteX145" fmla="*/ 512362 w 625521"/>
                <a:gd name="connsiteY145" fmla="*/ 438930 h 788699"/>
                <a:gd name="connsiteX146" fmla="*/ 515081 w 625521"/>
                <a:gd name="connsiteY146" fmla="*/ 504202 h 788699"/>
                <a:gd name="connsiteX147" fmla="*/ 520520 w 625521"/>
                <a:gd name="connsiteY147" fmla="*/ 572193 h 788699"/>
                <a:gd name="connsiteX148" fmla="*/ 517800 w 625521"/>
                <a:gd name="connsiteY148" fmla="*/ 604829 h 788699"/>
                <a:gd name="connsiteX149" fmla="*/ 512362 w 625521"/>
                <a:gd name="connsiteY149" fmla="*/ 661942 h 788699"/>
                <a:gd name="connsiteX150" fmla="*/ 509642 w 625521"/>
                <a:gd name="connsiteY150" fmla="*/ 670101 h 788699"/>
                <a:gd name="connsiteX151" fmla="*/ 512362 w 625521"/>
                <a:gd name="connsiteY151" fmla="*/ 680979 h 788699"/>
                <a:gd name="connsiteX152" fmla="*/ 512362 w 625521"/>
                <a:gd name="connsiteY152" fmla="*/ 686419 h 788699"/>
                <a:gd name="connsiteX153" fmla="*/ 536838 w 625521"/>
                <a:gd name="connsiteY153" fmla="*/ 680979 h 788699"/>
                <a:gd name="connsiteX154" fmla="*/ 536838 w 625521"/>
                <a:gd name="connsiteY154" fmla="*/ 680979 h 788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625521" h="788699">
                  <a:moveTo>
                    <a:pt x="536838" y="680979"/>
                  </a:moveTo>
                  <a:cubicBezTo>
                    <a:pt x="550437" y="680979"/>
                    <a:pt x="574913" y="680979"/>
                    <a:pt x="574913" y="697297"/>
                  </a:cubicBezTo>
                  <a:cubicBezTo>
                    <a:pt x="574913" y="705456"/>
                    <a:pt x="572194" y="708176"/>
                    <a:pt x="566755" y="713615"/>
                  </a:cubicBezTo>
                  <a:cubicBezTo>
                    <a:pt x="561315" y="719054"/>
                    <a:pt x="555876" y="721774"/>
                    <a:pt x="550437" y="721774"/>
                  </a:cubicBezTo>
                  <a:cubicBezTo>
                    <a:pt x="539558" y="724494"/>
                    <a:pt x="534119" y="724494"/>
                    <a:pt x="528680" y="724494"/>
                  </a:cubicBezTo>
                  <a:cubicBezTo>
                    <a:pt x="517800" y="724494"/>
                    <a:pt x="428052" y="724494"/>
                    <a:pt x="417174" y="724494"/>
                  </a:cubicBezTo>
                  <a:cubicBezTo>
                    <a:pt x="403575" y="724494"/>
                    <a:pt x="414454" y="724494"/>
                    <a:pt x="398136" y="724494"/>
                  </a:cubicBezTo>
                  <a:cubicBezTo>
                    <a:pt x="389977" y="724494"/>
                    <a:pt x="381817" y="724494"/>
                    <a:pt x="373659" y="724494"/>
                  </a:cubicBezTo>
                  <a:cubicBezTo>
                    <a:pt x="365500" y="724494"/>
                    <a:pt x="354621" y="721774"/>
                    <a:pt x="346462" y="719054"/>
                  </a:cubicBezTo>
                  <a:cubicBezTo>
                    <a:pt x="338304" y="716335"/>
                    <a:pt x="330144" y="708176"/>
                    <a:pt x="330144" y="702737"/>
                  </a:cubicBezTo>
                  <a:cubicBezTo>
                    <a:pt x="330144" y="700017"/>
                    <a:pt x="330144" y="697297"/>
                    <a:pt x="335584" y="694578"/>
                  </a:cubicBezTo>
                  <a:cubicBezTo>
                    <a:pt x="341023" y="691858"/>
                    <a:pt x="351902" y="689138"/>
                    <a:pt x="357341" y="686419"/>
                  </a:cubicBezTo>
                  <a:cubicBezTo>
                    <a:pt x="373659" y="683699"/>
                    <a:pt x="387257" y="680979"/>
                    <a:pt x="395416" y="680979"/>
                  </a:cubicBezTo>
                  <a:cubicBezTo>
                    <a:pt x="387257" y="675540"/>
                    <a:pt x="384537" y="670101"/>
                    <a:pt x="381817" y="656502"/>
                  </a:cubicBezTo>
                  <a:cubicBezTo>
                    <a:pt x="379098" y="632026"/>
                    <a:pt x="379098" y="610268"/>
                    <a:pt x="379098" y="585791"/>
                  </a:cubicBezTo>
                  <a:cubicBezTo>
                    <a:pt x="379098" y="564034"/>
                    <a:pt x="379098" y="542277"/>
                    <a:pt x="379098" y="517800"/>
                  </a:cubicBezTo>
                  <a:cubicBezTo>
                    <a:pt x="379098" y="504202"/>
                    <a:pt x="379098" y="487884"/>
                    <a:pt x="379098" y="474286"/>
                  </a:cubicBezTo>
                  <a:cubicBezTo>
                    <a:pt x="379098" y="457968"/>
                    <a:pt x="376379" y="444369"/>
                    <a:pt x="379098" y="430771"/>
                  </a:cubicBezTo>
                  <a:cubicBezTo>
                    <a:pt x="379098" y="425332"/>
                    <a:pt x="381817" y="417173"/>
                    <a:pt x="381817" y="411733"/>
                  </a:cubicBezTo>
                  <a:cubicBezTo>
                    <a:pt x="381817" y="406294"/>
                    <a:pt x="381817" y="403575"/>
                    <a:pt x="379098" y="400855"/>
                  </a:cubicBezTo>
                  <a:cubicBezTo>
                    <a:pt x="376379" y="400855"/>
                    <a:pt x="373659" y="398135"/>
                    <a:pt x="370939" y="398135"/>
                  </a:cubicBezTo>
                  <a:cubicBezTo>
                    <a:pt x="360061" y="398135"/>
                    <a:pt x="343742" y="400855"/>
                    <a:pt x="338304" y="400855"/>
                  </a:cubicBezTo>
                  <a:cubicBezTo>
                    <a:pt x="330144" y="400855"/>
                    <a:pt x="319266" y="403575"/>
                    <a:pt x="289349" y="403575"/>
                  </a:cubicBezTo>
                  <a:cubicBezTo>
                    <a:pt x="275751" y="403575"/>
                    <a:pt x="267592" y="400855"/>
                    <a:pt x="264872" y="400855"/>
                  </a:cubicBezTo>
                  <a:cubicBezTo>
                    <a:pt x="262153" y="400855"/>
                    <a:pt x="259433" y="400855"/>
                    <a:pt x="259433" y="406294"/>
                  </a:cubicBezTo>
                  <a:cubicBezTo>
                    <a:pt x="259433" y="414453"/>
                    <a:pt x="259433" y="419892"/>
                    <a:pt x="259433" y="425332"/>
                  </a:cubicBezTo>
                  <a:cubicBezTo>
                    <a:pt x="259433" y="433491"/>
                    <a:pt x="259433" y="441650"/>
                    <a:pt x="259433" y="449809"/>
                  </a:cubicBezTo>
                  <a:cubicBezTo>
                    <a:pt x="259433" y="457968"/>
                    <a:pt x="259433" y="463407"/>
                    <a:pt x="259433" y="471566"/>
                  </a:cubicBezTo>
                  <a:cubicBezTo>
                    <a:pt x="259433" y="482445"/>
                    <a:pt x="259433" y="493323"/>
                    <a:pt x="259433" y="504202"/>
                  </a:cubicBezTo>
                  <a:cubicBezTo>
                    <a:pt x="259433" y="506921"/>
                    <a:pt x="259433" y="506921"/>
                    <a:pt x="259433" y="509641"/>
                  </a:cubicBezTo>
                  <a:cubicBezTo>
                    <a:pt x="259433" y="520520"/>
                    <a:pt x="256714" y="531398"/>
                    <a:pt x="256714" y="542277"/>
                  </a:cubicBezTo>
                  <a:cubicBezTo>
                    <a:pt x="256714" y="553156"/>
                    <a:pt x="256714" y="566754"/>
                    <a:pt x="256714" y="577632"/>
                  </a:cubicBezTo>
                  <a:cubicBezTo>
                    <a:pt x="256714" y="588511"/>
                    <a:pt x="256714" y="599390"/>
                    <a:pt x="256714" y="612988"/>
                  </a:cubicBezTo>
                  <a:cubicBezTo>
                    <a:pt x="256714" y="629306"/>
                    <a:pt x="253994" y="642904"/>
                    <a:pt x="253994" y="656502"/>
                  </a:cubicBezTo>
                  <a:cubicBezTo>
                    <a:pt x="253994" y="664661"/>
                    <a:pt x="256714" y="672820"/>
                    <a:pt x="256714" y="678260"/>
                  </a:cubicBezTo>
                  <a:cubicBezTo>
                    <a:pt x="270312" y="678260"/>
                    <a:pt x="286629" y="680979"/>
                    <a:pt x="286629" y="694578"/>
                  </a:cubicBezTo>
                  <a:cubicBezTo>
                    <a:pt x="286629" y="702737"/>
                    <a:pt x="283910" y="705456"/>
                    <a:pt x="281191" y="710895"/>
                  </a:cubicBezTo>
                  <a:cubicBezTo>
                    <a:pt x="275751" y="716335"/>
                    <a:pt x="270312" y="719054"/>
                    <a:pt x="264872" y="719054"/>
                  </a:cubicBezTo>
                  <a:cubicBezTo>
                    <a:pt x="256714" y="721774"/>
                    <a:pt x="248554" y="721774"/>
                    <a:pt x="243116" y="721774"/>
                  </a:cubicBezTo>
                  <a:cubicBezTo>
                    <a:pt x="243116" y="721774"/>
                    <a:pt x="243116" y="721774"/>
                    <a:pt x="243116" y="721774"/>
                  </a:cubicBezTo>
                  <a:cubicBezTo>
                    <a:pt x="237676" y="724494"/>
                    <a:pt x="237676" y="724494"/>
                    <a:pt x="232236" y="727214"/>
                  </a:cubicBezTo>
                  <a:cubicBezTo>
                    <a:pt x="229517" y="729933"/>
                    <a:pt x="229517" y="732653"/>
                    <a:pt x="224078" y="735372"/>
                  </a:cubicBezTo>
                  <a:cubicBezTo>
                    <a:pt x="221358" y="738092"/>
                    <a:pt x="215919" y="738092"/>
                    <a:pt x="213199" y="738092"/>
                  </a:cubicBezTo>
                  <a:cubicBezTo>
                    <a:pt x="199601" y="738092"/>
                    <a:pt x="188722" y="735372"/>
                    <a:pt x="183283" y="727214"/>
                  </a:cubicBezTo>
                  <a:cubicBezTo>
                    <a:pt x="180563" y="724494"/>
                    <a:pt x="177843" y="721774"/>
                    <a:pt x="175124" y="719054"/>
                  </a:cubicBezTo>
                  <a:cubicBezTo>
                    <a:pt x="161526" y="719054"/>
                    <a:pt x="150646" y="719054"/>
                    <a:pt x="145208" y="719054"/>
                  </a:cubicBezTo>
                  <a:cubicBezTo>
                    <a:pt x="131609" y="719054"/>
                    <a:pt x="142488" y="719054"/>
                    <a:pt x="126170" y="719054"/>
                  </a:cubicBezTo>
                  <a:cubicBezTo>
                    <a:pt x="118011" y="719054"/>
                    <a:pt x="109852" y="719054"/>
                    <a:pt x="101693" y="719054"/>
                  </a:cubicBezTo>
                  <a:cubicBezTo>
                    <a:pt x="93534" y="719054"/>
                    <a:pt x="82655" y="719054"/>
                    <a:pt x="74496" y="713615"/>
                  </a:cubicBezTo>
                  <a:cubicBezTo>
                    <a:pt x="66338" y="710895"/>
                    <a:pt x="58178" y="702737"/>
                    <a:pt x="58178" y="697297"/>
                  </a:cubicBezTo>
                  <a:cubicBezTo>
                    <a:pt x="58178" y="694578"/>
                    <a:pt x="58178" y="691858"/>
                    <a:pt x="63618" y="689138"/>
                  </a:cubicBezTo>
                  <a:cubicBezTo>
                    <a:pt x="69057" y="686419"/>
                    <a:pt x="79936" y="683699"/>
                    <a:pt x="85375" y="680979"/>
                  </a:cubicBezTo>
                  <a:cubicBezTo>
                    <a:pt x="98973" y="678260"/>
                    <a:pt x="118011" y="678260"/>
                    <a:pt x="131609" y="675540"/>
                  </a:cubicBezTo>
                  <a:cubicBezTo>
                    <a:pt x="131609" y="672820"/>
                    <a:pt x="131609" y="670101"/>
                    <a:pt x="131609" y="667381"/>
                  </a:cubicBezTo>
                  <a:cubicBezTo>
                    <a:pt x="131609" y="661942"/>
                    <a:pt x="131609" y="656502"/>
                    <a:pt x="131609" y="651063"/>
                  </a:cubicBezTo>
                  <a:cubicBezTo>
                    <a:pt x="131609" y="640184"/>
                    <a:pt x="131609" y="629306"/>
                    <a:pt x="131609" y="618427"/>
                  </a:cubicBezTo>
                  <a:cubicBezTo>
                    <a:pt x="131609" y="604829"/>
                    <a:pt x="131609" y="593950"/>
                    <a:pt x="131609" y="580352"/>
                  </a:cubicBezTo>
                  <a:cubicBezTo>
                    <a:pt x="131609" y="564034"/>
                    <a:pt x="131609" y="547716"/>
                    <a:pt x="131609" y="531398"/>
                  </a:cubicBezTo>
                  <a:cubicBezTo>
                    <a:pt x="131609" y="509641"/>
                    <a:pt x="131609" y="487884"/>
                    <a:pt x="131609" y="466126"/>
                  </a:cubicBezTo>
                  <a:cubicBezTo>
                    <a:pt x="131609" y="452528"/>
                    <a:pt x="131609" y="436210"/>
                    <a:pt x="131609" y="422612"/>
                  </a:cubicBezTo>
                  <a:cubicBezTo>
                    <a:pt x="131609" y="419892"/>
                    <a:pt x="131609" y="414453"/>
                    <a:pt x="131609" y="411733"/>
                  </a:cubicBezTo>
                  <a:cubicBezTo>
                    <a:pt x="131609" y="409014"/>
                    <a:pt x="131609" y="400855"/>
                    <a:pt x="131609" y="398135"/>
                  </a:cubicBezTo>
                  <a:cubicBezTo>
                    <a:pt x="131609" y="392696"/>
                    <a:pt x="131609" y="392696"/>
                    <a:pt x="126170" y="389976"/>
                  </a:cubicBezTo>
                  <a:cubicBezTo>
                    <a:pt x="123450" y="389976"/>
                    <a:pt x="109852" y="387257"/>
                    <a:pt x="101693" y="387257"/>
                  </a:cubicBezTo>
                  <a:cubicBezTo>
                    <a:pt x="90814" y="384537"/>
                    <a:pt x="77216" y="381817"/>
                    <a:pt x="77216" y="376378"/>
                  </a:cubicBezTo>
                  <a:cubicBezTo>
                    <a:pt x="77216" y="373658"/>
                    <a:pt x="79936" y="370939"/>
                    <a:pt x="82655" y="368219"/>
                  </a:cubicBezTo>
                  <a:cubicBezTo>
                    <a:pt x="88095" y="365499"/>
                    <a:pt x="93534" y="362780"/>
                    <a:pt x="98973" y="360060"/>
                  </a:cubicBezTo>
                  <a:cubicBezTo>
                    <a:pt x="104413" y="360060"/>
                    <a:pt x="112571" y="357340"/>
                    <a:pt x="118011" y="357340"/>
                  </a:cubicBezTo>
                  <a:cubicBezTo>
                    <a:pt x="126170" y="354621"/>
                    <a:pt x="128890" y="357340"/>
                    <a:pt x="131609" y="351901"/>
                  </a:cubicBezTo>
                  <a:cubicBezTo>
                    <a:pt x="131609" y="349181"/>
                    <a:pt x="131609" y="346462"/>
                    <a:pt x="131609" y="343742"/>
                  </a:cubicBezTo>
                  <a:cubicBezTo>
                    <a:pt x="131609" y="319265"/>
                    <a:pt x="131609" y="294788"/>
                    <a:pt x="131609" y="270311"/>
                  </a:cubicBezTo>
                  <a:cubicBezTo>
                    <a:pt x="131609" y="226797"/>
                    <a:pt x="131609" y="186002"/>
                    <a:pt x="137048" y="145207"/>
                  </a:cubicBezTo>
                  <a:cubicBezTo>
                    <a:pt x="137048" y="139768"/>
                    <a:pt x="137048" y="131609"/>
                    <a:pt x="139768" y="123450"/>
                  </a:cubicBezTo>
                  <a:cubicBezTo>
                    <a:pt x="134329" y="123450"/>
                    <a:pt x="137048" y="123450"/>
                    <a:pt x="123450" y="123450"/>
                  </a:cubicBezTo>
                  <a:cubicBezTo>
                    <a:pt x="120731" y="123450"/>
                    <a:pt x="120731" y="123450"/>
                    <a:pt x="118011" y="123450"/>
                  </a:cubicBezTo>
                  <a:cubicBezTo>
                    <a:pt x="112571" y="123450"/>
                    <a:pt x="107133" y="123450"/>
                    <a:pt x="101693" y="123450"/>
                  </a:cubicBezTo>
                  <a:cubicBezTo>
                    <a:pt x="93534" y="123450"/>
                    <a:pt x="82655" y="120730"/>
                    <a:pt x="74496" y="118011"/>
                  </a:cubicBezTo>
                  <a:cubicBezTo>
                    <a:pt x="66338" y="115291"/>
                    <a:pt x="58178" y="107132"/>
                    <a:pt x="58178" y="101693"/>
                  </a:cubicBezTo>
                  <a:cubicBezTo>
                    <a:pt x="58178" y="98973"/>
                    <a:pt x="58178" y="96253"/>
                    <a:pt x="63618" y="93534"/>
                  </a:cubicBezTo>
                  <a:cubicBezTo>
                    <a:pt x="66338" y="90814"/>
                    <a:pt x="77216" y="88095"/>
                    <a:pt x="85375" y="85375"/>
                  </a:cubicBezTo>
                  <a:cubicBezTo>
                    <a:pt x="104413" y="82655"/>
                    <a:pt x="128890" y="82655"/>
                    <a:pt x="137048" y="82655"/>
                  </a:cubicBezTo>
                  <a:cubicBezTo>
                    <a:pt x="139768" y="82655"/>
                    <a:pt x="142488" y="82655"/>
                    <a:pt x="147927" y="82655"/>
                  </a:cubicBezTo>
                  <a:cubicBezTo>
                    <a:pt x="153366" y="69057"/>
                    <a:pt x="164245" y="58178"/>
                    <a:pt x="186003" y="58178"/>
                  </a:cubicBezTo>
                  <a:cubicBezTo>
                    <a:pt x="202321" y="58178"/>
                    <a:pt x="215919" y="66337"/>
                    <a:pt x="226797" y="79936"/>
                  </a:cubicBezTo>
                  <a:cubicBezTo>
                    <a:pt x="237676" y="79936"/>
                    <a:pt x="248554" y="79936"/>
                    <a:pt x="253994" y="79936"/>
                  </a:cubicBezTo>
                  <a:cubicBezTo>
                    <a:pt x="267592" y="79936"/>
                    <a:pt x="294789" y="79936"/>
                    <a:pt x="294789" y="96253"/>
                  </a:cubicBezTo>
                  <a:cubicBezTo>
                    <a:pt x="294789" y="104412"/>
                    <a:pt x="289349" y="107132"/>
                    <a:pt x="283910" y="112571"/>
                  </a:cubicBezTo>
                  <a:cubicBezTo>
                    <a:pt x="278471" y="118011"/>
                    <a:pt x="273031" y="120730"/>
                    <a:pt x="267592" y="120730"/>
                  </a:cubicBezTo>
                  <a:cubicBezTo>
                    <a:pt x="259433" y="123450"/>
                    <a:pt x="251274" y="123450"/>
                    <a:pt x="245835" y="123450"/>
                  </a:cubicBezTo>
                  <a:cubicBezTo>
                    <a:pt x="245835" y="123450"/>
                    <a:pt x="243116" y="123450"/>
                    <a:pt x="237676" y="123450"/>
                  </a:cubicBezTo>
                  <a:cubicBezTo>
                    <a:pt x="237676" y="126170"/>
                    <a:pt x="237676" y="126170"/>
                    <a:pt x="240396" y="128889"/>
                  </a:cubicBezTo>
                  <a:cubicBezTo>
                    <a:pt x="245835" y="145207"/>
                    <a:pt x="248554" y="161525"/>
                    <a:pt x="251274" y="177843"/>
                  </a:cubicBezTo>
                  <a:cubicBezTo>
                    <a:pt x="253994" y="194161"/>
                    <a:pt x="253994" y="210479"/>
                    <a:pt x="256714" y="226797"/>
                  </a:cubicBezTo>
                  <a:cubicBezTo>
                    <a:pt x="259433" y="243115"/>
                    <a:pt x="262153" y="256713"/>
                    <a:pt x="262153" y="273031"/>
                  </a:cubicBezTo>
                  <a:cubicBezTo>
                    <a:pt x="262153" y="278470"/>
                    <a:pt x="262153" y="283910"/>
                    <a:pt x="262153" y="289349"/>
                  </a:cubicBezTo>
                  <a:lnTo>
                    <a:pt x="262153" y="297508"/>
                  </a:lnTo>
                  <a:cubicBezTo>
                    <a:pt x="262153" y="305667"/>
                    <a:pt x="262153" y="313826"/>
                    <a:pt x="264872" y="321985"/>
                  </a:cubicBezTo>
                  <a:cubicBezTo>
                    <a:pt x="264872" y="327424"/>
                    <a:pt x="270312" y="330144"/>
                    <a:pt x="270312" y="335583"/>
                  </a:cubicBezTo>
                  <a:cubicBezTo>
                    <a:pt x="270312" y="335583"/>
                    <a:pt x="270312" y="338303"/>
                    <a:pt x="270312" y="338303"/>
                  </a:cubicBezTo>
                  <a:cubicBezTo>
                    <a:pt x="270312" y="341022"/>
                    <a:pt x="270312" y="343742"/>
                    <a:pt x="270312" y="346462"/>
                  </a:cubicBezTo>
                  <a:cubicBezTo>
                    <a:pt x="270312" y="351901"/>
                    <a:pt x="273031" y="354621"/>
                    <a:pt x="278471" y="354621"/>
                  </a:cubicBezTo>
                  <a:cubicBezTo>
                    <a:pt x="289349" y="354621"/>
                    <a:pt x="335584" y="351901"/>
                    <a:pt x="338304" y="349181"/>
                  </a:cubicBezTo>
                  <a:cubicBezTo>
                    <a:pt x="346462" y="349181"/>
                    <a:pt x="357341" y="349181"/>
                    <a:pt x="365500" y="349181"/>
                  </a:cubicBezTo>
                  <a:cubicBezTo>
                    <a:pt x="370939" y="349181"/>
                    <a:pt x="376379" y="349181"/>
                    <a:pt x="381817" y="349181"/>
                  </a:cubicBezTo>
                  <a:cubicBezTo>
                    <a:pt x="387257" y="349181"/>
                    <a:pt x="392697" y="346462"/>
                    <a:pt x="392697" y="338303"/>
                  </a:cubicBezTo>
                  <a:cubicBezTo>
                    <a:pt x="392697" y="330144"/>
                    <a:pt x="389977" y="316545"/>
                    <a:pt x="389977" y="313826"/>
                  </a:cubicBezTo>
                  <a:cubicBezTo>
                    <a:pt x="389977" y="294788"/>
                    <a:pt x="389977" y="278470"/>
                    <a:pt x="392697" y="262152"/>
                  </a:cubicBezTo>
                  <a:cubicBezTo>
                    <a:pt x="392697" y="259433"/>
                    <a:pt x="395416" y="243115"/>
                    <a:pt x="395416" y="224077"/>
                  </a:cubicBezTo>
                  <a:cubicBezTo>
                    <a:pt x="395416" y="207759"/>
                    <a:pt x="398136" y="188722"/>
                    <a:pt x="398136" y="177843"/>
                  </a:cubicBezTo>
                  <a:cubicBezTo>
                    <a:pt x="398136" y="169684"/>
                    <a:pt x="395416" y="158806"/>
                    <a:pt x="395416" y="153366"/>
                  </a:cubicBezTo>
                  <a:cubicBezTo>
                    <a:pt x="395416" y="145207"/>
                    <a:pt x="395416" y="142488"/>
                    <a:pt x="395416" y="137048"/>
                  </a:cubicBezTo>
                  <a:cubicBezTo>
                    <a:pt x="389977" y="137048"/>
                    <a:pt x="384537" y="137048"/>
                    <a:pt x="379098" y="137048"/>
                  </a:cubicBezTo>
                  <a:cubicBezTo>
                    <a:pt x="370939" y="137048"/>
                    <a:pt x="360061" y="134329"/>
                    <a:pt x="351902" y="131609"/>
                  </a:cubicBezTo>
                  <a:cubicBezTo>
                    <a:pt x="343742" y="128889"/>
                    <a:pt x="338304" y="120730"/>
                    <a:pt x="338304" y="115291"/>
                  </a:cubicBezTo>
                  <a:cubicBezTo>
                    <a:pt x="338304" y="112571"/>
                    <a:pt x="338304" y="109852"/>
                    <a:pt x="343742" y="107132"/>
                  </a:cubicBezTo>
                  <a:cubicBezTo>
                    <a:pt x="349182" y="104412"/>
                    <a:pt x="357341" y="101693"/>
                    <a:pt x="362780" y="98973"/>
                  </a:cubicBezTo>
                  <a:cubicBezTo>
                    <a:pt x="373659" y="96253"/>
                    <a:pt x="387257" y="96253"/>
                    <a:pt x="395416" y="96253"/>
                  </a:cubicBezTo>
                  <a:cubicBezTo>
                    <a:pt x="398136" y="93534"/>
                    <a:pt x="400855" y="90814"/>
                    <a:pt x="403575" y="90814"/>
                  </a:cubicBezTo>
                  <a:cubicBezTo>
                    <a:pt x="411734" y="90814"/>
                    <a:pt x="419893" y="88095"/>
                    <a:pt x="422612" y="88095"/>
                  </a:cubicBezTo>
                  <a:cubicBezTo>
                    <a:pt x="425332" y="88095"/>
                    <a:pt x="425332" y="88095"/>
                    <a:pt x="428052" y="88095"/>
                  </a:cubicBezTo>
                  <a:cubicBezTo>
                    <a:pt x="433492" y="88095"/>
                    <a:pt x="441650" y="88095"/>
                    <a:pt x="447090" y="90814"/>
                  </a:cubicBezTo>
                  <a:cubicBezTo>
                    <a:pt x="449809" y="90814"/>
                    <a:pt x="452529" y="93534"/>
                    <a:pt x="455249" y="96253"/>
                  </a:cubicBezTo>
                  <a:cubicBezTo>
                    <a:pt x="482445" y="96253"/>
                    <a:pt x="509642" y="93534"/>
                    <a:pt x="525960" y="93534"/>
                  </a:cubicBezTo>
                  <a:cubicBezTo>
                    <a:pt x="539558" y="93534"/>
                    <a:pt x="561315" y="93534"/>
                    <a:pt x="561315" y="109852"/>
                  </a:cubicBezTo>
                  <a:cubicBezTo>
                    <a:pt x="561315" y="118011"/>
                    <a:pt x="561315" y="120730"/>
                    <a:pt x="555876" y="126170"/>
                  </a:cubicBezTo>
                  <a:cubicBezTo>
                    <a:pt x="550437" y="131609"/>
                    <a:pt x="544997" y="134329"/>
                    <a:pt x="539558" y="134329"/>
                  </a:cubicBezTo>
                  <a:cubicBezTo>
                    <a:pt x="531399" y="137048"/>
                    <a:pt x="523240" y="137048"/>
                    <a:pt x="517800" y="137048"/>
                  </a:cubicBezTo>
                  <a:cubicBezTo>
                    <a:pt x="515081" y="137048"/>
                    <a:pt x="498763" y="137048"/>
                    <a:pt x="477006" y="137048"/>
                  </a:cubicBezTo>
                  <a:cubicBezTo>
                    <a:pt x="479725" y="145207"/>
                    <a:pt x="485165" y="153366"/>
                    <a:pt x="485165" y="161525"/>
                  </a:cubicBezTo>
                  <a:cubicBezTo>
                    <a:pt x="487885" y="177843"/>
                    <a:pt x="493324" y="194161"/>
                    <a:pt x="496043" y="210479"/>
                  </a:cubicBezTo>
                  <a:cubicBezTo>
                    <a:pt x="498763" y="224077"/>
                    <a:pt x="498763" y="237676"/>
                    <a:pt x="501483" y="251274"/>
                  </a:cubicBezTo>
                  <a:cubicBezTo>
                    <a:pt x="504202" y="264872"/>
                    <a:pt x="506922" y="275751"/>
                    <a:pt x="506922" y="292069"/>
                  </a:cubicBezTo>
                  <a:cubicBezTo>
                    <a:pt x="506922" y="302947"/>
                    <a:pt x="506922" y="311106"/>
                    <a:pt x="506922" y="321985"/>
                  </a:cubicBezTo>
                  <a:cubicBezTo>
                    <a:pt x="506922" y="327424"/>
                    <a:pt x="509642" y="335583"/>
                    <a:pt x="509642" y="341022"/>
                  </a:cubicBezTo>
                  <a:cubicBezTo>
                    <a:pt x="509642" y="343742"/>
                    <a:pt x="509642" y="343742"/>
                    <a:pt x="509642" y="343742"/>
                  </a:cubicBezTo>
                  <a:cubicBezTo>
                    <a:pt x="509642" y="349181"/>
                    <a:pt x="515081" y="349181"/>
                    <a:pt x="517800" y="349181"/>
                  </a:cubicBezTo>
                  <a:cubicBezTo>
                    <a:pt x="520520" y="349181"/>
                    <a:pt x="523240" y="349181"/>
                    <a:pt x="528680" y="349181"/>
                  </a:cubicBezTo>
                  <a:cubicBezTo>
                    <a:pt x="536838" y="349181"/>
                    <a:pt x="547717" y="349181"/>
                    <a:pt x="550437" y="357340"/>
                  </a:cubicBezTo>
                  <a:cubicBezTo>
                    <a:pt x="550437" y="360060"/>
                    <a:pt x="550437" y="360060"/>
                    <a:pt x="550437" y="362780"/>
                  </a:cubicBezTo>
                  <a:cubicBezTo>
                    <a:pt x="550437" y="370939"/>
                    <a:pt x="539558" y="381817"/>
                    <a:pt x="534119" y="384537"/>
                  </a:cubicBezTo>
                  <a:cubicBezTo>
                    <a:pt x="531399" y="387257"/>
                    <a:pt x="523240" y="387257"/>
                    <a:pt x="520520" y="389976"/>
                  </a:cubicBezTo>
                  <a:cubicBezTo>
                    <a:pt x="515081" y="389976"/>
                    <a:pt x="512362" y="392696"/>
                    <a:pt x="512362" y="395415"/>
                  </a:cubicBezTo>
                  <a:cubicBezTo>
                    <a:pt x="512362" y="395415"/>
                    <a:pt x="512362" y="398135"/>
                    <a:pt x="512362" y="398135"/>
                  </a:cubicBezTo>
                  <a:cubicBezTo>
                    <a:pt x="512362" y="400855"/>
                    <a:pt x="512362" y="406294"/>
                    <a:pt x="512362" y="409014"/>
                  </a:cubicBezTo>
                  <a:cubicBezTo>
                    <a:pt x="512362" y="411733"/>
                    <a:pt x="512362" y="411733"/>
                    <a:pt x="512362" y="414453"/>
                  </a:cubicBezTo>
                  <a:cubicBezTo>
                    <a:pt x="512362" y="422612"/>
                    <a:pt x="512362" y="430771"/>
                    <a:pt x="512362" y="438930"/>
                  </a:cubicBezTo>
                  <a:cubicBezTo>
                    <a:pt x="512362" y="460687"/>
                    <a:pt x="512362" y="482445"/>
                    <a:pt x="515081" y="504202"/>
                  </a:cubicBezTo>
                  <a:cubicBezTo>
                    <a:pt x="517800" y="525959"/>
                    <a:pt x="520520" y="550436"/>
                    <a:pt x="520520" y="572193"/>
                  </a:cubicBezTo>
                  <a:cubicBezTo>
                    <a:pt x="520520" y="583072"/>
                    <a:pt x="520520" y="593950"/>
                    <a:pt x="517800" y="604829"/>
                  </a:cubicBezTo>
                  <a:cubicBezTo>
                    <a:pt x="515081" y="623867"/>
                    <a:pt x="515081" y="642904"/>
                    <a:pt x="512362" y="661942"/>
                  </a:cubicBezTo>
                  <a:cubicBezTo>
                    <a:pt x="512362" y="664661"/>
                    <a:pt x="509642" y="667381"/>
                    <a:pt x="509642" y="670101"/>
                  </a:cubicBezTo>
                  <a:cubicBezTo>
                    <a:pt x="509642" y="672820"/>
                    <a:pt x="512362" y="678260"/>
                    <a:pt x="512362" y="680979"/>
                  </a:cubicBezTo>
                  <a:cubicBezTo>
                    <a:pt x="512362" y="683699"/>
                    <a:pt x="512362" y="686419"/>
                    <a:pt x="512362" y="686419"/>
                  </a:cubicBezTo>
                  <a:cubicBezTo>
                    <a:pt x="517800" y="680979"/>
                    <a:pt x="528680" y="680979"/>
                    <a:pt x="536838" y="680979"/>
                  </a:cubicBezTo>
                  <a:lnTo>
                    <a:pt x="536838" y="680979"/>
                  </a:lnTo>
                  <a:close/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F28577AE-EFA5-4972-9144-42D3352495EC}"/>
                </a:ext>
              </a:extLst>
            </p:cNvPr>
            <p:cNvSpPr/>
            <p:nvPr/>
          </p:nvSpPr>
          <p:spPr>
            <a:xfrm>
              <a:off x="9592416" y="4192158"/>
              <a:ext cx="516735" cy="761503"/>
            </a:xfrm>
            <a:custGeom>
              <a:avLst/>
              <a:gdLst>
                <a:gd name="connsiteX0" fmla="*/ 463407 w 516735"/>
                <a:gd name="connsiteY0" fmla="*/ 194161 h 761503"/>
                <a:gd name="connsiteX1" fmla="*/ 447089 w 516735"/>
                <a:gd name="connsiteY1" fmla="*/ 226797 h 761503"/>
                <a:gd name="connsiteX2" fmla="*/ 430771 w 516735"/>
                <a:gd name="connsiteY2" fmla="*/ 221357 h 761503"/>
                <a:gd name="connsiteX3" fmla="*/ 422612 w 516735"/>
                <a:gd name="connsiteY3" fmla="*/ 207759 h 761503"/>
                <a:gd name="connsiteX4" fmla="*/ 419893 w 516735"/>
                <a:gd name="connsiteY4" fmla="*/ 188722 h 761503"/>
                <a:gd name="connsiteX5" fmla="*/ 419893 w 516735"/>
                <a:gd name="connsiteY5" fmla="*/ 139768 h 761503"/>
                <a:gd name="connsiteX6" fmla="*/ 419893 w 516735"/>
                <a:gd name="connsiteY6" fmla="*/ 120730 h 761503"/>
                <a:gd name="connsiteX7" fmla="*/ 395416 w 516735"/>
                <a:gd name="connsiteY7" fmla="*/ 120730 h 761503"/>
                <a:gd name="connsiteX8" fmla="*/ 370939 w 516735"/>
                <a:gd name="connsiteY8" fmla="*/ 120730 h 761503"/>
                <a:gd name="connsiteX9" fmla="*/ 346461 w 516735"/>
                <a:gd name="connsiteY9" fmla="*/ 123450 h 761503"/>
                <a:gd name="connsiteX10" fmla="*/ 335583 w 516735"/>
                <a:gd name="connsiteY10" fmla="*/ 123450 h 761503"/>
                <a:gd name="connsiteX11" fmla="*/ 335583 w 516735"/>
                <a:gd name="connsiteY11" fmla="*/ 123450 h 761503"/>
                <a:gd name="connsiteX12" fmla="*/ 324704 w 516735"/>
                <a:gd name="connsiteY12" fmla="*/ 128889 h 761503"/>
                <a:gd name="connsiteX13" fmla="*/ 327424 w 516735"/>
                <a:gd name="connsiteY13" fmla="*/ 139768 h 761503"/>
                <a:gd name="connsiteX14" fmla="*/ 330144 w 516735"/>
                <a:gd name="connsiteY14" fmla="*/ 175123 h 761503"/>
                <a:gd name="connsiteX15" fmla="*/ 330144 w 516735"/>
                <a:gd name="connsiteY15" fmla="*/ 199600 h 761503"/>
                <a:gd name="connsiteX16" fmla="*/ 327424 w 516735"/>
                <a:gd name="connsiteY16" fmla="*/ 224077 h 761503"/>
                <a:gd name="connsiteX17" fmla="*/ 330144 w 516735"/>
                <a:gd name="connsiteY17" fmla="*/ 251274 h 761503"/>
                <a:gd name="connsiteX18" fmla="*/ 327424 w 516735"/>
                <a:gd name="connsiteY18" fmla="*/ 278470 h 761503"/>
                <a:gd name="connsiteX19" fmla="*/ 327424 w 516735"/>
                <a:gd name="connsiteY19" fmla="*/ 332864 h 761503"/>
                <a:gd name="connsiteX20" fmla="*/ 330144 w 516735"/>
                <a:gd name="connsiteY20" fmla="*/ 357340 h 761503"/>
                <a:gd name="connsiteX21" fmla="*/ 330144 w 516735"/>
                <a:gd name="connsiteY21" fmla="*/ 368219 h 761503"/>
                <a:gd name="connsiteX22" fmla="*/ 332863 w 516735"/>
                <a:gd name="connsiteY22" fmla="*/ 387257 h 761503"/>
                <a:gd name="connsiteX23" fmla="*/ 332863 w 516735"/>
                <a:gd name="connsiteY23" fmla="*/ 433491 h 761503"/>
                <a:gd name="connsiteX24" fmla="*/ 332863 w 516735"/>
                <a:gd name="connsiteY24" fmla="*/ 487884 h 761503"/>
                <a:gd name="connsiteX25" fmla="*/ 330144 w 516735"/>
                <a:gd name="connsiteY25" fmla="*/ 512361 h 761503"/>
                <a:gd name="connsiteX26" fmla="*/ 330144 w 516735"/>
                <a:gd name="connsiteY26" fmla="*/ 539557 h 761503"/>
                <a:gd name="connsiteX27" fmla="*/ 332863 w 516735"/>
                <a:gd name="connsiteY27" fmla="*/ 593950 h 761503"/>
                <a:gd name="connsiteX28" fmla="*/ 332863 w 516735"/>
                <a:gd name="connsiteY28" fmla="*/ 648343 h 761503"/>
                <a:gd name="connsiteX29" fmla="*/ 332863 w 516735"/>
                <a:gd name="connsiteY29" fmla="*/ 656502 h 761503"/>
                <a:gd name="connsiteX30" fmla="*/ 357341 w 516735"/>
                <a:gd name="connsiteY30" fmla="*/ 656502 h 761503"/>
                <a:gd name="connsiteX31" fmla="*/ 395416 w 516735"/>
                <a:gd name="connsiteY31" fmla="*/ 675540 h 761503"/>
                <a:gd name="connsiteX32" fmla="*/ 389976 w 516735"/>
                <a:gd name="connsiteY32" fmla="*/ 691858 h 761503"/>
                <a:gd name="connsiteX33" fmla="*/ 373658 w 516735"/>
                <a:gd name="connsiteY33" fmla="*/ 700017 h 761503"/>
                <a:gd name="connsiteX34" fmla="*/ 351901 w 516735"/>
                <a:gd name="connsiteY34" fmla="*/ 702737 h 761503"/>
                <a:gd name="connsiteX35" fmla="*/ 319265 w 516735"/>
                <a:gd name="connsiteY35" fmla="*/ 702737 h 761503"/>
                <a:gd name="connsiteX36" fmla="*/ 311106 w 516735"/>
                <a:gd name="connsiteY36" fmla="*/ 708176 h 761503"/>
                <a:gd name="connsiteX37" fmla="*/ 289349 w 516735"/>
                <a:gd name="connsiteY37" fmla="*/ 713615 h 761503"/>
                <a:gd name="connsiteX38" fmla="*/ 270311 w 516735"/>
                <a:gd name="connsiteY38" fmla="*/ 713615 h 761503"/>
                <a:gd name="connsiteX39" fmla="*/ 243115 w 516735"/>
                <a:gd name="connsiteY39" fmla="*/ 705456 h 761503"/>
                <a:gd name="connsiteX40" fmla="*/ 237675 w 516735"/>
                <a:gd name="connsiteY40" fmla="*/ 702737 h 761503"/>
                <a:gd name="connsiteX41" fmla="*/ 199600 w 516735"/>
                <a:gd name="connsiteY41" fmla="*/ 702737 h 761503"/>
                <a:gd name="connsiteX42" fmla="*/ 175123 w 516735"/>
                <a:gd name="connsiteY42" fmla="*/ 702737 h 761503"/>
                <a:gd name="connsiteX43" fmla="*/ 147927 w 516735"/>
                <a:gd name="connsiteY43" fmla="*/ 697297 h 761503"/>
                <a:gd name="connsiteX44" fmla="*/ 131609 w 516735"/>
                <a:gd name="connsiteY44" fmla="*/ 678260 h 761503"/>
                <a:gd name="connsiteX45" fmla="*/ 137048 w 516735"/>
                <a:gd name="connsiteY45" fmla="*/ 670101 h 761503"/>
                <a:gd name="connsiteX46" fmla="*/ 158805 w 516735"/>
                <a:gd name="connsiteY46" fmla="*/ 661942 h 761503"/>
                <a:gd name="connsiteX47" fmla="*/ 199600 w 516735"/>
                <a:gd name="connsiteY47" fmla="*/ 659222 h 761503"/>
                <a:gd name="connsiteX48" fmla="*/ 199600 w 516735"/>
                <a:gd name="connsiteY48" fmla="*/ 659222 h 761503"/>
                <a:gd name="connsiteX49" fmla="*/ 196880 w 516735"/>
                <a:gd name="connsiteY49" fmla="*/ 629306 h 761503"/>
                <a:gd name="connsiteX50" fmla="*/ 199600 w 516735"/>
                <a:gd name="connsiteY50" fmla="*/ 574913 h 761503"/>
                <a:gd name="connsiteX51" fmla="*/ 202320 w 516735"/>
                <a:gd name="connsiteY51" fmla="*/ 523239 h 761503"/>
                <a:gd name="connsiteX52" fmla="*/ 205040 w 516735"/>
                <a:gd name="connsiteY52" fmla="*/ 460687 h 761503"/>
                <a:gd name="connsiteX53" fmla="*/ 205040 w 516735"/>
                <a:gd name="connsiteY53" fmla="*/ 417173 h 761503"/>
                <a:gd name="connsiteX54" fmla="*/ 207759 w 516735"/>
                <a:gd name="connsiteY54" fmla="*/ 392696 h 761503"/>
                <a:gd name="connsiteX55" fmla="*/ 210478 w 516735"/>
                <a:gd name="connsiteY55" fmla="*/ 368219 h 761503"/>
                <a:gd name="connsiteX56" fmla="*/ 210478 w 516735"/>
                <a:gd name="connsiteY56" fmla="*/ 313826 h 761503"/>
                <a:gd name="connsiteX57" fmla="*/ 210478 w 516735"/>
                <a:gd name="connsiteY57" fmla="*/ 259433 h 761503"/>
                <a:gd name="connsiteX58" fmla="*/ 210478 w 516735"/>
                <a:gd name="connsiteY58" fmla="*/ 213199 h 761503"/>
                <a:gd name="connsiteX59" fmla="*/ 210478 w 516735"/>
                <a:gd name="connsiteY59" fmla="*/ 145207 h 761503"/>
                <a:gd name="connsiteX60" fmla="*/ 213198 w 516735"/>
                <a:gd name="connsiteY60" fmla="*/ 131609 h 761503"/>
                <a:gd name="connsiteX61" fmla="*/ 205040 w 516735"/>
                <a:gd name="connsiteY61" fmla="*/ 123450 h 761503"/>
                <a:gd name="connsiteX62" fmla="*/ 161525 w 516735"/>
                <a:gd name="connsiteY62" fmla="*/ 123450 h 761503"/>
                <a:gd name="connsiteX63" fmla="*/ 112571 w 516735"/>
                <a:gd name="connsiteY63" fmla="*/ 120730 h 761503"/>
                <a:gd name="connsiteX64" fmla="*/ 104412 w 516735"/>
                <a:gd name="connsiteY64" fmla="*/ 118011 h 761503"/>
                <a:gd name="connsiteX65" fmla="*/ 107132 w 516735"/>
                <a:gd name="connsiteY65" fmla="*/ 191441 h 761503"/>
                <a:gd name="connsiteX66" fmla="*/ 90814 w 516735"/>
                <a:gd name="connsiteY66" fmla="*/ 224077 h 761503"/>
                <a:gd name="connsiteX67" fmla="*/ 74496 w 516735"/>
                <a:gd name="connsiteY67" fmla="*/ 218638 h 761503"/>
                <a:gd name="connsiteX68" fmla="*/ 66337 w 516735"/>
                <a:gd name="connsiteY68" fmla="*/ 205040 h 761503"/>
                <a:gd name="connsiteX69" fmla="*/ 63617 w 516735"/>
                <a:gd name="connsiteY69" fmla="*/ 186002 h 761503"/>
                <a:gd name="connsiteX70" fmla="*/ 63617 w 516735"/>
                <a:gd name="connsiteY70" fmla="*/ 145207 h 761503"/>
                <a:gd name="connsiteX71" fmla="*/ 63617 w 516735"/>
                <a:gd name="connsiteY71" fmla="*/ 109852 h 761503"/>
                <a:gd name="connsiteX72" fmla="*/ 58178 w 516735"/>
                <a:gd name="connsiteY72" fmla="*/ 96253 h 761503"/>
                <a:gd name="connsiteX73" fmla="*/ 66337 w 516735"/>
                <a:gd name="connsiteY73" fmla="*/ 85375 h 761503"/>
                <a:gd name="connsiteX74" fmla="*/ 93533 w 516735"/>
                <a:gd name="connsiteY74" fmla="*/ 77216 h 761503"/>
                <a:gd name="connsiteX75" fmla="*/ 115290 w 516735"/>
                <a:gd name="connsiteY75" fmla="*/ 77216 h 761503"/>
                <a:gd name="connsiteX76" fmla="*/ 169684 w 516735"/>
                <a:gd name="connsiteY76" fmla="*/ 74496 h 761503"/>
                <a:gd name="connsiteX77" fmla="*/ 194161 w 516735"/>
                <a:gd name="connsiteY77" fmla="*/ 71776 h 761503"/>
                <a:gd name="connsiteX78" fmla="*/ 196880 w 516735"/>
                <a:gd name="connsiteY78" fmla="*/ 71776 h 761503"/>
                <a:gd name="connsiteX79" fmla="*/ 210478 w 516735"/>
                <a:gd name="connsiteY79" fmla="*/ 71776 h 761503"/>
                <a:gd name="connsiteX80" fmla="*/ 218638 w 516735"/>
                <a:gd name="connsiteY80" fmla="*/ 71776 h 761503"/>
                <a:gd name="connsiteX81" fmla="*/ 237675 w 516735"/>
                <a:gd name="connsiteY81" fmla="*/ 60898 h 761503"/>
                <a:gd name="connsiteX82" fmla="*/ 253993 w 516735"/>
                <a:gd name="connsiteY82" fmla="*/ 58178 h 761503"/>
                <a:gd name="connsiteX83" fmla="*/ 283910 w 516735"/>
                <a:gd name="connsiteY83" fmla="*/ 60898 h 761503"/>
                <a:gd name="connsiteX84" fmla="*/ 294788 w 516735"/>
                <a:gd name="connsiteY84" fmla="*/ 66337 h 761503"/>
                <a:gd name="connsiteX85" fmla="*/ 305667 w 516735"/>
                <a:gd name="connsiteY85" fmla="*/ 74496 h 761503"/>
                <a:gd name="connsiteX86" fmla="*/ 313826 w 516735"/>
                <a:gd name="connsiteY86" fmla="*/ 74496 h 761503"/>
                <a:gd name="connsiteX87" fmla="*/ 327424 w 516735"/>
                <a:gd name="connsiteY87" fmla="*/ 74496 h 761503"/>
                <a:gd name="connsiteX88" fmla="*/ 354621 w 516735"/>
                <a:gd name="connsiteY88" fmla="*/ 74496 h 761503"/>
                <a:gd name="connsiteX89" fmla="*/ 422612 w 516735"/>
                <a:gd name="connsiteY89" fmla="*/ 74496 h 761503"/>
                <a:gd name="connsiteX90" fmla="*/ 455248 w 516735"/>
                <a:gd name="connsiteY90" fmla="*/ 79936 h 761503"/>
                <a:gd name="connsiteX91" fmla="*/ 466127 w 516735"/>
                <a:gd name="connsiteY91" fmla="*/ 98973 h 761503"/>
                <a:gd name="connsiteX92" fmla="*/ 463407 w 516735"/>
                <a:gd name="connsiteY92" fmla="*/ 109852 h 761503"/>
                <a:gd name="connsiteX93" fmla="*/ 463407 w 516735"/>
                <a:gd name="connsiteY93" fmla="*/ 120730 h 761503"/>
                <a:gd name="connsiteX94" fmla="*/ 463407 w 516735"/>
                <a:gd name="connsiteY94" fmla="*/ 194161 h 761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516735" h="761503">
                  <a:moveTo>
                    <a:pt x="463407" y="194161"/>
                  </a:moveTo>
                  <a:cubicBezTo>
                    <a:pt x="463407" y="205040"/>
                    <a:pt x="463407" y="226797"/>
                    <a:pt x="447089" y="226797"/>
                  </a:cubicBezTo>
                  <a:cubicBezTo>
                    <a:pt x="438930" y="226797"/>
                    <a:pt x="436211" y="226797"/>
                    <a:pt x="430771" y="221357"/>
                  </a:cubicBezTo>
                  <a:cubicBezTo>
                    <a:pt x="425332" y="218638"/>
                    <a:pt x="422612" y="210479"/>
                    <a:pt x="422612" y="207759"/>
                  </a:cubicBezTo>
                  <a:cubicBezTo>
                    <a:pt x="419893" y="199600"/>
                    <a:pt x="419893" y="194161"/>
                    <a:pt x="419893" y="188722"/>
                  </a:cubicBezTo>
                  <a:cubicBezTo>
                    <a:pt x="419893" y="183282"/>
                    <a:pt x="419893" y="147927"/>
                    <a:pt x="419893" y="139768"/>
                  </a:cubicBezTo>
                  <a:cubicBezTo>
                    <a:pt x="419893" y="134329"/>
                    <a:pt x="419893" y="128889"/>
                    <a:pt x="419893" y="120730"/>
                  </a:cubicBezTo>
                  <a:cubicBezTo>
                    <a:pt x="411734" y="120730"/>
                    <a:pt x="403574" y="120730"/>
                    <a:pt x="395416" y="120730"/>
                  </a:cubicBezTo>
                  <a:cubicBezTo>
                    <a:pt x="387256" y="120730"/>
                    <a:pt x="379098" y="120730"/>
                    <a:pt x="370939" y="120730"/>
                  </a:cubicBezTo>
                  <a:cubicBezTo>
                    <a:pt x="362780" y="120730"/>
                    <a:pt x="354621" y="123450"/>
                    <a:pt x="346461" y="123450"/>
                  </a:cubicBezTo>
                  <a:cubicBezTo>
                    <a:pt x="343742" y="123450"/>
                    <a:pt x="341023" y="123450"/>
                    <a:pt x="335583" y="123450"/>
                  </a:cubicBezTo>
                  <a:cubicBezTo>
                    <a:pt x="335583" y="123450"/>
                    <a:pt x="335583" y="123450"/>
                    <a:pt x="335583" y="123450"/>
                  </a:cubicBezTo>
                  <a:cubicBezTo>
                    <a:pt x="327424" y="123450"/>
                    <a:pt x="324704" y="126170"/>
                    <a:pt x="324704" y="128889"/>
                  </a:cubicBezTo>
                  <a:cubicBezTo>
                    <a:pt x="324704" y="131609"/>
                    <a:pt x="324704" y="137048"/>
                    <a:pt x="327424" y="139768"/>
                  </a:cubicBezTo>
                  <a:cubicBezTo>
                    <a:pt x="330144" y="147927"/>
                    <a:pt x="330144" y="166964"/>
                    <a:pt x="330144" y="175123"/>
                  </a:cubicBezTo>
                  <a:cubicBezTo>
                    <a:pt x="330144" y="183282"/>
                    <a:pt x="330144" y="191441"/>
                    <a:pt x="330144" y="199600"/>
                  </a:cubicBezTo>
                  <a:cubicBezTo>
                    <a:pt x="330144" y="207759"/>
                    <a:pt x="327424" y="215918"/>
                    <a:pt x="327424" y="224077"/>
                  </a:cubicBezTo>
                  <a:cubicBezTo>
                    <a:pt x="327424" y="232236"/>
                    <a:pt x="330144" y="243115"/>
                    <a:pt x="330144" y="251274"/>
                  </a:cubicBezTo>
                  <a:cubicBezTo>
                    <a:pt x="330144" y="259433"/>
                    <a:pt x="330144" y="267592"/>
                    <a:pt x="327424" y="278470"/>
                  </a:cubicBezTo>
                  <a:cubicBezTo>
                    <a:pt x="327424" y="294788"/>
                    <a:pt x="327424" y="313826"/>
                    <a:pt x="327424" y="332864"/>
                  </a:cubicBezTo>
                  <a:cubicBezTo>
                    <a:pt x="327424" y="341022"/>
                    <a:pt x="327424" y="349181"/>
                    <a:pt x="330144" y="357340"/>
                  </a:cubicBezTo>
                  <a:cubicBezTo>
                    <a:pt x="330144" y="360060"/>
                    <a:pt x="330144" y="365499"/>
                    <a:pt x="330144" y="368219"/>
                  </a:cubicBezTo>
                  <a:cubicBezTo>
                    <a:pt x="330144" y="373658"/>
                    <a:pt x="332863" y="384537"/>
                    <a:pt x="332863" y="387257"/>
                  </a:cubicBezTo>
                  <a:cubicBezTo>
                    <a:pt x="332863" y="406294"/>
                    <a:pt x="332863" y="414453"/>
                    <a:pt x="332863" y="433491"/>
                  </a:cubicBezTo>
                  <a:cubicBezTo>
                    <a:pt x="332863" y="452528"/>
                    <a:pt x="335583" y="468846"/>
                    <a:pt x="332863" y="487884"/>
                  </a:cubicBezTo>
                  <a:cubicBezTo>
                    <a:pt x="332863" y="496043"/>
                    <a:pt x="330144" y="504202"/>
                    <a:pt x="330144" y="512361"/>
                  </a:cubicBezTo>
                  <a:cubicBezTo>
                    <a:pt x="330144" y="520520"/>
                    <a:pt x="330144" y="531398"/>
                    <a:pt x="330144" y="539557"/>
                  </a:cubicBezTo>
                  <a:cubicBezTo>
                    <a:pt x="330144" y="558595"/>
                    <a:pt x="330144" y="574913"/>
                    <a:pt x="332863" y="593950"/>
                  </a:cubicBezTo>
                  <a:cubicBezTo>
                    <a:pt x="332863" y="610268"/>
                    <a:pt x="332863" y="632026"/>
                    <a:pt x="332863" y="648343"/>
                  </a:cubicBezTo>
                  <a:cubicBezTo>
                    <a:pt x="332863" y="651063"/>
                    <a:pt x="332863" y="653783"/>
                    <a:pt x="332863" y="656502"/>
                  </a:cubicBezTo>
                  <a:cubicBezTo>
                    <a:pt x="343742" y="656502"/>
                    <a:pt x="351901" y="656502"/>
                    <a:pt x="357341" y="656502"/>
                  </a:cubicBezTo>
                  <a:cubicBezTo>
                    <a:pt x="370939" y="656502"/>
                    <a:pt x="395416" y="659222"/>
                    <a:pt x="395416" y="675540"/>
                  </a:cubicBezTo>
                  <a:cubicBezTo>
                    <a:pt x="395416" y="683699"/>
                    <a:pt x="392696" y="686419"/>
                    <a:pt x="389976" y="691858"/>
                  </a:cubicBezTo>
                  <a:cubicBezTo>
                    <a:pt x="384537" y="697297"/>
                    <a:pt x="379098" y="700017"/>
                    <a:pt x="373658" y="700017"/>
                  </a:cubicBezTo>
                  <a:cubicBezTo>
                    <a:pt x="365499" y="702737"/>
                    <a:pt x="357341" y="702737"/>
                    <a:pt x="351901" y="702737"/>
                  </a:cubicBezTo>
                  <a:cubicBezTo>
                    <a:pt x="349181" y="702737"/>
                    <a:pt x="335583" y="702737"/>
                    <a:pt x="319265" y="702737"/>
                  </a:cubicBezTo>
                  <a:cubicBezTo>
                    <a:pt x="316546" y="705456"/>
                    <a:pt x="313826" y="705456"/>
                    <a:pt x="311106" y="708176"/>
                  </a:cubicBezTo>
                  <a:cubicBezTo>
                    <a:pt x="302948" y="713615"/>
                    <a:pt x="297508" y="713615"/>
                    <a:pt x="289349" y="713615"/>
                  </a:cubicBezTo>
                  <a:cubicBezTo>
                    <a:pt x="283910" y="713615"/>
                    <a:pt x="278470" y="713615"/>
                    <a:pt x="270311" y="713615"/>
                  </a:cubicBezTo>
                  <a:cubicBezTo>
                    <a:pt x="259433" y="713615"/>
                    <a:pt x="251273" y="710895"/>
                    <a:pt x="243115" y="705456"/>
                  </a:cubicBezTo>
                  <a:cubicBezTo>
                    <a:pt x="240395" y="705456"/>
                    <a:pt x="237675" y="702737"/>
                    <a:pt x="237675" y="702737"/>
                  </a:cubicBezTo>
                  <a:cubicBezTo>
                    <a:pt x="224077" y="702737"/>
                    <a:pt x="213198" y="702737"/>
                    <a:pt x="199600" y="702737"/>
                  </a:cubicBezTo>
                  <a:cubicBezTo>
                    <a:pt x="191441" y="702737"/>
                    <a:pt x="183282" y="702737"/>
                    <a:pt x="175123" y="702737"/>
                  </a:cubicBezTo>
                  <a:cubicBezTo>
                    <a:pt x="166965" y="702737"/>
                    <a:pt x="156085" y="702737"/>
                    <a:pt x="147927" y="697297"/>
                  </a:cubicBezTo>
                  <a:cubicBezTo>
                    <a:pt x="139768" y="694578"/>
                    <a:pt x="131609" y="680979"/>
                    <a:pt x="131609" y="678260"/>
                  </a:cubicBezTo>
                  <a:cubicBezTo>
                    <a:pt x="131609" y="675540"/>
                    <a:pt x="131609" y="672820"/>
                    <a:pt x="137048" y="670101"/>
                  </a:cubicBezTo>
                  <a:cubicBezTo>
                    <a:pt x="142487" y="667381"/>
                    <a:pt x="153366" y="664661"/>
                    <a:pt x="158805" y="661942"/>
                  </a:cubicBezTo>
                  <a:cubicBezTo>
                    <a:pt x="175123" y="659222"/>
                    <a:pt x="191441" y="659222"/>
                    <a:pt x="199600" y="659222"/>
                  </a:cubicBezTo>
                  <a:lnTo>
                    <a:pt x="199600" y="659222"/>
                  </a:lnTo>
                  <a:cubicBezTo>
                    <a:pt x="199600" y="648343"/>
                    <a:pt x="196880" y="640184"/>
                    <a:pt x="196880" y="629306"/>
                  </a:cubicBezTo>
                  <a:cubicBezTo>
                    <a:pt x="196880" y="612988"/>
                    <a:pt x="196880" y="591231"/>
                    <a:pt x="199600" y="574913"/>
                  </a:cubicBezTo>
                  <a:cubicBezTo>
                    <a:pt x="199600" y="558595"/>
                    <a:pt x="199600" y="539557"/>
                    <a:pt x="202320" y="523239"/>
                  </a:cubicBezTo>
                  <a:cubicBezTo>
                    <a:pt x="202320" y="501482"/>
                    <a:pt x="205040" y="482445"/>
                    <a:pt x="205040" y="460687"/>
                  </a:cubicBezTo>
                  <a:cubicBezTo>
                    <a:pt x="205040" y="447089"/>
                    <a:pt x="205040" y="430771"/>
                    <a:pt x="205040" y="417173"/>
                  </a:cubicBezTo>
                  <a:cubicBezTo>
                    <a:pt x="205040" y="409014"/>
                    <a:pt x="207759" y="400855"/>
                    <a:pt x="207759" y="392696"/>
                  </a:cubicBezTo>
                  <a:cubicBezTo>
                    <a:pt x="207759" y="384537"/>
                    <a:pt x="210478" y="376378"/>
                    <a:pt x="210478" y="368219"/>
                  </a:cubicBezTo>
                  <a:cubicBezTo>
                    <a:pt x="210478" y="351901"/>
                    <a:pt x="210478" y="332864"/>
                    <a:pt x="210478" y="313826"/>
                  </a:cubicBezTo>
                  <a:cubicBezTo>
                    <a:pt x="210478" y="294788"/>
                    <a:pt x="210478" y="275751"/>
                    <a:pt x="210478" y="259433"/>
                  </a:cubicBezTo>
                  <a:cubicBezTo>
                    <a:pt x="210478" y="243115"/>
                    <a:pt x="210478" y="226797"/>
                    <a:pt x="210478" y="213199"/>
                  </a:cubicBezTo>
                  <a:cubicBezTo>
                    <a:pt x="210478" y="194161"/>
                    <a:pt x="210478" y="164245"/>
                    <a:pt x="210478" y="145207"/>
                  </a:cubicBezTo>
                  <a:cubicBezTo>
                    <a:pt x="210478" y="139768"/>
                    <a:pt x="213198" y="134329"/>
                    <a:pt x="213198" y="131609"/>
                  </a:cubicBezTo>
                  <a:cubicBezTo>
                    <a:pt x="213198" y="126170"/>
                    <a:pt x="207759" y="123450"/>
                    <a:pt x="205040" y="123450"/>
                  </a:cubicBezTo>
                  <a:cubicBezTo>
                    <a:pt x="199600" y="123450"/>
                    <a:pt x="166965" y="123450"/>
                    <a:pt x="161525" y="123450"/>
                  </a:cubicBezTo>
                  <a:cubicBezTo>
                    <a:pt x="145207" y="123450"/>
                    <a:pt x="128889" y="123450"/>
                    <a:pt x="112571" y="120730"/>
                  </a:cubicBezTo>
                  <a:cubicBezTo>
                    <a:pt x="109852" y="120730"/>
                    <a:pt x="107132" y="120730"/>
                    <a:pt x="104412" y="118011"/>
                  </a:cubicBezTo>
                  <a:cubicBezTo>
                    <a:pt x="107132" y="137048"/>
                    <a:pt x="107132" y="172404"/>
                    <a:pt x="107132" y="191441"/>
                  </a:cubicBezTo>
                  <a:cubicBezTo>
                    <a:pt x="107132" y="202320"/>
                    <a:pt x="107132" y="224077"/>
                    <a:pt x="90814" y="224077"/>
                  </a:cubicBezTo>
                  <a:cubicBezTo>
                    <a:pt x="82655" y="224077"/>
                    <a:pt x="79935" y="221357"/>
                    <a:pt x="74496" y="218638"/>
                  </a:cubicBezTo>
                  <a:cubicBezTo>
                    <a:pt x="69057" y="215918"/>
                    <a:pt x="66337" y="210479"/>
                    <a:pt x="66337" y="205040"/>
                  </a:cubicBezTo>
                  <a:cubicBezTo>
                    <a:pt x="63617" y="196881"/>
                    <a:pt x="63617" y="191441"/>
                    <a:pt x="63617" y="186002"/>
                  </a:cubicBezTo>
                  <a:cubicBezTo>
                    <a:pt x="63617" y="180563"/>
                    <a:pt x="63617" y="153366"/>
                    <a:pt x="63617" y="145207"/>
                  </a:cubicBezTo>
                  <a:cubicBezTo>
                    <a:pt x="63617" y="134329"/>
                    <a:pt x="63617" y="120730"/>
                    <a:pt x="63617" y="109852"/>
                  </a:cubicBezTo>
                  <a:cubicBezTo>
                    <a:pt x="60897" y="104412"/>
                    <a:pt x="58178" y="101693"/>
                    <a:pt x="58178" y="96253"/>
                  </a:cubicBezTo>
                  <a:cubicBezTo>
                    <a:pt x="58178" y="93534"/>
                    <a:pt x="60897" y="88095"/>
                    <a:pt x="66337" y="85375"/>
                  </a:cubicBezTo>
                  <a:cubicBezTo>
                    <a:pt x="74496" y="79936"/>
                    <a:pt x="77215" y="77216"/>
                    <a:pt x="93533" y="77216"/>
                  </a:cubicBezTo>
                  <a:cubicBezTo>
                    <a:pt x="101692" y="77216"/>
                    <a:pt x="109852" y="77216"/>
                    <a:pt x="115290" y="77216"/>
                  </a:cubicBezTo>
                  <a:cubicBezTo>
                    <a:pt x="134328" y="77216"/>
                    <a:pt x="150646" y="77216"/>
                    <a:pt x="169684" y="74496"/>
                  </a:cubicBezTo>
                  <a:cubicBezTo>
                    <a:pt x="177843" y="74496"/>
                    <a:pt x="186002" y="71776"/>
                    <a:pt x="194161" y="71776"/>
                  </a:cubicBezTo>
                  <a:cubicBezTo>
                    <a:pt x="194161" y="71776"/>
                    <a:pt x="196880" y="71776"/>
                    <a:pt x="196880" y="71776"/>
                  </a:cubicBezTo>
                  <a:cubicBezTo>
                    <a:pt x="199600" y="71776"/>
                    <a:pt x="205040" y="71776"/>
                    <a:pt x="210478" y="71776"/>
                  </a:cubicBezTo>
                  <a:cubicBezTo>
                    <a:pt x="213198" y="71776"/>
                    <a:pt x="215918" y="71776"/>
                    <a:pt x="218638" y="71776"/>
                  </a:cubicBezTo>
                  <a:cubicBezTo>
                    <a:pt x="224077" y="69057"/>
                    <a:pt x="229516" y="63618"/>
                    <a:pt x="237675" y="60898"/>
                  </a:cubicBezTo>
                  <a:cubicBezTo>
                    <a:pt x="243115" y="58178"/>
                    <a:pt x="248554" y="58178"/>
                    <a:pt x="253993" y="58178"/>
                  </a:cubicBezTo>
                  <a:cubicBezTo>
                    <a:pt x="264872" y="58178"/>
                    <a:pt x="273031" y="58178"/>
                    <a:pt x="283910" y="60898"/>
                  </a:cubicBezTo>
                  <a:cubicBezTo>
                    <a:pt x="286629" y="60898"/>
                    <a:pt x="292068" y="63618"/>
                    <a:pt x="294788" y="66337"/>
                  </a:cubicBezTo>
                  <a:cubicBezTo>
                    <a:pt x="297508" y="69057"/>
                    <a:pt x="302948" y="71776"/>
                    <a:pt x="305667" y="74496"/>
                  </a:cubicBezTo>
                  <a:cubicBezTo>
                    <a:pt x="308386" y="74496"/>
                    <a:pt x="311106" y="74496"/>
                    <a:pt x="313826" y="74496"/>
                  </a:cubicBezTo>
                  <a:cubicBezTo>
                    <a:pt x="319265" y="74496"/>
                    <a:pt x="321985" y="74496"/>
                    <a:pt x="327424" y="74496"/>
                  </a:cubicBezTo>
                  <a:cubicBezTo>
                    <a:pt x="335583" y="74496"/>
                    <a:pt x="346461" y="74496"/>
                    <a:pt x="354621" y="74496"/>
                  </a:cubicBezTo>
                  <a:cubicBezTo>
                    <a:pt x="376378" y="74496"/>
                    <a:pt x="400855" y="74496"/>
                    <a:pt x="422612" y="74496"/>
                  </a:cubicBezTo>
                  <a:cubicBezTo>
                    <a:pt x="433491" y="74496"/>
                    <a:pt x="447089" y="74496"/>
                    <a:pt x="455248" y="79936"/>
                  </a:cubicBezTo>
                  <a:cubicBezTo>
                    <a:pt x="460687" y="82655"/>
                    <a:pt x="466127" y="90814"/>
                    <a:pt x="466127" y="98973"/>
                  </a:cubicBezTo>
                  <a:cubicBezTo>
                    <a:pt x="466127" y="101693"/>
                    <a:pt x="466127" y="107132"/>
                    <a:pt x="463407" y="109852"/>
                  </a:cubicBezTo>
                  <a:cubicBezTo>
                    <a:pt x="463407" y="112571"/>
                    <a:pt x="463407" y="112571"/>
                    <a:pt x="463407" y="120730"/>
                  </a:cubicBezTo>
                  <a:cubicBezTo>
                    <a:pt x="463407" y="142488"/>
                    <a:pt x="463407" y="172404"/>
                    <a:pt x="463407" y="194161"/>
                  </a:cubicBezTo>
                </a:path>
              </a:pathLst>
            </a:custGeom>
            <a:grpFill/>
            <a:ln w="271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13545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  <p:sldLayoutId id="2147483839" r:id="rId12"/>
    <p:sldLayoutId id="2147483840" r:id="rId13"/>
    <p:sldLayoutId id="2147483841" r:id="rId14"/>
    <p:sldLayoutId id="2147483842" r:id="rId15"/>
    <p:sldLayoutId id="2147483843" r:id="rId16"/>
    <p:sldLayoutId id="2147483844" r:id="rId17"/>
    <p:sldLayoutId id="2147483845" r:id="rId18"/>
    <p:sldLayoutId id="2147483846" r:id="rId19"/>
    <p:sldLayoutId id="2147483847" r:id="rId20"/>
    <p:sldLayoutId id="2147483848" r:id="rId21"/>
    <p:sldLayoutId id="2147483849" r:id="rId22"/>
    <p:sldLayoutId id="2147483850" r:id="rId23"/>
    <p:sldLayoutId id="2147483851" r:id="rId24"/>
    <p:sldLayoutId id="2147483852" r:id="rId25"/>
    <p:sldLayoutId id="2147483853" r:id="rId26"/>
    <p:sldLayoutId id="2147483854" r:id="rId27"/>
    <p:sldLayoutId id="2147483855" r:id="rId28"/>
    <p:sldLayoutId id="2147483856" r:id="rId29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b="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indent="-230188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146304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146304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600" indent="-146304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46304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371600" indent="-146304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40">
          <p15:clr>
            <a:srgbClr val="F26B43"/>
          </p15:clr>
        </p15:guide>
        <p15:guide id="4" pos="2592">
          <p15:clr>
            <a:srgbClr val="F26B43"/>
          </p15:clr>
        </p15:guide>
        <p15:guide id="5" pos="2664">
          <p15:clr>
            <a:srgbClr val="F26B43"/>
          </p15:clr>
        </p15:guide>
        <p15:guide id="6" pos="5016">
          <p15:clr>
            <a:srgbClr val="F26B43"/>
          </p15:clr>
        </p15:guide>
        <p15:guide id="7" pos="5088">
          <p15:clr>
            <a:srgbClr val="F26B43"/>
          </p15:clr>
        </p15:guide>
        <p15:guide id="8" pos="7440">
          <p15:clr>
            <a:srgbClr val="F26B43"/>
          </p15:clr>
        </p15:guide>
        <p15:guide id="13" orient="horz" pos="2160">
          <p15:clr>
            <a:srgbClr val="5ACBF0"/>
          </p15:clr>
        </p15:guide>
        <p15:guide id="17" orient="horz" pos="576">
          <p15:clr>
            <a:srgbClr val="F26B43"/>
          </p15:clr>
        </p15:guide>
        <p15:guide id="18" orient="horz" pos="3792">
          <p15:clr>
            <a:srgbClr val="F26B43"/>
          </p15:clr>
        </p15:guide>
        <p15:guide id="19" pos="3840">
          <p15:clr>
            <a:srgbClr val="5ACBF0"/>
          </p15:clr>
        </p15:guide>
        <p15:guide id="20" orient="horz" pos="41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8.emf"/><Relationship Id="rId11" Type="http://schemas.openxmlformats.org/officeDocument/2006/relationships/image" Target="../media/image13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2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1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18" Type="http://schemas.openxmlformats.org/officeDocument/2006/relationships/image" Target="cid:8C29638A-5F8E-4A1D-ACA2-5CC38B4DE2BC" TargetMode="External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17" Type="http://schemas.openxmlformats.org/officeDocument/2006/relationships/image" Target="../media/image29.jpe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8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5" Type="http://schemas.openxmlformats.org/officeDocument/2006/relationships/image" Target="../media/image2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Relationship Id="rId14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tags" Target="../tags/tag9.xml"/><Relationship Id="rId7" Type="http://schemas.openxmlformats.org/officeDocument/2006/relationships/image" Target="../media/image31.emf"/><Relationship Id="rId12" Type="http://schemas.openxmlformats.org/officeDocument/2006/relationships/image" Target="../media/image36.png"/><Relationship Id="rId2" Type="http://schemas.openxmlformats.org/officeDocument/2006/relationships/tags" Target="../tags/tag8.xml"/><Relationship Id="rId16" Type="http://schemas.openxmlformats.org/officeDocument/2006/relationships/image" Target="../media/image40.png"/><Relationship Id="rId1" Type="http://schemas.openxmlformats.org/officeDocument/2006/relationships/tags" Target="../tags/tag7.x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35.png"/><Relationship Id="rId5" Type="http://schemas.openxmlformats.org/officeDocument/2006/relationships/notesSlide" Target="../notesSlides/notesSlide5.xml"/><Relationship Id="rId15" Type="http://schemas.openxmlformats.org/officeDocument/2006/relationships/image" Target="../media/image39.png"/><Relationship Id="rId10" Type="http://schemas.openxmlformats.org/officeDocument/2006/relationships/image" Target="../media/image34.png"/><Relationship Id="rId4" Type="http://schemas.openxmlformats.org/officeDocument/2006/relationships/slideLayout" Target="../slideLayouts/slideLayout31.xml"/><Relationship Id="rId9" Type="http://schemas.openxmlformats.org/officeDocument/2006/relationships/image" Target="../media/image33.png"/><Relationship Id="rId14" Type="http://schemas.openxmlformats.org/officeDocument/2006/relationships/image" Target="../media/image38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1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7FE37C3-761C-1647-88D9-750F6ED7F6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7FE37C3-761C-1647-88D9-750F6ED7F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A85A00C-F73A-CF4B-8DC0-A2054B5B2A5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DLZ BITE TYPE" panose="00000500000000000000"/>
              <a:ea typeface="+mn-ea"/>
              <a:cs typeface="+mn-cs"/>
              <a:sym typeface="MDLZ BITE TYPE" panose="0000050000000000000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8940CE9-744D-C54D-9A93-A8636387E1E8}"/>
              </a:ext>
            </a:extLst>
          </p:cNvPr>
          <p:cNvGrpSpPr/>
          <p:nvPr/>
        </p:nvGrpSpPr>
        <p:grpSpPr>
          <a:xfrm>
            <a:off x="706718" y="1511458"/>
            <a:ext cx="2707540" cy="1752416"/>
            <a:chOff x="706718" y="1511458"/>
            <a:chExt cx="2707540" cy="1752416"/>
          </a:xfrm>
        </p:grpSpPr>
        <p:pic>
          <p:nvPicPr>
            <p:cNvPr id="11" name="Picture 10" descr="A picture containing room&#10;&#10;Description automatically generated">
              <a:extLst>
                <a:ext uri="{FF2B5EF4-FFF2-40B4-BE49-F238E27FC236}">
                  <a16:creationId xmlns:a16="http://schemas.microsoft.com/office/drawing/2014/main" id="{66823B2D-D4CA-E441-8162-D5CD9FBCAC7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851396">
              <a:off x="1959862" y="1511458"/>
              <a:ext cx="827546" cy="732805"/>
            </a:xfrm>
            <a:prstGeom prst="rect">
              <a:avLst/>
            </a:prstGeom>
          </p:spPr>
        </p:pic>
        <p:pic>
          <p:nvPicPr>
            <p:cNvPr id="12" name="Picture 11" descr="A picture containing room&#10;&#10;Description automatically generated">
              <a:extLst>
                <a:ext uri="{FF2B5EF4-FFF2-40B4-BE49-F238E27FC236}">
                  <a16:creationId xmlns:a16="http://schemas.microsoft.com/office/drawing/2014/main" id="{FD4F8037-B1A1-BF46-AF83-F8BA191CC4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851396">
              <a:off x="3055955" y="1914675"/>
              <a:ext cx="358303" cy="580510"/>
            </a:xfrm>
            <a:prstGeom prst="rect">
              <a:avLst/>
            </a:prstGeom>
          </p:spPr>
        </p:pic>
        <p:pic>
          <p:nvPicPr>
            <p:cNvPr id="14" name="Picture 13" descr="A picture containing small, grass, sitting, table&#10;&#10;Description automatically generated">
              <a:extLst>
                <a:ext uri="{FF2B5EF4-FFF2-40B4-BE49-F238E27FC236}">
                  <a16:creationId xmlns:a16="http://schemas.microsoft.com/office/drawing/2014/main" id="{547E1BAF-E206-8C47-95ED-3706F957A17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555189">
              <a:off x="706718" y="2293097"/>
              <a:ext cx="797859" cy="295836"/>
            </a:xfrm>
            <a:prstGeom prst="rect">
              <a:avLst/>
            </a:prstGeom>
          </p:spPr>
        </p:pic>
        <p:pic>
          <p:nvPicPr>
            <p:cNvPr id="13" name="Picture 12" descr="A picture containing room&#10;&#10;Description automatically generated">
              <a:extLst>
                <a:ext uri="{FF2B5EF4-FFF2-40B4-BE49-F238E27FC236}">
                  <a16:creationId xmlns:a16="http://schemas.microsoft.com/office/drawing/2014/main" id="{B90284E0-3484-B845-9580-71224C2AA7E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77803">
              <a:off x="1031878" y="2463803"/>
              <a:ext cx="903509" cy="800071"/>
            </a:xfrm>
            <a:prstGeom prst="rect">
              <a:avLst/>
            </a:prstGeom>
          </p:spPr>
        </p:pic>
      </p:grpSp>
      <p:sp>
        <p:nvSpPr>
          <p:cNvPr id="2" name="AutoShape 17" descr="data:image/pjpeg;base64,/9j/4AAQSkZJRgABAQEAYABgAAD/2wBDAAEBAQEBAQEBAQEBAQEBAQEBAQEBAQEBAQEBAQEBAQEBAQEBAQEBAQEBAQEBAQEBAQEBAQEBAQEBAQEBAQEBAQH/2wBDAQEBAQEBAQEBAQEBAQEBAQEBAQEBAQEBAQEBAQEBAQEBAQEBAQEBAQEBAQEBAQEBAQEBAQEBAQEBAQEBAQEBAQH/wAARCABAAEADASIAAhEBAxEB/8QAHwAAAQUBAQEBAQEAAAAAAAAAAAECAwQFBgcICQoL/8QAtRAAAgEDAwIEAwUFBAQAAAF9AQIDAAQRBRIhMUEGE1FhByJxFDKBkaEII0KxwRVS0fAkM2JyggkKFhcYGRolJicoKSo0NTY3ODk6Q0RFRkdISUpTVFVWV1hZWmNkZWZnaGlqc3R1dnd4eXqDhIWGh4iJipKTlJWWl5iZmqKjpKWmp6ipqrKztLW2t7i5usLDxMXGx8jJytLT1NXW19jZ2uHi4+Tl5ufo6erx8vP09fb3+Pn6/8QAHwEAAwEBAQEBAQEBAQAAAAAAAAECAwQFBgcICQoL/8QAtREAAgECBAQDBAcFBAQAAQJ3AAECAxEEBSExBhJBUQdhcRMiMoEIFEKRobHBCSMzUvAVYnLRChYkNOEl8RcYGRomJygpKjU2Nzg5OkNERUZHSElKU1RVVldYWVpjZGVmZ2hpanN0dXZ3eHl6goOEhYaHiImKkpOUlZaXmJmaoqOkpaanqKmqsrO0tba3uLm6wsPExcbHyMnK0tPU1dbX2Nna4uPk5ebn6Onq8vP09fb3+Pn6/9oADAMBAAIRAxEAPwD+f34beKPF+kaTq3h/S/FOseHNE1G4SPV9A8KPHoFrq88N28ttLfWGgDS7XUGgaKVYJby2umjZmkaKSVoxJxHxvs5tMsobzVRI897osupStIkyTT6lfWhLXE8k8zTXUghJlthPAhiW4O0RBfLqDxF8ZfFcGoSW1n4d8Dwrbw6kt4lp4M0bT4551Oy3mjuPDkWiGJZYrhd6xSsofe0TSP56x9rZtrvx3g0i11vwZ4YWS6Wy01b/AEiTxdpwsrDSYLiYQmC58TXNvGqafEyTRWsaZCNJJiUkp+YY2hDJqsczxX1XDYWdedTGVabjCo7xtGT92nzztG7bk52SUU3YeBoYrM5/VqPtMRX5YqjCTnJQjGSUkvj5Ur+6laKb5ny63/PLT2c2guIEd7j+0V3FnMe5JTEYzGY5YvLdZRIsrbsjch3KTkb7PfaOW1KXV7jT7idPKtzDcTRXDxrOGE6+TJEPIaWIiFY54RN18+GNw8v2h4zsPh38GPCmva9qngXwFeSQW0ltpkFxYa7rUs1xFpzST3aReI9X1CwZbBUaS1f7DC0lzCtuWIukkb3P/ghN+xPJ/wAFG/2y4x8SNKSf4MfCfToPiL8QYp4S+nXwlvZrTwj4RnLh41g1e5srqa5hlbD6JpN7Zrt+1iUfa4XG4Wrl081lRlKhKywtKpyqWIlU9morVtKPPUhBe8k5uTb5abv6OTZO8fmHsqrjGFOVR1Zq7UKdKLlVm9nJQjTk0lb2jXKrvlT+Lvg38Ov+CkHxa1GC1/Zl+H37S3jrQ/EttdWD6zpHh3xc/gTVtPa3kXULCfxJqkEXhe6057Yywzw3OpS280bGH9+GBbJ8Qab8eP2d/GWsfCP46fC2/wDg98UdQ+xahbt4q8CaVousX+mWj3LQr4f1d9KEGo6Peaj9nvjqOnz3MK32kWa200T2jQyf6+HhH4deCfDvhzStC8LWGl6doWlWVvp2nWumwWkNnb2tpD5MUFvHbbIYo4441VI4wFVVwAvFfz9/8F9v2D/h/wDtN/steOPEVppWm/8AC6PgfoWs/E34W6pA0Uetm68PW6aprXhxTCftk2m+J9Js5NNurXmJbmTT7/aZ7G2ceRUqUYzdWtlOBo0sY6VPFV6VKnGs1Fr2cqsoxXtqdG+sKsdYyko2fuv65ZZg8XzYenXrXoqUsPRs6cYvS6pW1pVJNO0oykoytzppNH8SXhCPxV44k8Q+M/HnjzxZZ+D7C5stP8QeIZNRvb8XMselwxaXoGhaQ2pW1rr/AIs1eaKb7Np0k8Nv5K3es6xPZ2MV/fQamtv4y8Uxatonw/0fUPC/w4i0u3W803TJ7uW88VWrOyC78feK3W1v/Gc8M5gJspI4PD+m3fnDw/oOkxHeeJ+Fnxr8RfEH4I2GiiDwW2neDL3UrC2t7/wjoHmxy3SmbWNVfULWwXWrnXdZ02304Pq8947m4s7DTn8vT7a1jjv6f+2B8VfBVh4n+FOnaF4BudE1PUb/AE+5vJNH1GLX/LS4UbrDVU1sJZy+UkUePsE+8RAyRFwSPl84wHEVKny8OYPK516NejTqUsbiZ4OhSwkJUlWr0lSw01KrClF+ypt04t6qcHqfL5fLKaWOxVHOq2OnSp+3jSq4anGtOvXV1SVXnrJwhUdpTkuaS0916szPE/iH4O6N441fRdUu/iBqENtZW2n3mraJoeiLYQXws4Jbi0t9Al1HTA8trFI+l3F7LfyT3RWW/hcRNEJfr79nH9pH9nDwzo2o+FJvDPxW17xTd2V9a+GjF4L8FxwQXut2Zt5ZNQuY/G8161jA1ut7dTHbNHZpLFAPLLpH+aFhoWseKfFesSWSve3N9qer+XJJHbyySEGW4858qd0xtUcwyBxI7RhYMuCh+h/CXgaTwr4itzchXkt457tLi6trrTraO21DSoheIt3d2lt5Fxp7zGLcxltJpo7rY01vLGx+i4lyHh7P6OHybOHVrTapYlU6WNr4WpKrQ5eabVCcE43lZwknCabi4tKSODJsxzbJPbZjlkKdNODoTrVMPCvBQq7xTq05cr0upJqcdHe+pk/ET4VXH7Q37Vnwp/Zjt/GtrYeHfHvjPwV8PLzxrBpepafBpF34t8R6St7NLZ6xH9qj83W9T0rRFuLhJLS1NlBcFHt/NQ/3if8ABv8Af8E5dR/YY/Y11zSvGWkaTp/7QnxH8caxqvxJkvo18QaXYJ4Wkn8L+CtLhKPYvf6NFplk3iuKOOa38zUfE96I5VSO3lj/AM7r9pX4x6z4H+Pmi+KfDEkVjqPhTXNR1SGTTp3MEt/pHjKbWNKkG/dNFDFNpOlOkT7WVIi8ccW8IP8ATN/4I2/8FLvh1/wU/wDgp8R/jD4B8F3nwr1DwR8R4PAevfD/AFrX7TxDr1iY/AvhLWY9eu7mygs4W0zW9T1XXbTRbiO1gjnttEfdDb3cF1Z2/rZlh40KOV4fDyq/UqFGnCpTXKvZ14xlJVFNcs3KSrTTTvFzhGS5XHX7HIKtFZdUny0lja8IzlU99urhqnsKsqTptOnyKvDnbS9pac4tyg2l+hHw88B/EXw5N4r1b4ja94D1vVNUn1z+zb3wT4Ck8Cj+znvL5/D9rqsM2v8AiS51K/07SGs7W81B7yOK6vluZrW0tIWSIfOnxI+DXxG8eWXj2PUtf+F138K/FWirHb6PY/DCey8b2c02mX1trV/q3ju58W39rrGpy3r2Taebbw3YGytoLi3ka4aWK8j+n/G3je4sp7yO68KfFSIadco8WteHU8KDTtaiNnvjWxku9ca/FsGuHtpYJ7PTGe9t3aZZbMRXEvx78Y/jvH8Iv2Nfjt8UNQi8XeDNJ+GXw4+IfiJLz4mtog1uaLwv4Y1HUYdTYaRqF/b3Bvri1WGzaaSK81O8ZGNs8t0jzebUVOc3G144m8U1zXcm6drfZTnJNSUbqzlGKaev1ccDjKWAhmlWMIYZyp0Kc1LDyXwVJWhTjUlWU4xhzRlOKadpSUZ8lv8AL4/ZV0e307wT8R/D2s+MNA8M6ha+MNYsYrXVz4g8ye5stPXSxcGHRPD+tGC1gukdjMj210MSRktESr9jrHwdW4159Zn8feCV0i91O8uoLux0j4g3QW0+08P5sXgSHznXfIoM82yTakikQuCPMv2eZf8AhILHWdZa4iTUVtx9uvJrPzme7n0511CeaQrIZGvYk8y4Zl2yb7iUMGSSN/2g+GnwAbXP2ebD4ia1pK/2XEl28dxKB9kLwXUZktP7RG4QRWaZhLOcG8gbyoYUtIpF5eNM9wnCVOljK8pOGPxlHBact+evSck4pxd23Dl1bv6Jn5XleVV87zfH4ail7TC0pYl3vqqfs+ZPXXSSvsrJbaJ/NPwE8KfB34deNLvxH4u8QeLdZ8O6Beadd6pZHwFpls11FLrEMKra3I+IU/kRyG7aYiVUiFvBeXIhby3FfZXx/wBZ/Z78e6r4m+JWkW3xA+GemeH7vT9GuNE1jwz4dM3iOxa1SZXt7e38Z27WcVy0U8VwIrWO5kjEl/LdCVIjX0R+xd/wSc+NH7dDeLbjwBJonhH4e6D4n0+z8Q+P/GE91HoczIreZ4b0aPTdPvdS8Qa/FYTLezW32azsLW1vrKbUL20W+szqH7IfEr/g2U0r4r+Fx4Y8VftieLPD1rcw3Fxdr4K+FmgQTS3p+S2ja+1/xRq8Mlja2RngvD/Y9pqF/dta30Op6aLX7Jc/QVOEcmx2d4bieth6ks4oYeWGw9f67iqVKNGprJSwkK8cHUu9eedCU7xi1JWVvHwud53HL5ZGq3s8orYhV68ZYahUnzQcbOFWUHito8qjCqoXbukpM/zvvi5ovgnVpfiP4k0vWb/U4o9WntdAvNREiT6ve3eqpHDZadbNJLJLJFDLNdXQVpIre2iZWlknZA39Nf8AwbWr8av2K/2w/GnwJ+Mug+JvhXaftK+E9E8Ow/21ptxap4S+NHguG98V+BPB3jqxuo0TStS8V+B/E+s3emWs+LjURr/hq2g3Xz+Va/oF/wAEyv8Ag1j134M/tP6n8Yf23fGOmfEzwV8HfiFaXHwE8JaPLa6n4f8AiNBo81hrGn+OPHNhfrfSaTplhM82nWvgfyXmvtdtJdWvLsaRaWsGrfsB/wAFKf2QfE3hvx5+0J+1h4D0TTL7QvFP7NlnqviufT3Mfi/wb8bP2cYfEPj/AOD/AMWvD9sIVjuTpM+g+G/DniGP7a+o6hY2vhxraOGx8OXsWo92c4SrLLa8Y2lKCpStzS5o0qFSnUqTjKm+b2kVCUlsn1fLdH3OT5ll7zLA0L8lKpQqUPa8qSVatTlCjeM7wStOyg1bmjCmlGc24/pz4j8ffEnwlp1x/aXw9sPEptlYjUtJ1aKKJwu4h3srq3aWBs8kLJKwBP7sd/8APO/4L/8A/BUX9sX41ePvG/7Kp8Hx/CD9lrRfH7+Hb250GS61Wb40eKPA6aLqetaV4i8ZrDBpzWHhTxHdaSb3wLpMMNxa3I0m/wBfmvobrS44f9Dax8Xz+L/hfoWrXVg6azrfg/T9Y+x3drJDKl9c6ZFdNaSxTKGinEsnl+UTnfuGBtOP5uf2jv8AgklY/tsfDD9pP4Hahd6f4R+I+v8AxevvjB8D/iR4j09rQeHvjJLpWm2EmgeJ2topb++8D/FDwrYafbz38MV1PomvNBNaWOr3tk2mV8tk840c1w6xVetiMNUhOGGjOFBwo4yTpzozqThShVbcVOEHOc4RnKLaTcZw97H0qs8txHJSpYarh5wq13T9sqmIwqk6NeMOecqaUZONSpGEacnTpzUL2dOf8PP7N1t4S0vw7qkviDxHp/hy81C1srayh1HTfFd3FexSw4lvBL4Z0HWCrwywTwA3AXyI3naNJSJGi/cKy/bD+DWnfsUXn7OHhnx74e1Dxrr88/2i6ubfxTYJpllqFzFcahbWk/iTw5aWTM5jleFzcl41diipfR29fmvc/sF/te/Djwb4i8ZeM/2evF+keDPhf4+8afDPx/4q0mwOtaL4b8ReCNRvNM8S2viefQxqD6Vp0GqwXNjp/ijU0sNEvk/fWV9crE80vkWk6Ta/aodkcyrJeQJ5vlIYoYcag0nmNCI5WZSFV7j90CRPburRM619Fn/CmVcVUsuebRruGW5hRzOhSjKMacsRhXalGtCVOTqUr3vFNXWnNytp/lLz7F5DnGafUHTc8dh5YOpUlecoUqsIJujKEoqNRxV43TS6xT5Wf65v7KX7Pnh39lr4E+B/gz4eKXn/AAjtrdXWvaz5Ihl1/wAV65eTap4h1dvkWVopL+5lg09Zy1xbaTb6fZyTP5AdvociD5Qekbsij5iFkOGxyCVxxgE46fwg4epkTAbkKjMzZ4ycgcgHPAwQBxjgGqQuLciXYmZY/wDSfLGdzHc0S4AzkFgqh8BeSBkoRX0EY8qiopqMFGKs01typXeqslddbP0Fe9r6Xe2i7fLvpsvQrRLBHHABJgwyzvIWcBeTKpUyFXAB4JUZABLBj8u7L8S2NvqdgbG+jgvrC9W5tb/T3hN1b3tncW8kV1BNEwMcySws8U0MgZJI3aJ1MTOTvPsjt5f3O0JBtO0bCCRuwrE535Y9GJYnLEkkiruQ2RWGXCxtHI8zkssQdFZzzHtYKJSCpCjAdWKyA41g/eT1stGm0781rX3ta9rWu01boJ7emt7aprW6809vNXR8U/Gj4leEPg5faNZ+Mp4tA0TxGsw0DXtT8SeAdC0q7mtHzLpUFv4l8X6Drl7qdrAYrqaLSNDv4I7eWJmuBIWiXzv4d/Fz4XeP/i18PvDegaha6nrWr61NdQXBuvDMD/Z/DOjav4oE4s77XbXWdVtY/wCyy8U2gaZrQt5pEu51gsRd3sG5/wAFDdD+DGo/ADVh8XNN8Ba5cW13Hq3w18P/ABC8XeFfBw8UfEfTbK8+w+HfCGveL7XVLC013xDp0l9oqP8AYbjyba+mnlk0+CKbULb83f8AgmTpXgLXf2nILzS/2TovgtJ4W+F3jTxNF43/AOE68J+LFju7q/8ADXhMaFaW+hXepXSyarYeJtVuP7RtXsNMSDTZ7V7eSW5tkW4ZDlU6NTGqjUVWm5VOWNSPs+dNShanKopO0vswi46PRRvE9inneYvDToSrpwjH2fNJUlOUJxUd5NTm3FuLa5pN2btJn7ujwV4ZSfxHYQ6PpsVj4mN7c6nZxaRbm11a61ETf2xcarZrE0V+moS3E8l4J45vtYvpnmDhpFf/ADUP24f2bvAnwb/by/aN+FPw7C6L4X8KfFPVrfwZo8WlNqdtovhzWpLfVYPD9sDM0k1voOna3c6UlrOxuMafYhJBctLJX+mq00osYLjLWj2gZYEG1/MjUnczjYq4dHxJLHyOXZM7TX8Q/wDwVn/ao8CfFP8Aa+8c+Hfgt4Vu/A974G1DVPh74w8Rxoba6+KfjbwbqEun6x4gm02RZNNtI9G1OM+HdPujbjUNcsYU1XVblIF06ztulYepiaVWjF8t4SjGbSkqbso3a5db6aXto72Wp8PnGIpYOOHxc1BuFeN4fbqwavOMXtbZtt6RXeyf/9k=">
            <a:extLst>
              <a:ext uri="{FF2B5EF4-FFF2-40B4-BE49-F238E27FC236}">
                <a16:creationId xmlns:a16="http://schemas.microsoft.com/office/drawing/2014/main" id="{65DD2DCC-F78D-431D-BDDD-464D9BB3193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106916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6" name="Picture 15" descr="A screenshot of a video game&#10;&#10;Description automatically generated with medium confidence">
            <a:extLst>
              <a:ext uri="{FF2B5EF4-FFF2-40B4-BE49-F238E27FC236}">
                <a16:creationId xmlns:a16="http://schemas.microsoft.com/office/drawing/2014/main" id="{F64AF666-75E1-4161-B64D-F04C490C1B4A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5955" y="5616106"/>
            <a:ext cx="1871792" cy="689144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881ACBB-E3EA-5E9A-4AC5-3236C166E97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DA77B91D-EB79-4824-BD7C-669DBA575C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41159" y="4098750"/>
            <a:ext cx="5715000" cy="731520"/>
          </a:xfrm>
        </p:spPr>
        <p:txBody>
          <a:bodyPr/>
          <a:lstStyle/>
          <a:p>
            <a:r>
              <a:rPr lang="en-US" dirty="0">
                <a:solidFill>
                  <a:srgbClr val="957AA9"/>
                </a:solidFill>
              </a:rPr>
              <a:t>Digital Grocery Summit – June 15</a:t>
            </a:r>
            <a:r>
              <a:rPr lang="en-US" baseline="30000" dirty="0">
                <a:solidFill>
                  <a:srgbClr val="957AA9"/>
                </a:solidFill>
              </a:rPr>
              <a:t>th</a:t>
            </a:r>
            <a:r>
              <a:rPr lang="en-US" dirty="0">
                <a:solidFill>
                  <a:srgbClr val="957AA9"/>
                </a:solidFill>
              </a:rPr>
              <a:t>, 2022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5D2111A9-74B6-4DE5-9787-F34C8B823E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1159" y="1511962"/>
            <a:ext cx="6186984" cy="2565401"/>
          </a:xfrm>
        </p:spPr>
        <p:txBody>
          <a:bodyPr/>
          <a:lstStyle/>
          <a:p>
            <a:r>
              <a:rPr lang="en-US" sz="4600" dirty="0"/>
              <a:t>Future-proof your organization to win</a:t>
            </a:r>
            <a:br>
              <a:rPr lang="en-US" sz="4600" dirty="0"/>
            </a:br>
            <a:r>
              <a:rPr lang="en-US" sz="4600" dirty="0"/>
              <a:t>the future of commerce</a:t>
            </a:r>
            <a:br>
              <a:rPr lang="en-US" sz="3600" dirty="0"/>
            </a:br>
            <a:endParaRPr lang="en-US" sz="3600" dirty="0"/>
          </a:p>
        </p:txBody>
      </p:sp>
      <p:pic>
        <p:nvPicPr>
          <p:cNvPr id="21" name="Picture Placeholder 9">
            <a:extLst>
              <a:ext uri="{FF2B5EF4-FFF2-40B4-BE49-F238E27FC236}">
                <a16:creationId xmlns:a16="http://schemas.microsoft.com/office/drawing/2014/main" id="{54FF6357-A1BA-4C44-9296-DE2EB631A7F7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5266036" cy="6857999"/>
          </a:xfrm>
          <a:custGeom>
            <a:avLst/>
            <a:gdLst>
              <a:gd name="connsiteX0" fmla="*/ 0 w 5266036"/>
              <a:gd name="connsiteY0" fmla="*/ 0 h 6857999"/>
              <a:gd name="connsiteX1" fmla="*/ 3014696 w 5266036"/>
              <a:gd name="connsiteY1" fmla="*/ 0 h 6857999"/>
              <a:gd name="connsiteX2" fmla="*/ 3040982 w 5266036"/>
              <a:gd name="connsiteY2" fmla="*/ 11408 h 6857999"/>
              <a:gd name="connsiteX3" fmla="*/ 5250901 w 5266036"/>
              <a:gd name="connsiteY3" fmla="*/ 4085922 h 6857999"/>
              <a:gd name="connsiteX4" fmla="*/ 3435696 w 5266036"/>
              <a:gd name="connsiteY4" fmla="*/ 6839477 h 6857999"/>
              <a:gd name="connsiteX5" fmla="*/ 3398838 w 5266036"/>
              <a:gd name="connsiteY5" fmla="*/ 6857999 h 6857999"/>
              <a:gd name="connsiteX6" fmla="*/ 0 w 5266036"/>
              <a:gd name="connsiteY6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66036" h="6857999">
                <a:moveTo>
                  <a:pt x="0" y="0"/>
                </a:moveTo>
                <a:lnTo>
                  <a:pt x="3014696" y="0"/>
                </a:lnTo>
                <a:lnTo>
                  <a:pt x="3040982" y="11408"/>
                </a:lnTo>
                <a:cubicBezTo>
                  <a:pt x="4562919" y="717837"/>
                  <a:pt x="5390071" y="2397951"/>
                  <a:pt x="5250901" y="4085922"/>
                </a:cubicBezTo>
                <a:cubicBezTo>
                  <a:pt x="5138669" y="5484335"/>
                  <a:pt x="4361602" y="6343612"/>
                  <a:pt x="3435696" y="6839477"/>
                </a:cubicBezTo>
                <a:lnTo>
                  <a:pt x="3398838" y="6857999"/>
                </a:lnTo>
                <a:lnTo>
                  <a:pt x="0" y="6857999"/>
                </a:lnTo>
                <a:close/>
              </a:path>
            </a:pathLst>
          </a:custGeom>
          <a:solidFill>
            <a:srgbClr val="D9D9D9"/>
          </a:solidFill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A8232A41-5169-4AE9-8EEC-503E8B848A66}"/>
              </a:ext>
            </a:extLst>
          </p:cNvPr>
          <p:cNvGrpSpPr/>
          <p:nvPr/>
        </p:nvGrpSpPr>
        <p:grpSpPr>
          <a:xfrm>
            <a:off x="859118" y="1602214"/>
            <a:ext cx="2707540" cy="1752416"/>
            <a:chOff x="706718" y="1511458"/>
            <a:chExt cx="2707540" cy="1752416"/>
          </a:xfrm>
        </p:grpSpPr>
        <p:pic>
          <p:nvPicPr>
            <p:cNvPr id="23" name="Picture 22" descr="A picture containing room&#10;&#10;Description automatically generated">
              <a:extLst>
                <a:ext uri="{FF2B5EF4-FFF2-40B4-BE49-F238E27FC236}">
                  <a16:creationId xmlns:a16="http://schemas.microsoft.com/office/drawing/2014/main" id="{146C68B1-5AE5-4AE6-9486-32050C8EC95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851396">
              <a:off x="1959862" y="1511458"/>
              <a:ext cx="827546" cy="732805"/>
            </a:xfrm>
            <a:prstGeom prst="rect">
              <a:avLst/>
            </a:prstGeom>
          </p:spPr>
        </p:pic>
        <p:pic>
          <p:nvPicPr>
            <p:cNvPr id="24" name="Picture 23" descr="A picture containing room&#10;&#10;Description automatically generated">
              <a:extLst>
                <a:ext uri="{FF2B5EF4-FFF2-40B4-BE49-F238E27FC236}">
                  <a16:creationId xmlns:a16="http://schemas.microsoft.com/office/drawing/2014/main" id="{61750C54-95C6-4B0C-97D2-F720E651DB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851396">
              <a:off x="3055955" y="1914675"/>
              <a:ext cx="358303" cy="580510"/>
            </a:xfrm>
            <a:prstGeom prst="rect">
              <a:avLst/>
            </a:prstGeom>
          </p:spPr>
        </p:pic>
        <p:pic>
          <p:nvPicPr>
            <p:cNvPr id="25" name="Picture 24" descr="A picture containing small, grass, sitting, table&#10;&#10;Description automatically generated">
              <a:extLst>
                <a:ext uri="{FF2B5EF4-FFF2-40B4-BE49-F238E27FC236}">
                  <a16:creationId xmlns:a16="http://schemas.microsoft.com/office/drawing/2014/main" id="{182D5C0D-8001-4CA6-8423-DC83D97FDFE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555189">
              <a:off x="706718" y="2293097"/>
              <a:ext cx="797859" cy="295836"/>
            </a:xfrm>
            <a:prstGeom prst="rect">
              <a:avLst/>
            </a:prstGeom>
          </p:spPr>
        </p:pic>
        <p:pic>
          <p:nvPicPr>
            <p:cNvPr id="26" name="Picture 25" descr="A picture containing room&#10;&#10;Description automatically generated">
              <a:extLst>
                <a:ext uri="{FF2B5EF4-FFF2-40B4-BE49-F238E27FC236}">
                  <a16:creationId xmlns:a16="http://schemas.microsoft.com/office/drawing/2014/main" id="{A492DA98-47AE-4BEF-A1B6-32BDBC28488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77803">
              <a:off x="1031878" y="2463803"/>
              <a:ext cx="903509" cy="80007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230598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DE5D81A-3028-4444-986C-C67D072B66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sz="2800" dirty="0"/>
              <a:t>To sum up, three mandates for organizations to win the future</a:t>
            </a:r>
          </a:p>
        </p:txBody>
      </p:sp>
      <p:sp>
        <p:nvSpPr>
          <p:cNvPr id="26" name="Freeform 60">
            <a:extLst>
              <a:ext uri="{FF2B5EF4-FFF2-40B4-BE49-F238E27FC236}">
                <a16:creationId xmlns:a16="http://schemas.microsoft.com/office/drawing/2014/main" id="{C7EBC928-B7C7-477E-90E5-D81EC817AC9E}"/>
              </a:ext>
            </a:extLst>
          </p:cNvPr>
          <p:cNvSpPr/>
          <p:nvPr/>
        </p:nvSpPr>
        <p:spPr>
          <a:xfrm>
            <a:off x="993059" y="1192819"/>
            <a:ext cx="10781125" cy="1242156"/>
          </a:xfrm>
          <a:custGeom>
            <a:avLst/>
            <a:gdLst>
              <a:gd name="connsiteX0" fmla="*/ 212287 w 9756600"/>
              <a:gd name="connsiteY0" fmla="*/ 3 h 743010"/>
              <a:gd name="connsiteX1" fmla="*/ 746364 w 9756600"/>
              <a:gd name="connsiteY1" fmla="*/ 1774 h 743010"/>
              <a:gd name="connsiteX2" fmla="*/ 882932 w 9756600"/>
              <a:gd name="connsiteY2" fmla="*/ 2517 h 743010"/>
              <a:gd name="connsiteX3" fmla="*/ 887171 w 9756600"/>
              <a:gd name="connsiteY3" fmla="*/ 1169 h 743010"/>
              <a:gd name="connsiteX4" fmla="*/ 1042665 w 9756600"/>
              <a:gd name="connsiteY4" fmla="*/ 3 h 743010"/>
              <a:gd name="connsiteX5" fmla="*/ 1775533 w 9756600"/>
              <a:gd name="connsiteY5" fmla="*/ 2856 h 743010"/>
              <a:gd name="connsiteX6" fmla="*/ 2049129 w 9756600"/>
              <a:gd name="connsiteY6" fmla="*/ 4501 h 743010"/>
              <a:gd name="connsiteX7" fmla="*/ 2077993 w 9756600"/>
              <a:gd name="connsiteY7" fmla="*/ 1169 h 743010"/>
              <a:gd name="connsiteX8" fmla="*/ 2506278 w 9756600"/>
              <a:gd name="connsiteY8" fmla="*/ 3 h 743010"/>
              <a:gd name="connsiteX9" fmla="*/ 3977317 w 9756600"/>
              <a:gd name="connsiteY9" fmla="*/ 1774 h 743010"/>
              <a:gd name="connsiteX10" fmla="*/ 4353475 w 9756600"/>
              <a:gd name="connsiteY10" fmla="*/ 2517 h 743010"/>
              <a:gd name="connsiteX11" fmla="*/ 4365150 w 9756600"/>
              <a:gd name="connsiteY11" fmla="*/ 1169 h 743010"/>
              <a:gd name="connsiteX12" fmla="*/ 4793434 w 9756600"/>
              <a:gd name="connsiteY12" fmla="*/ 3 h 743010"/>
              <a:gd name="connsiteX13" fmla="*/ 7320146 w 9756600"/>
              <a:gd name="connsiteY13" fmla="*/ 3945 h 743010"/>
              <a:gd name="connsiteX14" fmla="*/ 7468241 w 9756600"/>
              <a:gd name="connsiteY14" fmla="*/ 4275 h 743010"/>
              <a:gd name="connsiteX15" fmla="*/ 7478010 w 9756600"/>
              <a:gd name="connsiteY15" fmla="*/ 1169 h 743010"/>
              <a:gd name="connsiteX16" fmla="*/ 7633504 w 9756600"/>
              <a:gd name="connsiteY16" fmla="*/ 3 h 743010"/>
              <a:gd name="connsiteX17" fmla="*/ 8167581 w 9756600"/>
              <a:gd name="connsiteY17" fmla="*/ 1774 h 743010"/>
              <a:gd name="connsiteX18" fmla="*/ 8304149 w 9756600"/>
              <a:gd name="connsiteY18" fmla="*/ 2517 h 743010"/>
              <a:gd name="connsiteX19" fmla="*/ 8308388 w 9756600"/>
              <a:gd name="connsiteY19" fmla="*/ 1169 h 743010"/>
              <a:gd name="connsiteX20" fmla="*/ 8463881 w 9756600"/>
              <a:gd name="connsiteY20" fmla="*/ 3 h 743010"/>
              <a:gd name="connsiteX21" fmla="*/ 9700698 w 9756600"/>
              <a:gd name="connsiteY21" fmla="*/ 5835 h 743010"/>
              <a:gd name="connsiteX22" fmla="*/ 9726968 w 9756600"/>
              <a:gd name="connsiteY22" fmla="*/ 11836 h 743010"/>
              <a:gd name="connsiteX23" fmla="*/ 9747545 w 9756600"/>
              <a:gd name="connsiteY23" fmla="*/ 39497 h 743010"/>
              <a:gd name="connsiteX24" fmla="*/ 9749672 w 9756600"/>
              <a:gd name="connsiteY24" fmla="*/ 114988 h 743010"/>
              <a:gd name="connsiteX25" fmla="*/ 9750701 w 9756600"/>
              <a:gd name="connsiteY25" fmla="*/ 234470 h 743010"/>
              <a:gd name="connsiteX26" fmla="*/ 9751730 w 9756600"/>
              <a:gd name="connsiteY26" fmla="*/ 297628 h 743010"/>
              <a:gd name="connsiteX27" fmla="*/ 9751442 w 9756600"/>
              <a:gd name="connsiteY27" fmla="*/ 334530 h 743010"/>
              <a:gd name="connsiteX28" fmla="*/ 9753205 w 9756600"/>
              <a:gd name="connsiteY28" fmla="*/ 374371 h 743010"/>
              <a:gd name="connsiteX29" fmla="*/ 9756326 w 9756600"/>
              <a:gd name="connsiteY29" fmla="*/ 458712 h 743010"/>
              <a:gd name="connsiteX30" fmla="*/ 9756326 w 9756600"/>
              <a:gd name="connsiteY30" fmla="*/ 515538 h 743010"/>
              <a:gd name="connsiteX31" fmla="*/ 9756326 w 9756600"/>
              <a:gd name="connsiteY31" fmla="*/ 604026 h 743010"/>
              <a:gd name="connsiteX32" fmla="*/ 9754679 w 9756600"/>
              <a:gd name="connsiteY32" fmla="*/ 713845 h 743010"/>
              <a:gd name="connsiteX33" fmla="*/ 9736916 w 9756600"/>
              <a:gd name="connsiteY33" fmla="*/ 734508 h 743010"/>
              <a:gd name="connsiteX34" fmla="*/ 9730055 w 9756600"/>
              <a:gd name="connsiteY34" fmla="*/ 734508 h 743010"/>
              <a:gd name="connsiteX35" fmla="*/ 9725529 w 9756600"/>
              <a:gd name="connsiteY35" fmla="*/ 734508 h 743010"/>
              <a:gd name="connsiteX36" fmla="*/ 9718671 w 9756600"/>
              <a:gd name="connsiteY36" fmla="*/ 735843 h 743010"/>
              <a:gd name="connsiteX37" fmla="*/ 9699807 w 9756600"/>
              <a:gd name="connsiteY37" fmla="*/ 741840 h 743010"/>
              <a:gd name="connsiteX38" fmla="*/ 9544314 w 9756600"/>
              <a:gd name="connsiteY38" fmla="*/ 743007 h 743010"/>
              <a:gd name="connsiteX39" fmla="*/ 9010236 w 9756600"/>
              <a:gd name="connsiteY39" fmla="*/ 741235 h 743010"/>
              <a:gd name="connsiteX40" fmla="*/ 8873667 w 9756600"/>
              <a:gd name="connsiteY40" fmla="*/ 740492 h 743010"/>
              <a:gd name="connsiteX41" fmla="*/ 8869429 w 9756600"/>
              <a:gd name="connsiteY41" fmla="*/ 741840 h 743010"/>
              <a:gd name="connsiteX42" fmla="*/ 8713936 w 9756600"/>
              <a:gd name="connsiteY42" fmla="*/ 743007 h 743010"/>
              <a:gd name="connsiteX43" fmla="*/ 8378142 w 9756600"/>
              <a:gd name="connsiteY43" fmla="*/ 742167 h 743010"/>
              <a:gd name="connsiteX44" fmla="*/ 8202497 w 9756600"/>
              <a:gd name="connsiteY44" fmla="*/ 741276 h 743010"/>
              <a:gd name="connsiteX45" fmla="*/ 8197613 w 9756600"/>
              <a:gd name="connsiteY45" fmla="*/ 741840 h 743010"/>
              <a:gd name="connsiteX46" fmla="*/ 7769329 w 9756600"/>
              <a:gd name="connsiteY46" fmla="*/ 743007 h 743010"/>
              <a:gd name="connsiteX47" fmla="*/ 6298289 w 9756600"/>
              <a:gd name="connsiteY47" fmla="*/ 741235 h 743010"/>
              <a:gd name="connsiteX48" fmla="*/ 5922130 w 9756600"/>
              <a:gd name="connsiteY48" fmla="*/ 740492 h 743010"/>
              <a:gd name="connsiteX49" fmla="*/ 5910456 w 9756600"/>
              <a:gd name="connsiteY49" fmla="*/ 741840 h 743010"/>
              <a:gd name="connsiteX50" fmla="*/ 5482173 w 9756600"/>
              <a:gd name="connsiteY50" fmla="*/ 743007 h 743010"/>
              <a:gd name="connsiteX51" fmla="*/ 2527539 w 9756600"/>
              <a:gd name="connsiteY51" fmla="*/ 738110 h 743010"/>
              <a:gd name="connsiteX52" fmla="*/ 2291960 w 9756600"/>
              <a:gd name="connsiteY52" fmla="*/ 737590 h 743010"/>
              <a:gd name="connsiteX53" fmla="*/ 2278590 w 9756600"/>
              <a:gd name="connsiteY53" fmla="*/ 741840 h 743010"/>
              <a:gd name="connsiteX54" fmla="*/ 2123097 w 9756600"/>
              <a:gd name="connsiteY54" fmla="*/ 743007 h 743010"/>
              <a:gd name="connsiteX55" fmla="*/ 1589019 w 9756600"/>
              <a:gd name="connsiteY55" fmla="*/ 741235 h 743010"/>
              <a:gd name="connsiteX56" fmla="*/ 1452450 w 9756600"/>
              <a:gd name="connsiteY56" fmla="*/ 740492 h 743010"/>
              <a:gd name="connsiteX57" fmla="*/ 1448212 w 9756600"/>
              <a:gd name="connsiteY57" fmla="*/ 741840 h 743010"/>
              <a:gd name="connsiteX58" fmla="*/ 1292719 w 9756600"/>
              <a:gd name="connsiteY58" fmla="*/ 743007 h 743010"/>
              <a:gd name="connsiteX59" fmla="*/ 55902 w 9756600"/>
              <a:gd name="connsiteY59" fmla="*/ 737175 h 743010"/>
              <a:gd name="connsiteX60" fmla="*/ 29632 w 9756600"/>
              <a:gd name="connsiteY60" fmla="*/ 731174 h 743010"/>
              <a:gd name="connsiteX61" fmla="*/ 9055 w 9756600"/>
              <a:gd name="connsiteY61" fmla="*/ 703513 h 743010"/>
              <a:gd name="connsiteX62" fmla="*/ 6928 w 9756600"/>
              <a:gd name="connsiteY62" fmla="*/ 628021 h 743010"/>
              <a:gd name="connsiteX63" fmla="*/ 5899 w 9756600"/>
              <a:gd name="connsiteY63" fmla="*/ 508540 h 743010"/>
              <a:gd name="connsiteX64" fmla="*/ 4870 w 9756600"/>
              <a:gd name="connsiteY64" fmla="*/ 445382 h 743010"/>
              <a:gd name="connsiteX65" fmla="*/ 5158 w 9756600"/>
              <a:gd name="connsiteY65" fmla="*/ 408480 h 743010"/>
              <a:gd name="connsiteX66" fmla="*/ 3395 w 9756600"/>
              <a:gd name="connsiteY66" fmla="*/ 368639 h 743010"/>
              <a:gd name="connsiteX67" fmla="*/ 274 w 9756600"/>
              <a:gd name="connsiteY67" fmla="*/ 284297 h 743010"/>
              <a:gd name="connsiteX68" fmla="*/ 274 w 9756600"/>
              <a:gd name="connsiteY68" fmla="*/ 227471 h 743010"/>
              <a:gd name="connsiteX69" fmla="*/ 274 w 9756600"/>
              <a:gd name="connsiteY69" fmla="*/ 138984 h 743010"/>
              <a:gd name="connsiteX70" fmla="*/ 1920 w 9756600"/>
              <a:gd name="connsiteY70" fmla="*/ 29165 h 743010"/>
              <a:gd name="connsiteX71" fmla="*/ 19684 w 9756600"/>
              <a:gd name="connsiteY71" fmla="*/ 8502 h 743010"/>
              <a:gd name="connsiteX72" fmla="*/ 26544 w 9756600"/>
              <a:gd name="connsiteY72" fmla="*/ 8502 h 743010"/>
              <a:gd name="connsiteX73" fmla="*/ 31071 w 9756600"/>
              <a:gd name="connsiteY73" fmla="*/ 8502 h 743010"/>
              <a:gd name="connsiteX74" fmla="*/ 37930 w 9756600"/>
              <a:gd name="connsiteY74" fmla="*/ 7167 h 743010"/>
              <a:gd name="connsiteX75" fmla="*/ 56793 w 9756600"/>
              <a:gd name="connsiteY75" fmla="*/ 1169 h 743010"/>
              <a:gd name="connsiteX76" fmla="*/ 212287 w 9756600"/>
              <a:gd name="connsiteY76" fmla="*/ 3 h 74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9756600" h="743010">
                <a:moveTo>
                  <a:pt x="212287" y="3"/>
                </a:moveTo>
                <a:cubicBezTo>
                  <a:pt x="345111" y="-61"/>
                  <a:pt x="545358" y="744"/>
                  <a:pt x="746364" y="1774"/>
                </a:cubicBezTo>
                <a:lnTo>
                  <a:pt x="882932" y="2517"/>
                </a:lnTo>
                <a:lnTo>
                  <a:pt x="887171" y="1169"/>
                </a:lnTo>
                <a:cubicBezTo>
                  <a:pt x="897596" y="3"/>
                  <a:pt x="955624" y="3"/>
                  <a:pt x="1042665" y="3"/>
                </a:cubicBezTo>
                <a:cubicBezTo>
                  <a:pt x="1219764" y="-81"/>
                  <a:pt x="1516725" y="1377"/>
                  <a:pt x="1775533" y="2856"/>
                </a:cubicBezTo>
                <a:lnTo>
                  <a:pt x="2049129" y="4501"/>
                </a:lnTo>
                <a:lnTo>
                  <a:pt x="2077993" y="1169"/>
                </a:lnTo>
                <a:cubicBezTo>
                  <a:pt x="2106707" y="3"/>
                  <a:pt x="2266537" y="3"/>
                  <a:pt x="2506278" y="3"/>
                </a:cubicBezTo>
                <a:cubicBezTo>
                  <a:pt x="2872124" y="-61"/>
                  <a:pt x="3423674" y="744"/>
                  <a:pt x="3977317" y="1774"/>
                </a:cubicBezTo>
                <a:lnTo>
                  <a:pt x="4353475" y="2517"/>
                </a:lnTo>
                <a:lnTo>
                  <a:pt x="4365150" y="1169"/>
                </a:lnTo>
                <a:cubicBezTo>
                  <a:pt x="4393864" y="3"/>
                  <a:pt x="4553694" y="3"/>
                  <a:pt x="4793434" y="3"/>
                </a:cubicBezTo>
                <a:cubicBezTo>
                  <a:pt x="5403178" y="-103"/>
                  <a:pt x="6528768" y="2202"/>
                  <a:pt x="7320146" y="3945"/>
                </a:cubicBezTo>
                <a:lnTo>
                  <a:pt x="7468241" y="4275"/>
                </a:lnTo>
                <a:lnTo>
                  <a:pt x="7478010" y="1169"/>
                </a:lnTo>
                <a:cubicBezTo>
                  <a:pt x="7488435" y="3"/>
                  <a:pt x="7546463" y="3"/>
                  <a:pt x="7633504" y="3"/>
                </a:cubicBezTo>
                <a:cubicBezTo>
                  <a:pt x="7766328" y="-61"/>
                  <a:pt x="7966575" y="744"/>
                  <a:pt x="8167581" y="1774"/>
                </a:cubicBezTo>
                <a:lnTo>
                  <a:pt x="8304149" y="2517"/>
                </a:lnTo>
                <a:lnTo>
                  <a:pt x="8308388" y="1169"/>
                </a:lnTo>
                <a:cubicBezTo>
                  <a:pt x="8318813" y="3"/>
                  <a:pt x="8376841" y="3"/>
                  <a:pt x="8463881" y="3"/>
                </a:cubicBezTo>
                <a:cubicBezTo>
                  <a:pt x="8818080" y="-166"/>
                  <a:pt x="9651726" y="5835"/>
                  <a:pt x="9700698" y="5835"/>
                </a:cubicBezTo>
                <a:cubicBezTo>
                  <a:pt x="9709517" y="5574"/>
                  <a:pt x="9718323" y="7588"/>
                  <a:pt x="9726968" y="11836"/>
                </a:cubicBezTo>
                <a:cubicBezTo>
                  <a:pt x="9738423" y="17333"/>
                  <a:pt x="9743773" y="12167"/>
                  <a:pt x="9747545" y="39497"/>
                </a:cubicBezTo>
                <a:cubicBezTo>
                  <a:pt x="9750701" y="62327"/>
                  <a:pt x="9749191" y="86157"/>
                  <a:pt x="9749672" y="114988"/>
                </a:cubicBezTo>
                <a:cubicBezTo>
                  <a:pt x="9750701" y="180811"/>
                  <a:pt x="9750701" y="156149"/>
                  <a:pt x="9750701" y="234470"/>
                </a:cubicBezTo>
                <a:lnTo>
                  <a:pt x="9751730" y="297628"/>
                </a:lnTo>
                <a:lnTo>
                  <a:pt x="9751442" y="334530"/>
                </a:lnTo>
                <a:lnTo>
                  <a:pt x="9753205" y="374371"/>
                </a:lnTo>
                <a:cubicBezTo>
                  <a:pt x="9755126" y="402388"/>
                  <a:pt x="9756943" y="430383"/>
                  <a:pt x="9756326" y="458712"/>
                </a:cubicBezTo>
                <a:cubicBezTo>
                  <a:pt x="9755091" y="500207"/>
                  <a:pt x="9756805" y="473878"/>
                  <a:pt x="9756326" y="515538"/>
                </a:cubicBezTo>
                <a:cubicBezTo>
                  <a:pt x="9756326" y="544866"/>
                  <a:pt x="9756943" y="574698"/>
                  <a:pt x="9756326" y="604026"/>
                </a:cubicBezTo>
                <a:cubicBezTo>
                  <a:pt x="9756607" y="640677"/>
                  <a:pt x="9756059" y="677341"/>
                  <a:pt x="9754679" y="713845"/>
                </a:cubicBezTo>
                <a:cubicBezTo>
                  <a:pt x="9753719" y="729677"/>
                  <a:pt x="9743775" y="732175"/>
                  <a:pt x="9736916" y="734508"/>
                </a:cubicBezTo>
                <a:lnTo>
                  <a:pt x="9730055" y="734508"/>
                </a:lnTo>
                <a:lnTo>
                  <a:pt x="9725529" y="734508"/>
                </a:lnTo>
                <a:cubicBezTo>
                  <a:pt x="9723231" y="734440"/>
                  <a:pt x="9720933" y="734885"/>
                  <a:pt x="9718671" y="735843"/>
                </a:cubicBezTo>
                <a:cubicBezTo>
                  <a:pt x="9712436" y="738753"/>
                  <a:pt x="9706139" y="740754"/>
                  <a:pt x="9699807" y="741840"/>
                </a:cubicBezTo>
                <a:cubicBezTo>
                  <a:pt x="9689382" y="743007"/>
                  <a:pt x="9631354" y="743007"/>
                  <a:pt x="9544314" y="743007"/>
                </a:cubicBezTo>
                <a:cubicBezTo>
                  <a:pt x="9411489" y="743070"/>
                  <a:pt x="9211243" y="742266"/>
                  <a:pt x="9010236" y="741235"/>
                </a:cubicBezTo>
                <a:lnTo>
                  <a:pt x="8873667" y="740492"/>
                </a:lnTo>
                <a:lnTo>
                  <a:pt x="8869429" y="741840"/>
                </a:lnTo>
                <a:cubicBezTo>
                  <a:pt x="8859004" y="743007"/>
                  <a:pt x="8800976" y="743007"/>
                  <a:pt x="8713936" y="743007"/>
                </a:cubicBezTo>
                <a:cubicBezTo>
                  <a:pt x="8625386" y="743049"/>
                  <a:pt x="8506871" y="742706"/>
                  <a:pt x="8378142" y="742167"/>
                </a:cubicBezTo>
                <a:lnTo>
                  <a:pt x="8202497" y="741276"/>
                </a:lnTo>
                <a:lnTo>
                  <a:pt x="8197613" y="741840"/>
                </a:lnTo>
                <a:cubicBezTo>
                  <a:pt x="8168899" y="743007"/>
                  <a:pt x="8009069" y="743007"/>
                  <a:pt x="7769329" y="743007"/>
                </a:cubicBezTo>
                <a:cubicBezTo>
                  <a:pt x="7403483" y="743070"/>
                  <a:pt x="6851933" y="742266"/>
                  <a:pt x="6298289" y="741235"/>
                </a:cubicBezTo>
                <a:lnTo>
                  <a:pt x="5922130" y="740492"/>
                </a:lnTo>
                <a:lnTo>
                  <a:pt x="5910456" y="741840"/>
                </a:lnTo>
                <a:cubicBezTo>
                  <a:pt x="5881743" y="743007"/>
                  <a:pt x="5721913" y="743007"/>
                  <a:pt x="5482173" y="743007"/>
                </a:cubicBezTo>
                <a:cubicBezTo>
                  <a:pt x="4750481" y="743133"/>
                  <a:pt x="3275969" y="739790"/>
                  <a:pt x="2527539" y="738110"/>
                </a:cubicBezTo>
                <a:lnTo>
                  <a:pt x="2291960" y="737590"/>
                </a:lnTo>
                <a:lnTo>
                  <a:pt x="2278590" y="741840"/>
                </a:lnTo>
                <a:cubicBezTo>
                  <a:pt x="2268165" y="743007"/>
                  <a:pt x="2210137" y="743007"/>
                  <a:pt x="2123097" y="743007"/>
                </a:cubicBezTo>
                <a:cubicBezTo>
                  <a:pt x="1990273" y="743070"/>
                  <a:pt x="1790026" y="742266"/>
                  <a:pt x="1589019" y="741235"/>
                </a:cubicBezTo>
                <a:lnTo>
                  <a:pt x="1452450" y="740492"/>
                </a:lnTo>
                <a:lnTo>
                  <a:pt x="1448212" y="741840"/>
                </a:lnTo>
                <a:cubicBezTo>
                  <a:pt x="1437787" y="743007"/>
                  <a:pt x="1379759" y="743007"/>
                  <a:pt x="1292719" y="743007"/>
                </a:cubicBezTo>
                <a:cubicBezTo>
                  <a:pt x="938520" y="743175"/>
                  <a:pt x="104874" y="737175"/>
                  <a:pt x="55902" y="737175"/>
                </a:cubicBezTo>
                <a:cubicBezTo>
                  <a:pt x="47083" y="737435"/>
                  <a:pt x="38277" y="735422"/>
                  <a:pt x="29632" y="731174"/>
                </a:cubicBezTo>
                <a:cubicBezTo>
                  <a:pt x="18177" y="725677"/>
                  <a:pt x="12827" y="730843"/>
                  <a:pt x="9055" y="703513"/>
                </a:cubicBezTo>
                <a:cubicBezTo>
                  <a:pt x="5899" y="680683"/>
                  <a:pt x="7408" y="656852"/>
                  <a:pt x="6928" y="628021"/>
                </a:cubicBezTo>
                <a:cubicBezTo>
                  <a:pt x="5899" y="562199"/>
                  <a:pt x="5899" y="586862"/>
                  <a:pt x="5899" y="508540"/>
                </a:cubicBezTo>
                <a:lnTo>
                  <a:pt x="4870" y="445382"/>
                </a:lnTo>
                <a:lnTo>
                  <a:pt x="5158" y="408480"/>
                </a:lnTo>
                <a:lnTo>
                  <a:pt x="3395" y="368639"/>
                </a:lnTo>
                <a:cubicBezTo>
                  <a:pt x="1474" y="340622"/>
                  <a:pt x="-343" y="312626"/>
                  <a:pt x="274" y="284297"/>
                </a:cubicBezTo>
                <a:cubicBezTo>
                  <a:pt x="1509" y="242803"/>
                  <a:pt x="-206" y="269132"/>
                  <a:pt x="274" y="227471"/>
                </a:cubicBezTo>
                <a:cubicBezTo>
                  <a:pt x="274" y="198143"/>
                  <a:pt x="-343" y="168312"/>
                  <a:pt x="274" y="138984"/>
                </a:cubicBezTo>
                <a:cubicBezTo>
                  <a:pt x="-7" y="102333"/>
                  <a:pt x="541" y="65669"/>
                  <a:pt x="1920" y="29165"/>
                </a:cubicBezTo>
                <a:cubicBezTo>
                  <a:pt x="2881" y="13333"/>
                  <a:pt x="12826" y="10835"/>
                  <a:pt x="19684" y="8502"/>
                </a:cubicBezTo>
                <a:lnTo>
                  <a:pt x="26544" y="8502"/>
                </a:lnTo>
                <a:lnTo>
                  <a:pt x="31071" y="8502"/>
                </a:lnTo>
                <a:cubicBezTo>
                  <a:pt x="33369" y="8570"/>
                  <a:pt x="35667" y="8124"/>
                  <a:pt x="37930" y="7167"/>
                </a:cubicBezTo>
                <a:cubicBezTo>
                  <a:pt x="44164" y="4257"/>
                  <a:pt x="50461" y="2256"/>
                  <a:pt x="56793" y="1169"/>
                </a:cubicBezTo>
                <a:cubicBezTo>
                  <a:pt x="67218" y="3"/>
                  <a:pt x="125246" y="3"/>
                  <a:pt x="212287" y="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393" cap="flat">
            <a:noFill/>
            <a:prstDash val="solid"/>
            <a:miter/>
          </a:ln>
        </p:spPr>
        <p:txBody>
          <a:bodyPr vert="horz" wrap="square" lIns="457200" tIns="0" rIns="274320" bIns="36000" rtlCol="0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rgbClr val="666666"/>
                </a:solidFill>
                <a:latin typeface="Calibri" panose="020F0502020204030204" pitchFamily="34" charset="0"/>
              </a:rPr>
              <a:t>It’s imperative to </a:t>
            </a:r>
            <a:r>
              <a:rPr lang="en-US" sz="2800" b="1" dirty="0">
                <a:solidFill>
                  <a:srgbClr val="666666"/>
                </a:solidFill>
                <a:latin typeface="Calibri" panose="020F0502020204030204" pitchFamily="34" charset="0"/>
              </a:rPr>
              <a:t>break down the silos and integrate eCommerce </a:t>
            </a:r>
            <a:r>
              <a:rPr lang="en-US" sz="2800" dirty="0">
                <a:solidFill>
                  <a:srgbClr val="666666"/>
                </a:solidFill>
                <a:latin typeface="Calibri" panose="020F0502020204030204" pitchFamily="34" charset="0"/>
              </a:rPr>
              <a:t>into the total business, when the share of eCommerce reaches a tipping point (&gt;10%)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1" name="Graphic 112">
            <a:extLst>
              <a:ext uri="{FF2B5EF4-FFF2-40B4-BE49-F238E27FC236}">
                <a16:creationId xmlns:a16="http://schemas.microsoft.com/office/drawing/2014/main" id="{67F05A43-D8EE-B8C0-F902-F3CF6C25EF2A}"/>
              </a:ext>
            </a:extLst>
          </p:cNvPr>
          <p:cNvSpPr/>
          <p:nvPr/>
        </p:nvSpPr>
        <p:spPr>
          <a:xfrm>
            <a:off x="349321" y="1190314"/>
            <a:ext cx="932021" cy="1203566"/>
          </a:xfrm>
          <a:custGeom>
            <a:avLst/>
            <a:gdLst>
              <a:gd name="connsiteX0" fmla="*/ 14007 w 461486"/>
              <a:gd name="connsiteY0" fmla="*/ 9284 h 401764"/>
              <a:gd name="connsiteX1" fmla="*/ 67160 w 461486"/>
              <a:gd name="connsiteY1" fmla="*/ 1466 h 401764"/>
              <a:gd name="connsiteX2" fmla="*/ 128402 w 461486"/>
              <a:gd name="connsiteY2" fmla="*/ 0 h 401764"/>
              <a:gd name="connsiteX3" fmla="*/ 223251 w 461486"/>
              <a:gd name="connsiteY3" fmla="*/ 4289 h 401764"/>
              <a:gd name="connsiteX4" fmla="*/ 266033 w 461486"/>
              <a:gd name="connsiteY4" fmla="*/ 5429 h 401764"/>
              <a:gd name="connsiteX5" fmla="*/ 304798 w 461486"/>
              <a:gd name="connsiteY5" fmla="*/ 12379 h 401764"/>
              <a:gd name="connsiteX6" fmla="*/ 328741 w 461486"/>
              <a:gd name="connsiteY6" fmla="*/ 32575 h 401764"/>
              <a:gd name="connsiteX7" fmla="*/ 445850 w 461486"/>
              <a:gd name="connsiteY7" fmla="*/ 162497 h 401764"/>
              <a:gd name="connsiteX8" fmla="*/ 464092 w 461486"/>
              <a:gd name="connsiteY8" fmla="*/ 198059 h 401764"/>
              <a:gd name="connsiteX9" fmla="*/ 456980 w 461486"/>
              <a:gd name="connsiteY9" fmla="*/ 219776 h 401764"/>
              <a:gd name="connsiteX10" fmla="*/ 366637 w 461486"/>
              <a:gd name="connsiteY10" fmla="*/ 332161 h 401764"/>
              <a:gd name="connsiteX11" fmla="*/ 317774 w 461486"/>
              <a:gd name="connsiteY11" fmla="*/ 382164 h 401764"/>
              <a:gd name="connsiteX12" fmla="*/ 306210 w 461486"/>
              <a:gd name="connsiteY12" fmla="*/ 392534 h 401764"/>
              <a:gd name="connsiteX13" fmla="*/ 247031 w 461486"/>
              <a:gd name="connsiteY13" fmla="*/ 401330 h 401764"/>
              <a:gd name="connsiteX14" fmla="*/ 177048 w 461486"/>
              <a:gd name="connsiteY14" fmla="*/ 400570 h 401764"/>
              <a:gd name="connsiteX15" fmla="*/ 99084 w 461486"/>
              <a:gd name="connsiteY15" fmla="*/ 398506 h 401764"/>
              <a:gd name="connsiteX16" fmla="*/ 24812 w 461486"/>
              <a:gd name="connsiteY16" fmla="*/ 387648 h 401764"/>
              <a:gd name="connsiteX17" fmla="*/ 18025 w 461486"/>
              <a:gd name="connsiteY17" fmla="*/ 385748 h 401764"/>
              <a:gd name="connsiteX18" fmla="*/ 13899 w 461486"/>
              <a:gd name="connsiteY18" fmla="*/ 378690 h 401764"/>
              <a:gd name="connsiteX19" fmla="*/ 4561 w 461486"/>
              <a:gd name="connsiteY19" fmla="*/ 339545 h 401764"/>
              <a:gd name="connsiteX20" fmla="*/ 3800 w 461486"/>
              <a:gd name="connsiteY20" fmla="*/ 295242 h 401764"/>
              <a:gd name="connsiteX21" fmla="*/ 0 w 461486"/>
              <a:gd name="connsiteY21" fmla="*/ 249745 h 401764"/>
              <a:gd name="connsiteX22" fmla="*/ 1846 w 461486"/>
              <a:gd name="connsiteY22" fmla="*/ 219450 h 401764"/>
              <a:gd name="connsiteX23" fmla="*/ 1520 w 461486"/>
              <a:gd name="connsiteY23" fmla="*/ 183454 h 401764"/>
              <a:gd name="connsiteX24" fmla="*/ 869 w 461486"/>
              <a:gd name="connsiteY24" fmla="*/ 96586 h 401764"/>
              <a:gd name="connsiteX25" fmla="*/ 5538 w 461486"/>
              <a:gd name="connsiteY25" fmla="*/ 47289 h 401764"/>
              <a:gd name="connsiteX26" fmla="*/ 14007 w 461486"/>
              <a:gd name="connsiteY26" fmla="*/ 9284 h 401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61486" h="401764">
                <a:moveTo>
                  <a:pt x="14007" y="9284"/>
                </a:moveTo>
                <a:cubicBezTo>
                  <a:pt x="26820" y="0"/>
                  <a:pt x="52012" y="2335"/>
                  <a:pt x="67160" y="1466"/>
                </a:cubicBezTo>
                <a:cubicBezTo>
                  <a:pt x="87519" y="0"/>
                  <a:pt x="107988" y="0"/>
                  <a:pt x="128402" y="0"/>
                </a:cubicBezTo>
                <a:cubicBezTo>
                  <a:pt x="160054" y="380"/>
                  <a:pt x="191652" y="2117"/>
                  <a:pt x="223251" y="4289"/>
                </a:cubicBezTo>
                <a:cubicBezTo>
                  <a:pt x="237747" y="5429"/>
                  <a:pt x="251591" y="5429"/>
                  <a:pt x="266033" y="5429"/>
                </a:cubicBezTo>
                <a:cubicBezTo>
                  <a:pt x="279329" y="4539"/>
                  <a:pt x="292640" y="6926"/>
                  <a:pt x="304798" y="12379"/>
                </a:cubicBezTo>
                <a:cubicBezTo>
                  <a:pt x="313830" y="17756"/>
                  <a:pt x="321918" y="24579"/>
                  <a:pt x="328741" y="32575"/>
                </a:cubicBezTo>
                <a:cubicBezTo>
                  <a:pt x="368338" y="75466"/>
                  <a:pt x="407374" y="118774"/>
                  <a:pt x="445850" y="162497"/>
                </a:cubicBezTo>
                <a:cubicBezTo>
                  <a:pt x="454862" y="172759"/>
                  <a:pt x="464418" y="184214"/>
                  <a:pt x="464092" y="198059"/>
                </a:cubicBezTo>
                <a:cubicBezTo>
                  <a:pt x="463427" y="205749"/>
                  <a:pt x="460993" y="213182"/>
                  <a:pt x="456980" y="219776"/>
                </a:cubicBezTo>
                <a:cubicBezTo>
                  <a:pt x="434340" y="262558"/>
                  <a:pt x="400298" y="297685"/>
                  <a:pt x="366637" y="332161"/>
                </a:cubicBezTo>
                <a:lnTo>
                  <a:pt x="317774" y="382164"/>
                </a:lnTo>
                <a:cubicBezTo>
                  <a:pt x="314287" y="386011"/>
                  <a:pt x="310412" y="389486"/>
                  <a:pt x="306210" y="392534"/>
                </a:cubicBezTo>
                <a:cubicBezTo>
                  <a:pt x="288402" y="404533"/>
                  <a:pt x="267282" y="402307"/>
                  <a:pt x="247031" y="401330"/>
                </a:cubicBezTo>
                <a:cubicBezTo>
                  <a:pt x="223685" y="400244"/>
                  <a:pt x="200339" y="400515"/>
                  <a:pt x="177048" y="400570"/>
                </a:cubicBezTo>
                <a:cubicBezTo>
                  <a:pt x="151042" y="400570"/>
                  <a:pt x="124981" y="400570"/>
                  <a:pt x="99084" y="398506"/>
                </a:cubicBezTo>
                <a:cubicBezTo>
                  <a:pt x="74001" y="396389"/>
                  <a:pt x="49678" y="390091"/>
                  <a:pt x="24812" y="387648"/>
                </a:cubicBezTo>
                <a:cubicBezTo>
                  <a:pt x="22419" y="387644"/>
                  <a:pt x="20072" y="386987"/>
                  <a:pt x="18025" y="385748"/>
                </a:cubicBezTo>
                <a:cubicBezTo>
                  <a:pt x="15946" y="383884"/>
                  <a:pt x="14503" y="381416"/>
                  <a:pt x="13899" y="378690"/>
                </a:cubicBezTo>
                <a:cubicBezTo>
                  <a:pt x="8938" y="366153"/>
                  <a:pt x="5793" y="352971"/>
                  <a:pt x="4561" y="339545"/>
                </a:cubicBezTo>
                <a:cubicBezTo>
                  <a:pt x="4018" y="325266"/>
                  <a:pt x="4561" y="309956"/>
                  <a:pt x="3800" y="295242"/>
                </a:cubicBezTo>
                <a:cubicBezTo>
                  <a:pt x="3040" y="280529"/>
                  <a:pt x="0" y="264838"/>
                  <a:pt x="0" y="249745"/>
                </a:cubicBezTo>
                <a:cubicBezTo>
                  <a:pt x="0" y="239430"/>
                  <a:pt x="2117" y="229766"/>
                  <a:pt x="1846" y="219450"/>
                </a:cubicBezTo>
                <a:cubicBezTo>
                  <a:pt x="1520" y="207397"/>
                  <a:pt x="1412" y="195453"/>
                  <a:pt x="1520" y="183454"/>
                </a:cubicBezTo>
                <a:cubicBezTo>
                  <a:pt x="1520" y="154842"/>
                  <a:pt x="-1249" y="125090"/>
                  <a:pt x="869" y="96586"/>
                </a:cubicBezTo>
                <a:cubicBezTo>
                  <a:pt x="2063" y="80299"/>
                  <a:pt x="5212" y="64011"/>
                  <a:pt x="5538" y="47289"/>
                </a:cubicBezTo>
                <a:cubicBezTo>
                  <a:pt x="5809" y="34421"/>
                  <a:pt x="1574" y="17971"/>
                  <a:pt x="14007" y="9284"/>
                </a:cubicBezTo>
              </a:path>
            </a:pathLst>
          </a:custGeom>
          <a:solidFill>
            <a:srgbClr val="724D8D"/>
          </a:solidFill>
          <a:ln w="5379" cap="flat">
            <a:noFill/>
            <a:prstDash val="solid"/>
            <a:miter/>
          </a:ln>
        </p:spPr>
        <p:txBody>
          <a:bodyPr lIns="0" tIns="0" rIns="9144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DLZ BITE TYPE"/>
                <a:ea typeface="+mn-ea"/>
                <a:cs typeface="+mn-cs"/>
              </a:rPr>
              <a:t>1.</a:t>
            </a:r>
          </a:p>
        </p:txBody>
      </p:sp>
      <p:sp>
        <p:nvSpPr>
          <p:cNvPr id="17" name="Freeform 60">
            <a:extLst>
              <a:ext uri="{FF2B5EF4-FFF2-40B4-BE49-F238E27FC236}">
                <a16:creationId xmlns:a16="http://schemas.microsoft.com/office/drawing/2014/main" id="{52C8A125-572D-489C-A918-FED86E2AD314}"/>
              </a:ext>
            </a:extLst>
          </p:cNvPr>
          <p:cNvSpPr/>
          <p:nvPr/>
        </p:nvSpPr>
        <p:spPr>
          <a:xfrm>
            <a:off x="1191575" y="3029465"/>
            <a:ext cx="10621197" cy="1264415"/>
          </a:xfrm>
          <a:custGeom>
            <a:avLst/>
            <a:gdLst>
              <a:gd name="connsiteX0" fmla="*/ 212287 w 9756600"/>
              <a:gd name="connsiteY0" fmla="*/ 3 h 743010"/>
              <a:gd name="connsiteX1" fmla="*/ 746364 w 9756600"/>
              <a:gd name="connsiteY1" fmla="*/ 1774 h 743010"/>
              <a:gd name="connsiteX2" fmla="*/ 882932 w 9756600"/>
              <a:gd name="connsiteY2" fmla="*/ 2517 h 743010"/>
              <a:gd name="connsiteX3" fmla="*/ 887171 w 9756600"/>
              <a:gd name="connsiteY3" fmla="*/ 1169 h 743010"/>
              <a:gd name="connsiteX4" fmla="*/ 1042665 w 9756600"/>
              <a:gd name="connsiteY4" fmla="*/ 3 h 743010"/>
              <a:gd name="connsiteX5" fmla="*/ 1775533 w 9756600"/>
              <a:gd name="connsiteY5" fmla="*/ 2856 h 743010"/>
              <a:gd name="connsiteX6" fmla="*/ 2049129 w 9756600"/>
              <a:gd name="connsiteY6" fmla="*/ 4501 h 743010"/>
              <a:gd name="connsiteX7" fmla="*/ 2077993 w 9756600"/>
              <a:gd name="connsiteY7" fmla="*/ 1169 h 743010"/>
              <a:gd name="connsiteX8" fmla="*/ 2506278 w 9756600"/>
              <a:gd name="connsiteY8" fmla="*/ 3 h 743010"/>
              <a:gd name="connsiteX9" fmla="*/ 3977317 w 9756600"/>
              <a:gd name="connsiteY9" fmla="*/ 1774 h 743010"/>
              <a:gd name="connsiteX10" fmla="*/ 4353475 w 9756600"/>
              <a:gd name="connsiteY10" fmla="*/ 2517 h 743010"/>
              <a:gd name="connsiteX11" fmla="*/ 4365150 w 9756600"/>
              <a:gd name="connsiteY11" fmla="*/ 1169 h 743010"/>
              <a:gd name="connsiteX12" fmla="*/ 4793434 w 9756600"/>
              <a:gd name="connsiteY12" fmla="*/ 3 h 743010"/>
              <a:gd name="connsiteX13" fmla="*/ 7320146 w 9756600"/>
              <a:gd name="connsiteY13" fmla="*/ 3945 h 743010"/>
              <a:gd name="connsiteX14" fmla="*/ 7468241 w 9756600"/>
              <a:gd name="connsiteY14" fmla="*/ 4275 h 743010"/>
              <a:gd name="connsiteX15" fmla="*/ 7478010 w 9756600"/>
              <a:gd name="connsiteY15" fmla="*/ 1169 h 743010"/>
              <a:gd name="connsiteX16" fmla="*/ 7633504 w 9756600"/>
              <a:gd name="connsiteY16" fmla="*/ 3 h 743010"/>
              <a:gd name="connsiteX17" fmla="*/ 8167581 w 9756600"/>
              <a:gd name="connsiteY17" fmla="*/ 1774 h 743010"/>
              <a:gd name="connsiteX18" fmla="*/ 8304149 w 9756600"/>
              <a:gd name="connsiteY18" fmla="*/ 2517 h 743010"/>
              <a:gd name="connsiteX19" fmla="*/ 8308388 w 9756600"/>
              <a:gd name="connsiteY19" fmla="*/ 1169 h 743010"/>
              <a:gd name="connsiteX20" fmla="*/ 8463881 w 9756600"/>
              <a:gd name="connsiteY20" fmla="*/ 3 h 743010"/>
              <a:gd name="connsiteX21" fmla="*/ 9700698 w 9756600"/>
              <a:gd name="connsiteY21" fmla="*/ 5835 h 743010"/>
              <a:gd name="connsiteX22" fmla="*/ 9726968 w 9756600"/>
              <a:gd name="connsiteY22" fmla="*/ 11836 h 743010"/>
              <a:gd name="connsiteX23" fmla="*/ 9747545 w 9756600"/>
              <a:gd name="connsiteY23" fmla="*/ 39497 h 743010"/>
              <a:gd name="connsiteX24" fmla="*/ 9749672 w 9756600"/>
              <a:gd name="connsiteY24" fmla="*/ 114988 h 743010"/>
              <a:gd name="connsiteX25" fmla="*/ 9750701 w 9756600"/>
              <a:gd name="connsiteY25" fmla="*/ 234470 h 743010"/>
              <a:gd name="connsiteX26" fmla="*/ 9751730 w 9756600"/>
              <a:gd name="connsiteY26" fmla="*/ 297628 h 743010"/>
              <a:gd name="connsiteX27" fmla="*/ 9751442 w 9756600"/>
              <a:gd name="connsiteY27" fmla="*/ 334530 h 743010"/>
              <a:gd name="connsiteX28" fmla="*/ 9753205 w 9756600"/>
              <a:gd name="connsiteY28" fmla="*/ 374371 h 743010"/>
              <a:gd name="connsiteX29" fmla="*/ 9756326 w 9756600"/>
              <a:gd name="connsiteY29" fmla="*/ 458712 h 743010"/>
              <a:gd name="connsiteX30" fmla="*/ 9756326 w 9756600"/>
              <a:gd name="connsiteY30" fmla="*/ 515538 h 743010"/>
              <a:gd name="connsiteX31" fmla="*/ 9756326 w 9756600"/>
              <a:gd name="connsiteY31" fmla="*/ 604026 h 743010"/>
              <a:gd name="connsiteX32" fmla="*/ 9754679 w 9756600"/>
              <a:gd name="connsiteY32" fmla="*/ 713845 h 743010"/>
              <a:gd name="connsiteX33" fmla="*/ 9736916 w 9756600"/>
              <a:gd name="connsiteY33" fmla="*/ 734508 h 743010"/>
              <a:gd name="connsiteX34" fmla="*/ 9730055 w 9756600"/>
              <a:gd name="connsiteY34" fmla="*/ 734508 h 743010"/>
              <a:gd name="connsiteX35" fmla="*/ 9725529 w 9756600"/>
              <a:gd name="connsiteY35" fmla="*/ 734508 h 743010"/>
              <a:gd name="connsiteX36" fmla="*/ 9718671 w 9756600"/>
              <a:gd name="connsiteY36" fmla="*/ 735843 h 743010"/>
              <a:gd name="connsiteX37" fmla="*/ 9699807 w 9756600"/>
              <a:gd name="connsiteY37" fmla="*/ 741840 h 743010"/>
              <a:gd name="connsiteX38" fmla="*/ 9544314 w 9756600"/>
              <a:gd name="connsiteY38" fmla="*/ 743007 h 743010"/>
              <a:gd name="connsiteX39" fmla="*/ 9010236 w 9756600"/>
              <a:gd name="connsiteY39" fmla="*/ 741235 h 743010"/>
              <a:gd name="connsiteX40" fmla="*/ 8873667 w 9756600"/>
              <a:gd name="connsiteY40" fmla="*/ 740492 h 743010"/>
              <a:gd name="connsiteX41" fmla="*/ 8869429 w 9756600"/>
              <a:gd name="connsiteY41" fmla="*/ 741840 h 743010"/>
              <a:gd name="connsiteX42" fmla="*/ 8713936 w 9756600"/>
              <a:gd name="connsiteY42" fmla="*/ 743007 h 743010"/>
              <a:gd name="connsiteX43" fmla="*/ 8378142 w 9756600"/>
              <a:gd name="connsiteY43" fmla="*/ 742167 h 743010"/>
              <a:gd name="connsiteX44" fmla="*/ 8202497 w 9756600"/>
              <a:gd name="connsiteY44" fmla="*/ 741276 h 743010"/>
              <a:gd name="connsiteX45" fmla="*/ 8197613 w 9756600"/>
              <a:gd name="connsiteY45" fmla="*/ 741840 h 743010"/>
              <a:gd name="connsiteX46" fmla="*/ 7769329 w 9756600"/>
              <a:gd name="connsiteY46" fmla="*/ 743007 h 743010"/>
              <a:gd name="connsiteX47" fmla="*/ 6298289 w 9756600"/>
              <a:gd name="connsiteY47" fmla="*/ 741235 h 743010"/>
              <a:gd name="connsiteX48" fmla="*/ 5922130 w 9756600"/>
              <a:gd name="connsiteY48" fmla="*/ 740492 h 743010"/>
              <a:gd name="connsiteX49" fmla="*/ 5910456 w 9756600"/>
              <a:gd name="connsiteY49" fmla="*/ 741840 h 743010"/>
              <a:gd name="connsiteX50" fmla="*/ 5482173 w 9756600"/>
              <a:gd name="connsiteY50" fmla="*/ 743007 h 743010"/>
              <a:gd name="connsiteX51" fmla="*/ 2527539 w 9756600"/>
              <a:gd name="connsiteY51" fmla="*/ 738110 h 743010"/>
              <a:gd name="connsiteX52" fmla="*/ 2291960 w 9756600"/>
              <a:gd name="connsiteY52" fmla="*/ 737590 h 743010"/>
              <a:gd name="connsiteX53" fmla="*/ 2278590 w 9756600"/>
              <a:gd name="connsiteY53" fmla="*/ 741840 h 743010"/>
              <a:gd name="connsiteX54" fmla="*/ 2123097 w 9756600"/>
              <a:gd name="connsiteY54" fmla="*/ 743007 h 743010"/>
              <a:gd name="connsiteX55" fmla="*/ 1589019 w 9756600"/>
              <a:gd name="connsiteY55" fmla="*/ 741235 h 743010"/>
              <a:gd name="connsiteX56" fmla="*/ 1452450 w 9756600"/>
              <a:gd name="connsiteY56" fmla="*/ 740492 h 743010"/>
              <a:gd name="connsiteX57" fmla="*/ 1448212 w 9756600"/>
              <a:gd name="connsiteY57" fmla="*/ 741840 h 743010"/>
              <a:gd name="connsiteX58" fmla="*/ 1292719 w 9756600"/>
              <a:gd name="connsiteY58" fmla="*/ 743007 h 743010"/>
              <a:gd name="connsiteX59" fmla="*/ 55902 w 9756600"/>
              <a:gd name="connsiteY59" fmla="*/ 737175 h 743010"/>
              <a:gd name="connsiteX60" fmla="*/ 29632 w 9756600"/>
              <a:gd name="connsiteY60" fmla="*/ 731174 h 743010"/>
              <a:gd name="connsiteX61" fmla="*/ 9055 w 9756600"/>
              <a:gd name="connsiteY61" fmla="*/ 703513 h 743010"/>
              <a:gd name="connsiteX62" fmla="*/ 6928 w 9756600"/>
              <a:gd name="connsiteY62" fmla="*/ 628021 h 743010"/>
              <a:gd name="connsiteX63" fmla="*/ 5899 w 9756600"/>
              <a:gd name="connsiteY63" fmla="*/ 508540 h 743010"/>
              <a:gd name="connsiteX64" fmla="*/ 4870 w 9756600"/>
              <a:gd name="connsiteY64" fmla="*/ 445382 h 743010"/>
              <a:gd name="connsiteX65" fmla="*/ 5158 w 9756600"/>
              <a:gd name="connsiteY65" fmla="*/ 408480 h 743010"/>
              <a:gd name="connsiteX66" fmla="*/ 3395 w 9756600"/>
              <a:gd name="connsiteY66" fmla="*/ 368639 h 743010"/>
              <a:gd name="connsiteX67" fmla="*/ 274 w 9756600"/>
              <a:gd name="connsiteY67" fmla="*/ 284297 h 743010"/>
              <a:gd name="connsiteX68" fmla="*/ 274 w 9756600"/>
              <a:gd name="connsiteY68" fmla="*/ 227471 h 743010"/>
              <a:gd name="connsiteX69" fmla="*/ 274 w 9756600"/>
              <a:gd name="connsiteY69" fmla="*/ 138984 h 743010"/>
              <a:gd name="connsiteX70" fmla="*/ 1920 w 9756600"/>
              <a:gd name="connsiteY70" fmla="*/ 29165 h 743010"/>
              <a:gd name="connsiteX71" fmla="*/ 19684 w 9756600"/>
              <a:gd name="connsiteY71" fmla="*/ 8502 h 743010"/>
              <a:gd name="connsiteX72" fmla="*/ 26544 w 9756600"/>
              <a:gd name="connsiteY72" fmla="*/ 8502 h 743010"/>
              <a:gd name="connsiteX73" fmla="*/ 31071 w 9756600"/>
              <a:gd name="connsiteY73" fmla="*/ 8502 h 743010"/>
              <a:gd name="connsiteX74" fmla="*/ 37930 w 9756600"/>
              <a:gd name="connsiteY74" fmla="*/ 7167 h 743010"/>
              <a:gd name="connsiteX75" fmla="*/ 56793 w 9756600"/>
              <a:gd name="connsiteY75" fmla="*/ 1169 h 743010"/>
              <a:gd name="connsiteX76" fmla="*/ 212287 w 9756600"/>
              <a:gd name="connsiteY76" fmla="*/ 3 h 74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9756600" h="743010">
                <a:moveTo>
                  <a:pt x="212287" y="3"/>
                </a:moveTo>
                <a:cubicBezTo>
                  <a:pt x="345111" y="-61"/>
                  <a:pt x="545358" y="744"/>
                  <a:pt x="746364" y="1774"/>
                </a:cubicBezTo>
                <a:lnTo>
                  <a:pt x="882932" y="2517"/>
                </a:lnTo>
                <a:lnTo>
                  <a:pt x="887171" y="1169"/>
                </a:lnTo>
                <a:cubicBezTo>
                  <a:pt x="897596" y="3"/>
                  <a:pt x="955624" y="3"/>
                  <a:pt x="1042665" y="3"/>
                </a:cubicBezTo>
                <a:cubicBezTo>
                  <a:pt x="1219764" y="-81"/>
                  <a:pt x="1516725" y="1377"/>
                  <a:pt x="1775533" y="2856"/>
                </a:cubicBezTo>
                <a:lnTo>
                  <a:pt x="2049129" y="4501"/>
                </a:lnTo>
                <a:lnTo>
                  <a:pt x="2077993" y="1169"/>
                </a:lnTo>
                <a:cubicBezTo>
                  <a:pt x="2106707" y="3"/>
                  <a:pt x="2266537" y="3"/>
                  <a:pt x="2506278" y="3"/>
                </a:cubicBezTo>
                <a:cubicBezTo>
                  <a:pt x="2872124" y="-61"/>
                  <a:pt x="3423674" y="744"/>
                  <a:pt x="3977317" y="1774"/>
                </a:cubicBezTo>
                <a:lnTo>
                  <a:pt x="4353475" y="2517"/>
                </a:lnTo>
                <a:lnTo>
                  <a:pt x="4365150" y="1169"/>
                </a:lnTo>
                <a:cubicBezTo>
                  <a:pt x="4393864" y="3"/>
                  <a:pt x="4553694" y="3"/>
                  <a:pt x="4793434" y="3"/>
                </a:cubicBezTo>
                <a:cubicBezTo>
                  <a:pt x="5403178" y="-103"/>
                  <a:pt x="6528768" y="2202"/>
                  <a:pt x="7320146" y="3945"/>
                </a:cubicBezTo>
                <a:lnTo>
                  <a:pt x="7468241" y="4275"/>
                </a:lnTo>
                <a:lnTo>
                  <a:pt x="7478010" y="1169"/>
                </a:lnTo>
                <a:cubicBezTo>
                  <a:pt x="7488435" y="3"/>
                  <a:pt x="7546463" y="3"/>
                  <a:pt x="7633504" y="3"/>
                </a:cubicBezTo>
                <a:cubicBezTo>
                  <a:pt x="7766328" y="-61"/>
                  <a:pt x="7966575" y="744"/>
                  <a:pt x="8167581" y="1774"/>
                </a:cubicBezTo>
                <a:lnTo>
                  <a:pt x="8304149" y="2517"/>
                </a:lnTo>
                <a:lnTo>
                  <a:pt x="8308388" y="1169"/>
                </a:lnTo>
                <a:cubicBezTo>
                  <a:pt x="8318813" y="3"/>
                  <a:pt x="8376841" y="3"/>
                  <a:pt x="8463881" y="3"/>
                </a:cubicBezTo>
                <a:cubicBezTo>
                  <a:pt x="8818080" y="-166"/>
                  <a:pt x="9651726" y="5835"/>
                  <a:pt x="9700698" y="5835"/>
                </a:cubicBezTo>
                <a:cubicBezTo>
                  <a:pt x="9709517" y="5574"/>
                  <a:pt x="9718323" y="7588"/>
                  <a:pt x="9726968" y="11836"/>
                </a:cubicBezTo>
                <a:cubicBezTo>
                  <a:pt x="9738423" y="17333"/>
                  <a:pt x="9743773" y="12167"/>
                  <a:pt x="9747545" y="39497"/>
                </a:cubicBezTo>
                <a:cubicBezTo>
                  <a:pt x="9750701" y="62327"/>
                  <a:pt x="9749191" y="86157"/>
                  <a:pt x="9749672" y="114988"/>
                </a:cubicBezTo>
                <a:cubicBezTo>
                  <a:pt x="9750701" y="180811"/>
                  <a:pt x="9750701" y="156149"/>
                  <a:pt x="9750701" y="234470"/>
                </a:cubicBezTo>
                <a:lnTo>
                  <a:pt x="9751730" y="297628"/>
                </a:lnTo>
                <a:lnTo>
                  <a:pt x="9751442" y="334530"/>
                </a:lnTo>
                <a:lnTo>
                  <a:pt x="9753205" y="374371"/>
                </a:lnTo>
                <a:cubicBezTo>
                  <a:pt x="9755126" y="402388"/>
                  <a:pt x="9756943" y="430383"/>
                  <a:pt x="9756326" y="458712"/>
                </a:cubicBezTo>
                <a:cubicBezTo>
                  <a:pt x="9755091" y="500207"/>
                  <a:pt x="9756805" y="473878"/>
                  <a:pt x="9756326" y="515538"/>
                </a:cubicBezTo>
                <a:cubicBezTo>
                  <a:pt x="9756326" y="544866"/>
                  <a:pt x="9756943" y="574698"/>
                  <a:pt x="9756326" y="604026"/>
                </a:cubicBezTo>
                <a:cubicBezTo>
                  <a:pt x="9756607" y="640677"/>
                  <a:pt x="9756059" y="677341"/>
                  <a:pt x="9754679" y="713845"/>
                </a:cubicBezTo>
                <a:cubicBezTo>
                  <a:pt x="9753719" y="729677"/>
                  <a:pt x="9743775" y="732175"/>
                  <a:pt x="9736916" y="734508"/>
                </a:cubicBezTo>
                <a:lnTo>
                  <a:pt x="9730055" y="734508"/>
                </a:lnTo>
                <a:lnTo>
                  <a:pt x="9725529" y="734508"/>
                </a:lnTo>
                <a:cubicBezTo>
                  <a:pt x="9723231" y="734440"/>
                  <a:pt x="9720933" y="734885"/>
                  <a:pt x="9718671" y="735843"/>
                </a:cubicBezTo>
                <a:cubicBezTo>
                  <a:pt x="9712436" y="738753"/>
                  <a:pt x="9706139" y="740754"/>
                  <a:pt x="9699807" y="741840"/>
                </a:cubicBezTo>
                <a:cubicBezTo>
                  <a:pt x="9689382" y="743007"/>
                  <a:pt x="9631354" y="743007"/>
                  <a:pt x="9544314" y="743007"/>
                </a:cubicBezTo>
                <a:cubicBezTo>
                  <a:pt x="9411489" y="743070"/>
                  <a:pt x="9211243" y="742266"/>
                  <a:pt x="9010236" y="741235"/>
                </a:cubicBezTo>
                <a:lnTo>
                  <a:pt x="8873667" y="740492"/>
                </a:lnTo>
                <a:lnTo>
                  <a:pt x="8869429" y="741840"/>
                </a:lnTo>
                <a:cubicBezTo>
                  <a:pt x="8859004" y="743007"/>
                  <a:pt x="8800976" y="743007"/>
                  <a:pt x="8713936" y="743007"/>
                </a:cubicBezTo>
                <a:cubicBezTo>
                  <a:pt x="8625386" y="743049"/>
                  <a:pt x="8506871" y="742706"/>
                  <a:pt x="8378142" y="742167"/>
                </a:cubicBezTo>
                <a:lnTo>
                  <a:pt x="8202497" y="741276"/>
                </a:lnTo>
                <a:lnTo>
                  <a:pt x="8197613" y="741840"/>
                </a:lnTo>
                <a:cubicBezTo>
                  <a:pt x="8168899" y="743007"/>
                  <a:pt x="8009069" y="743007"/>
                  <a:pt x="7769329" y="743007"/>
                </a:cubicBezTo>
                <a:cubicBezTo>
                  <a:pt x="7403483" y="743070"/>
                  <a:pt x="6851933" y="742266"/>
                  <a:pt x="6298289" y="741235"/>
                </a:cubicBezTo>
                <a:lnTo>
                  <a:pt x="5922130" y="740492"/>
                </a:lnTo>
                <a:lnTo>
                  <a:pt x="5910456" y="741840"/>
                </a:lnTo>
                <a:cubicBezTo>
                  <a:pt x="5881743" y="743007"/>
                  <a:pt x="5721913" y="743007"/>
                  <a:pt x="5482173" y="743007"/>
                </a:cubicBezTo>
                <a:cubicBezTo>
                  <a:pt x="4750481" y="743133"/>
                  <a:pt x="3275969" y="739790"/>
                  <a:pt x="2527539" y="738110"/>
                </a:cubicBezTo>
                <a:lnTo>
                  <a:pt x="2291960" y="737590"/>
                </a:lnTo>
                <a:lnTo>
                  <a:pt x="2278590" y="741840"/>
                </a:lnTo>
                <a:cubicBezTo>
                  <a:pt x="2268165" y="743007"/>
                  <a:pt x="2210137" y="743007"/>
                  <a:pt x="2123097" y="743007"/>
                </a:cubicBezTo>
                <a:cubicBezTo>
                  <a:pt x="1990273" y="743070"/>
                  <a:pt x="1790026" y="742266"/>
                  <a:pt x="1589019" y="741235"/>
                </a:cubicBezTo>
                <a:lnTo>
                  <a:pt x="1452450" y="740492"/>
                </a:lnTo>
                <a:lnTo>
                  <a:pt x="1448212" y="741840"/>
                </a:lnTo>
                <a:cubicBezTo>
                  <a:pt x="1437787" y="743007"/>
                  <a:pt x="1379759" y="743007"/>
                  <a:pt x="1292719" y="743007"/>
                </a:cubicBezTo>
                <a:cubicBezTo>
                  <a:pt x="938520" y="743175"/>
                  <a:pt x="104874" y="737175"/>
                  <a:pt x="55902" y="737175"/>
                </a:cubicBezTo>
                <a:cubicBezTo>
                  <a:pt x="47083" y="737435"/>
                  <a:pt x="38277" y="735422"/>
                  <a:pt x="29632" y="731174"/>
                </a:cubicBezTo>
                <a:cubicBezTo>
                  <a:pt x="18177" y="725677"/>
                  <a:pt x="12827" y="730843"/>
                  <a:pt x="9055" y="703513"/>
                </a:cubicBezTo>
                <a:cubicBezTo>
                  <a:pt x="5899" y="680683"/>
                  <a:pt x="7408" y="656852"/>
                  <a:pt x="6928" y="628021"/>
                </a:cubicBezTo>
                <a:cubicBezTo>
                  <a:pt x="5899" y="562199"/>
                  <a:pt x="5899" y="586862"/>
                  <a:pt x="5899" y="508540"/>
                </a:cubicBezTo>
                <a:lnTo>
                  <a:pt x="4870" y="445382"/>
                </a:lnTo>
                <a:lnTo>
                  <a:pt x="5158" y="408480"/>
                </a:lnTo>
                <a:lnTo>
                  <a:pt x="3395" y="368639"/>
                </a:lnTo>
                <a:cubicBezTo>
                  <a:pt x="1474" y="340622"/>
                  <a:pt x="-343" y="312626"/>
                  <a:pt x="274" y="284297"/>
                </a:cubicBezTo>
                <a:cubicBezTo>
                  <a:pt x="1509" y="242803"/>
                  <a:pt x="-206" y="269132"/>
                  <a:pt x="274" y="227471"/>
                </a:cubicBezTo>
                <a:cubicBezTo>
                  <a:pt x="274" y="198143"/>
                  <a:pt x="-343" y="168312"/>
                  <a:pt x="274" y="138984"/>
                </a:cubicBezTo>
                <a:cubicBezTo>
                  <a:pt x="-7" y="102333"/>
                  <a:pt x="541" y="65669"/>
                  <a:pt x="1920" y="29165"/>
                </a:cubicBezTo>
                <a:cubicBezTo>
                  <a:pt x="2881" y="13333"/>
                  <a:pt x="12826" y="10835"/>
                  <a:pt x="19684" y="8502"/>
                </a:cubicBezTo>
                <a:lnTo>
                  <a:pt x="26544" y="8502"/>
                </a:lnTo>
                <a:lnTo>
                  <a:pt x="31071" y="8502"/>
                </a:lnTo>
                <a:cubicBezTo>
                  <a:pt x="33369" y="8570"/>
                  <a:pt x="35667" y="8124"/>
                  <a:pt x="37930" y="7167"/>
                </a:cubicBezTo>
                <a:cubicBezTo>
                  <a:pt x="44164" y="4257"/>
                  <a:pt x="50461" y="2256"/>
                  <a:pt x="56793" y="1169"/>
                </a:cubicBezTo>
                <a:cubicBezTo>
                  <a:pt x="67218" y="3"/>
                  <a:pt x="125246" y="3"/>
                  <a:pt x="212287" y="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393" cap="flat">
            <a:noFill/>
            <a:prstDash val="solid"/>
            <a:miter/>
          </a:ln>
        </p:spPr>
        <p:txBody>
          <a:bodyPr vert="horz" wrap="square" lIns="457200" tIns="0" rIns="274320" bIns="36000" rtlCol="0" anchor="ctr">
            <a:noAutofit/>
          </a:bodyPr>
          <a:lstStyle/>
          <a:p>
            <a:pPr fontAlgn="base">
              <a:defRPr/>
            </a:pPr>
            <a:r>
              <a:rPr lang="en-US" sz="2800" dirty="0">
                <a:solidFill>
                  <a:srgbClr val="666666"/>
                </a:solidFill>
                <a:latin typeface="Calibri" panose="020F0502020204030204" pitchFamily="34" charset="0"/>
              </a:rPr>
              <a:t>Instead of focusing on eComm expertise only, hire or develop internal talents with </a:t>
            </a:r>
            <a:r>
              <a:rPr lang="en-US" sz="2800" b="1" dirty="0">
                <a:solidFill>
                  <a:srgbClr val="666666"/>
                </a:solidFill>
                <a:latin typeface="Calibri" panose="020F0502020204030204" pitchFamily="34" charset="0"/>
              </a:rPr>
              <a:t>growth</a:t>
            </a:r>
            <a:r>
              <a:rPr lang="en-US" sz="2800" dirty="0">
                <a:solidFill>
                  <a:srgbClr val="666666"/>
                </a:solidFill>
                <a:latin typeface="Calibri" panose="020F0502020204030204" pitchFamily="34" charset="0"/>
              </a:rPr>
              <a:t> </a:t>
            </a:r>
            <a:r>
              <a:rPr lang="en-US" sz="2800" b="1" dirty="0">
                <a:solidFill>
                  <a:srgbClr val="666666"/>
                </a:solidFill>
                <a:latin typeface="Calibri" panose="020F0502020204030204" pitchFamily="34" charset="0"/>
              </a:rPr>
              <a:t>mindset</a:t>
            </a:r>
            <a:r>
              <a:rPr lang="en-US" sz="2800" dirty="0">
                <a:solidFill>
                  <a:srgbClr val="666666"/>
                </a:solidFill>
                <a:latin typeface="Calibri" panose="020F0502020204030204" pitchFamily="34" charset="0"/>
              </a:rPr>
              <a:t> and other </a:t>
            </a:r>
            <a:r>
              <a:rPr lang="en-US" sz="2800" b="1" dirty="0">
                <a:solidFill>
                  <a:srgbClr val="666666"/>
                </a:solidFill>
                <a:latin typeface="Calibri" panose="020F0502020204030204" pitchFamily="34" charset="0"/>
              </a:rPr>
              <a:t>critical</a:t>
            </a:r>
            <a:r>
              <a:rPr lang="en-US" sz="2800" dirty="0">
                <a:solidFill>
                  <a:srgbClr val="666666"/>
                </a:solidFill>
                <a:latin typeface="Calibri" panose="020F0502020204030204" pitchFamily="34" charset="0"/>
              </a:rPr>
              <a:t> </a:t>
            </a:r>
            <a:r>
              <a:rPr lang="en-US" sz="2800" b="1" dirty="0">
                <a:solidFill>
                  <a:srgbClr val="666666"/>
                </a:solidFill>
                <a:latin typeface="Calibri" panose="020F0502020204030204" pitchFamily="34" charset="0"/>
              </a:rPr>
              <a:t>skills</a:t>
            </a:r>
            <a:r>
              <a:rPr lang="en-US" sz="2800" dirty="0">
                <a:solidFill>
                  <a:srgbClr val="666666"/>
                </a:solidFill>
                <a:latin typeface="Calibri" panose="020F0502020204030204" pitchFamily="34" charset="0"/>
              </a:rPr>
              <a:t>.</a:t>
            </a:r>
          </a:p>
        </p:txBody>
      </p:sp>
      <p:sp>
        <p:nvSpPr>
          <p:cNvPr id="18" name="Graphic 112">
            <a:extLst>
              <a:ext uri="{FF2B5EF4-FFF2-40B4-BE49-F238E27FC236}">
                <a16:creationId xmlns:a16="http://schemas.microsoft.com/office/drawing/2014/main" id="{8770A2BB-DF99-4F19-AF04-472C33F63CB6}"/>
              </a:ext>
            </a:extLst>
          </p:cNvPr>
          <p:cNvSpPr/>
          <p:nvPr/>
        </p:nvSpPr>
        <p:spPr>
          <a:xfrm>
            <a:off x="398981" y="3048226"/>
            <a:ext cx="932021" cy="1203566"/>
          </a:xfrm>
          <a:custGeom>
            <a:avLst/>
            <a:gdLst>
              <a:gd name="connsiteX0" fmla="*/ 14007 w 461486"/>
              <a:gd name="connsiteY0" fmla="*/ 9284 h 401764"/>
              <a:gd name="connsiteX1" fmla="*/ 67160 w 461486"/>
              <a:gd name="connsiteY1" fmla="*/ 1466 h 401764"/>
              <a:gd name="connsiteX2" fmla="*/ 128402 w 461486"/>
              <a:gd name="connsiteY2" fmla="*/ 0 h 401764"/>
              <a:gd name="connsiteX3" fmla="*/ 223251 w 461486"/>
              <a:gd name="connsiteY3" fmla="*/ 4289 h 401764"/>
              <a:gd name="connsiteX4" fmla="*/ 266033 w 461486"/>
              <a:gd name="connsiteY4" fmla="*/ 5429 h 401764"/>
              <a:gd name="connsiteX5" fmla="*/ 304798 w 461486"/>
              <a:gd name="connsiteY5" fmla="*/ 12379 h 401764"/>
              <a:gd name="connsiteX6" fmla="*/ 328741 w 461486"/>
              <a:gd name="connsiteY6" fmla="*/ 32575 h 401764"/>
              <a:gd name="connsiteX7" fmla="*/ 445850 w 461486"/>
              <a:gd name="connsiteY7" fmla="*/ 162497 h 401764"/>
              <a:gd name="connsiteX8" fmla="*/ 464092 w 461486"/>
              <a:gd name="connsiteY8" fmla="*/ 198059 h 401764"/>
              <a:gd name="connsiteX9" fmla="*/ 456980 w 461486"/>
              <a:gd name="connsiteY9" fmla="*/ 219776 h 401764"/>
              <a:gd name="connsiteX10" fmla="*/ 366637 w 461486"/>
              <a:gd name="connsiteY10" fmla="*/ 332161 h 401764"/>
              <a:gd name="connsiteX11" fmla="*/ 317774 w 461486"/>
              <a:gd name="connsiteY11" fmla="*/ 382164 h 401764"/>
              <a:gd name="connsiteX12" fmla="*/ 306210 w 461486"/>
              <a:gd name="connsiteY12" fmla="*/ 392534 h 401764"/>
              <a:gd name="connsiteX13" fmla="*/ 247031 w 461486"/>
              <a:gd name="connsiteY13" fmla="*/ 401330 h 401764"/>
              <a:gd name="connsiteX14" fmla="*/ 177048 w 461486"/>
              <a:gd name="connsiteY14" fmla="*/ 400570 h 401764"/>
              <a:gd name="connsiteX15" fmla="*/ 99084 w 461486"/>
              <a:gd name="connsiteY15" fmla="*/ 398506 h 401764"/>
              <a:gd name="connsiteX16" fmla="*/ 24812 w 461486"/>
              <a:gd name="connsiteY16" fmla="*/ 387648 h 401764"/>
              <a:gd name="connsiteX17" fmla="*/ 18025 w 461486"/>
              <a:gd name="connsiteY17" fmla="*/ 385748 h 401764"/>
              <a:gd name="connsiteX18" fmla="*/ 13899 w 461486"/>
              <a:gd name="connsiteY18" fmla="*/ 378690 h 401764"/>
              <a:gd name="connsiteX19" fmla="*/ 4561 w 461486"/>
              <a:gd name="connsiteY19" fmla="*/ 339545 h 401764"/>
              <a:gd name="connsiteX20" fmla="*/ 3800 w 461486"/>
              <a:gd name="connsiteY20" fmla="*/ 295242 h 401764"/>
              <a:gd name="connsiteX21" fmla="*/ 0 w 461486"/>
              <a:gd name="connsiteY21" fmla="*/ 249745 h 401764"/>
              <a:gd name="connsiteX22" fmla="*/ 1846 w 461486"/>
              <a:gd name="connsiteY22" fmla="*/ 219450 h 401764"/>
              <a:gd name="connsiteX23" fmla="*/ 1520 w 461486"/>
              <a:gd name="connsiteY23" fmla="*/ 183454 h 401764"/>
              <a:gd name="connsiteX24" fmla="*/ 869 w 461486"/>
              <a:gd name="connsiteY24" fmla="*/ 96586 h 401764"/>
              <a:gd name="connsiteX25" fmla="*/ 5538 w 461486"/>
              <a:gd name="connsiteY25" fmla="*/ 47289 h 401764"/>
              <a:gd name="connsiteX26" fmla="*/ 14007 w 461486"/>
              <a:gd name="connsiteY26" fmla="*/ 9284 h 401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61486" h="401764">
                <a:moveTo>
                  <a:pt x="14007" y="9284"/>
                </a:moveTo>
                <a:cubicBezTo>
                  <a:pt x="26820" y="0"/>
                  <a:pt x="52012" y="2335"/>
                  <a:pt x="67160" y="1466"/>
                </a:cubicBezTo>
                <a:cubicBezTo>
                  <a:pt x="87519" y="0"/>
                  <a:pt x="107988" y="0"/>
                  <a:pt x="128402" y="0"/>
                </a:cubicBezTo>
                <a:cubicBezTo>
                  <a:pt x="160054" y="380"/>
                  <a:pt x="191652" y="2117"/>
                  <a:pt x="223251" y="4289"/>
                </a:cubicBezTo>
                <a:cubicBezTo>
                  <a:pt x="237747" y="5429"/>
                  <a:pt x="251591" y="5429"/>
                  <a:pt x="266033" y="5429"/>
                </a:cubicBezTo>
                <a:cubicBezTo>
                  <a:pt x="279329" y="4539"/>
                  <a:pt x="292640" y="6926"/>
                  <a:pt x="304798" y="12379"/>
                </a:cubicBezTo>
                <a:cubicBezTo>
                  <a:pt x="313830" y="17756"/>
                  <a:pt x="321918" y="24579"/>
                  <a:pt x="328741" y="32575"/>
                </a:cubicBezTo>
                <a:cubicBezTo>
                  <a:pt x="368338" y="75466"/>
                  <a:pt x="407374" y="118774"/>
                  <a:pt x="445850" y="162497"/>
                </a:cubicBezTo>
                <a:cubicBezTo>
                  <a:pt x="454862" y="172759"/>
                  <a:pt x="464418" y="184214"/>
                  <a:pt x="464092" y="198059"/>
                </a:cubicBezTo>
                <a:cubicBezTo>
                  <a:pt x="463427" y="205749"/>
                  <a:pt x="460993" y="213182"/>
                  <a:pt x="456980" y="219776"/>
                </a:cubicBezTo>
                <a:cubicBezTo>
                  <a:pt x="434340" y="262558"/>
                  <a:pt x="400298" y="297685"/>
                  <a:pt x="366637" y="332161"/>
                </a:cubicBezTo>
                <a:lnTo>
                  <a:pt x="317774" y="382164"/>
                </a:lnTo>
                <a:cubicBezTo>
                  <a:pt x="314287" y="386011"/>
                  <a:pt x="310412" y="389486"/>
                  <a:pt x="306210" y="392534"/>
                </a:cubicBezTo>
                <a:cubicBezTo>
                  <a:pt x="288402" y="404533"/>
                  <a:pt x="267282" y="402307"/>
                  <a:pt x="247031" y="401330"/>
                </a:cubicBezTo>
                <a:cubicBezTo>
                  <a:pt x="223685" y="400244"/>
                  <a:pt x="200339" y="400515"/>
                  <a:pt x="177048" y="400570"/>
                </a:cubicBezTo>
                <a:cubicBezTo>
                  <a:pt x="151042" y="400570"/>
                  <a:pt x="124981" y="400570"/>
                  <a:pt x="99084" y="398506"/>
                </a:cubicBezTo>
                <a:cubicBezTo>
                  <a:pt x="74001" y="396389"/>
                  <a:pt x="49678" y="390091"/>
                  <a:pt x="24812" y="387648"/>
                </a:cubicBezTo>
                <a:cubicBezTo>
                  <a:pt x="22419" y="387644"/>
                  <a:pt x="20072" y="386987"/>
                  <a:pt x="18025" y="385748"/>
                </a:cubicBezTo>
                <a:cubicBezTo>
                  <a:pt x="15946" y="383884"/>
                  <a:pt x="14503" y="381416"/>
                  <a:pt x="13899" y="378690"/>
                </a:cubicBezTo>
                <a:cubicBezTo>
                  <a:pt x="8938" y="366153"/>
                  <a:pt x="5793" y="352971"/>
                  <a:pt x="4561" y="339545"/>
                </a:cubicBezTo>
                <a:cubicBezTo>
                  <a:pt x="4018" y="325266"/>
                  <a:pt x="4561" y="309956"/>
                  <a:pt x="3800" y="295242"/>
                </a:cubicBezTo>
                <a:cubicBezTo>
                  <a:pt x="3040" y="280529"/>
                  <a:pt x="0" y="264838"/>
                  <a:pt x="0" y="249745"/>
                </a:cubicBezTo>
                <a:cubicBezTo>
                  <a:pt x="0" y="239430"/>
                  <a:pt x="2117" y="229766"/>
                  <a:pt x="1846" y="219450"/>
                </a:cubicBezTo>
                <a:cubicBezTo>
                  <a:pt x="1520" y="207397"/>
                  <a:pt x="1412" y="195453"/>
                  <a:pt x="1520" y="183454"/>
                </a:cubicBezTo>
                <a:cubicBezTo>
                  <a:pt x="1520" y="154842"/>
                  <a:pt x="-1249" y="125090"/>
                  <a:pt x="869" y="96586"/>
                </a:cubicBezTo>
                <a:cubicBezTo>
                  <a:pt x="2063" y="80299"/>
                  <a:pt x="5212" y="64011"/>
                  <a:pt x="5538" y="47289"/>
                </a:cubicBezTo>
                <a:cubicBezTo>
                  <a:pt x="5809" y="34421"/>
                  <a:pt x="1574" y="17971"/>
                  <a:pt x="14007" y="9284"/>
                </a:cubicBezTo>
              </a:path>
            </a:pathLst>
          </a:custGeom>
          <a:solidFill>
            <a:srgbClr val="724D8D"/>
          </a:solidFill>
          <a:ln w="5379" cap="flat">
            <a:noFill/>
            <a:prstDash val="solid"/>
            <a:miter/>
          </a:ln>
        </p:spPr>
        <p:txBody>
          <a:bodyPr lIns="0" tIns="0" rIns="9144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DLZ BITE TYPE"/>
                <a:ea typeface="+mn-ea"/>
                <a:cs typeface="+mn-cs"/>
              </a:rPr>
              <a:t>2.</a:t>
            </a:r>
          </a:p>
        </p:txBody>
      </p:sp>
      <p:sp>
        <p:nvSpPr>
          <p:cNvPr id="19" name="Freeform 60">
            <a:extLst>
              <a:ext uri="{FF2B5EF4-FFF2-40B4-BE49-F238E27FC236}">
                <a16:creationId xmlns:a16="http://schemas.microsoft.com/office/drawing/2014/main" id="{BA59A178-8398-4BC7-A21B-C2D3F4933FA7}"/>
              </a:ext>
            </a:extLst>
          </p:cNvPr>
          <p:cNvSpPr/>
          <p:nvPr/>
        </p:nvSpPr>
        <p:spPr>
          <a:xfrm>
            <a:off x="1104362" y="4817889"/>
            <a:ext cx="10690371" cy="1284960"/>
          </a:xfrm>
          <a:custGeom>
            <a:avLst/>
            <a:gdLst>
              <a:gd name="connsiteX0" fmla="*/ 212287 w 9756600"/>
              <a:gd name="connsiteY0" fmla="*/ 3 h 743010"/>
              <a:gd name="connsiteX1" fmla="*/ 746364 w 9756600"/>
              <a:gd name="connsiteY1" fmla="*/ 1774 h 743010"/>
              <a:gd name="connsiteX2" fmla="*/ 882932 w 9756600"/>
              <a:gd name="connsiteY2" fmla="*/ 2517 h 743010"/>
              <a:gd name="connsiteX3" fmla="*/ 887171 w 9756600"/>
              <a:gd name="connsiteY3" fmla="*/ 1169 h 743010"/>
              <a:gd name="connsiteX4" fmla="*/ 1042665 w 9756600"/>
              <a:gd name="connsiteY4" fmla="*/ 3 h 743010"/>
              <a:gd name="connsiteX5" fmla="*/ 1775533 w 9756600"/>
              <a:gd name="connsiteY5" fmla="*/ 2856 h 743010"/>
              <a:gd name="connsiteX6" fmla="*/ 2049129 w 9756600"/>
              <a:gd name="connsiteY6" fmla="*/ 4501 h 743010"/>
              <a:gd name="connsiteX7" fmla="*/ 2077993 w 9756600"/>
              <a:gd name="connsiteY7" fmla="*/ 1169 h 743010"/>
              <a:gd name="connsiteX8" fmla="*/ 2506278 w 9756600"/>
              <a:gd name="connsiteY8" fmla="*/ 3 h 743010"/>
              <a:gd name="connsiteX9" fmla="*/ 3977317 w 9756600"/>
              <a:gd name="connsiteY9" fmla="*/ 1774 h 743010"/>
              <a:gd name="connsiteX10" fmla="*/ 4353475 w 9756600"/>
              <a:gd name="connsiteY10" fmla="*/ 2517 h 743010"/>
              <a:gd name="connsiteX11" fmla="*/ 4365150 w 9756600"/>
              <a:gd name="connsiteY11" fmla="*/ 1169 h 743010"/>
              <a:gd name="connsiteX12" fmla="*/ 4793434 w 9756600"/>
              <a:gd name="connsiteY12" fmla="*/ 3 h 743010"/>
              <a:gd name="connsiteX13" fmla="*/ 7320146 w 9756600"/>
              <a:gd name="connsiteY13" fmla="*/ 3945 h 743010"/>
              <a:gd name="connsiteX14" fmla="*/ 7468241 w 9756600"/>
              <a:gd name="connsiteY14" fmla="*/ 4275 h 743010"/>
              <a:gd name="connsiteX15" fmla="*/ 7478010 w 9756600"/>
              <a:gd name="connsiteY15" fmla="*/ 1169 h 743010"/>
              <a:gd name="connsiteX16" fmla="*/ 7633504 w 9756600"/>
              <a:gd name="connsiteY16" fmla="*/ 3 h 743010"/>
              <a:gd name="connsiteX17" fmla="*/ 8167581 w 9756600"/>
              <a:gd name="connsiteY17" fmla="*/ 1774 h 743010"/>
              <a:gd name="connsiteX18" fmla="*/ 8304149 w 9756600"/>
              <a:gd name="connsiteY18" fmla="*/ 2517 h 743010"/>
              <a:gd name="connsiteX19" fmla="*/ 8308388 w 9756600"/>
              <a:gd name="connsiteY19" fmla="*/ 1169 h 743010"/>
              <a:gd name="connsiteX20" fmla="*/ 8463881 w 9756600"/>
              <a:gd name="connsiteY20" fmla="*/ 3 h 743010"/>
              <a:gd name="connsiteX21" fmla="*/ 9700698 w 9756600"/>
              <a:gd name="connsiteY21" fmla="*/ 5835 h 743010"/>
              <a:gd name="connsiteX22" fmla="*/ 9726968 w 9756600"/>
              <a:gd name="connsiteY22" fmla="*/ 11836 h 743010"/>
              <a:gd name="connsiteX23" fmla="*/ 9747545 w 9756600"/>
              <a:gd name="connsiteY23" fmla="*/ 39497 h 743010"/>
              <a:gd name="connsiteX24" fmla="*/ 9749672 w 9756600"/>
              <a:gd name="connsiteY24" fmla="*/ 114988 h 743010"/>
              <a:gd name="connsiteX25" fmla="*/ 9750701 w 9756600"/>
              <a:gd name="connsiteY25" fmla="*/ 234470 h 743010"/>
              <a:gd name="connsiteX26" fmla="*/ 9751730 w 9756600"/>
              <a:gd name="connsiteY26" fmla="*/ 297628 h 743010"/>
              <a:gd name="connsiteX27" fmla="*/ 9751442 w 9756600"/>
              <a:gd name="connsiteY27" fmla="*/ 334530 h 743010"/>
              <a:gd name="connsiteX28" fmla="*/ 9753205 w 9756600"/>
              <a:gd name="connsiteY28" fmla="*/ 374371 h 743010"/>
              <a:gd name="connsiteX29" fmla="*/ 9756326 w 9756600"/>
              <a:gd name="connsiteY29" fmla="*/ 458712 h 743010"/>
              <a:gd name="connsiteX30" fmla="*/ 9756326 w 9756600"/>
              <a:gd name="connsiteY30" fmla="*/ 515538 h 743010"/>
              <a:gd name="connsiteX31" fmla="*/ 9756326 w 9756600"/>
              <a:gd name="connsiteY31" fmla="*/ 604026 h 743010"/>
              <a:gd name="connsiteX32" fmla="*/ 9754679 w 9756600"/>
              <a:gd name="connsiteY32" fmla="*/ 713845 h 743010"/>
              <a:gd name="connsiteX33" fmla="*/ 9736916 w 9756600"/>
              <a:gd name="connsiteY33" fmla="*/ 734508 h 743010"/>
              <a:gd name="connsiteX34" fmla="*/ 9730055 w 9756600"/>
              <a:gd name="connsiteY34" fmla="*/ 734508 h 743010"/>
              <a:gd name="connsiteX35" fmla="*/ 9725529 w 9756600"/>
              <a:gd name="connsiteY35" fmla="*/ 734508 h 743010"/>
              <a:gd name="connsiteX36" fmla="*/ 9718671 w 9756600"/>
              <a:gd name="connsiteY36" fmla="*/ 735843 h 743010"/>
              <a:gd name="connsiteX37" fmla="*/ 9699807 w 9756600"/>
              <a:gd name="connsiteY37" fmla="*/ 741840 h 743010"/>
              <a:gd name="connsiteX38" fmla="*/ 9544314 w 9756600"/>
              <a:gd name="connsiteY38" fmla="*/ 743007 h 743010"/>
              <a:gd name="connsiteX39" fmla="*/ 9010236 w 9756600"/>
              <a:gd name="connsiteY39" fmla="*/ 741235 h 743010"/>
              <a:gd name="connsiteX40" fmla="*/ 8873667 w 9756600"/>
              <a:gd name="connsiteY40" fmla="*/ 740492 h 743010"/>
              <a:gd name="connsiteX41" fmla="*/ 8869429 w 9756600"/>
              <a:gd name="connsiteY41" fmla="*/ 741840 h 743010"/>
              <a:gd name="connsiteX42" fmla="*/ 8713936 w 9756600"/>
              <a:gd name="connsiteY42" fmla="*/ 743007 h 743010"/>
              <a:gd name="connsiteX43" fmla="*/ 8378142 w 9756600"/>
              <a:gd name="connsiteY43" fmla="*/ 742167 h 743010"/>
              <a:gd name="connsiteX44" fmla="*/ 8202497 w 9756600"/>
              <a:gd name="connsiteY44" fmla="*/ 741276 h 743010"/>
              <a:gd name="connsiteX45" fmla="*/ 8197613 w 9756600"/>
              <a:gd name="connsiteY45" fmla="*/ 741840 h 743010"/>
              <a:gd name="connsiteX46" fmla="*/ 7769329 w 9756600"/>
              <a:gd name="connsiteY46" fmla="*/ 743007 h 743010"/>
              <a:gd name="connsiteX47" fmla="*/ 6298289 w 9756600"/>
              <a:gd name="connsiteY47" fmla="*/ 741235 h 743010"/>
              <a:gd name="connsiteX48" fmla="*/ 5922130 w 9756600"/>
              <a:gd name="connsiteY48" fmla="*/ 740492 h 743010"/>
              <a:gd name="connsiteX49" fmla="*/ 5910456 w 9756600"/>
              <a:gd name="connsiteY49" fmla="*/ 741840 h 743010"/>
              <a:gd name="connsiteX50" fmla="*/ 5482173 w 9756600"/>
              <a:gd name="connsiteY50" fmla="*/ 743007 h 743010"/>
              <a:gd name="connsiteX51" fmla="*/ 2527539 w 9756600"/>
              <a:gd name="connsiteY51" fmla="*/ 738110 h 743010"/>
              <a:gd name="connsiteX52" fmla="*/ 2291960 w 9756600"/>
              <a:gd name="connsiteY52" fmla="*/ 737590 h 743010"/>
              <a:gd name="connsiteX53" fmla="*/ 2278590 w 9756600"/>
              <a:gd name="connsiteY53" fmla="*/ 741840 h 743010"/>
              <a:gd name="connsiteX54" fmla="*/ 2123097 w 9756600"/>
              <a:gd name="connsiteY54" fmla="*/ 743007 h 743010"/>
              <a:gd name="connsiteX55" fmla="*/ 1589019 w 9756600"/>
              <a:gd name="connsiteY55" fmla="*/ 741235 h 743010"/>
              <a:gd name="connsiteX56" fmla="*/ 1452450 w 9756600"/>
              <a:gd name="connsiteY56" fmla="*/ 740492 h 743010"/>
              <a:gd name="connsiteX57" fmla="*/ 1448212 w 9756600"/>
              <a:gd name="connsiteY57" fmla="*/ 741840 h 743010"/>
              <a:gd name="connsiteX58" fmla="*/ 1292719 w 9756600"/>
              <a:gd name="connsiteY58" fmla="*/ 743007 h 743010"/>
              <a:gd name="connsiteX59" fmla="*/ 55902 w 9756600"/>
              <a:gd name="connsiteY59" fmla="*/ 737175 h 743010"/>
              <a:gd name="connsiteX60" fmla="*/ 29632 w 9756600"/>
              <a:gd name="connsiteY60" fmla="*/ 731174 h 743010"/>
              <a:gd name="connsiteX61" fmla="*/ 9055 w 9756600"/>
              <a:gd name="connsiteY61" fmla="*/ 703513 h 743010"/>
              <a:gd name="connsiteX62" fmla="*/ 6928 w 9756600"/>
              <a:gd name="connsiteY62" fmla="*/ 628021 h 743010"/>
              <a:gd name="connsiteX63" fmla="*/ 5899 w 9756600"/>
              <a:gd name="connsiteY63" fmla="*/ 508540 h 743010"/>
              <a:gd name="connsiteX64" fmla="*/ 4870 w 9756600"/>
              <a:gd name="connsiteY64" fmla="*/ 445382 h 743010"/>
              <a:gd name="connsiteX65" fmla="*/ 5158 w 9756600"/>
              <a:gd name="connsiteY65" fmla="*/ 408480 h 743010"/>
              <a:gd name="connsiteX66" fmla="*/ 3395 w 9756600"/>
              <a:gd name="connsiteY66" fmla="*/ 368639 h 743010"/>
              <a:gd name="connsiteX67" fmla="*/ 274 w 9756600"/>
              <a:gd name="connsiteY67" fmla="*/ 284297 h 743010"/>
              <a:gd name="connsiteX68" fmla="*/ 274 w 9756600"/>
              <a:gd name="connsiteY68" fmla="*/ 227471 h 743010"/>
              <a:gd name="connsiteX69" fmla="*/ 274 w 9756600"/>
              <a:gd name="connsiteY69" fmla="*/ 138984 h 743010"/>
              <a:gd name="connsiteX70" fmla="*/ 1920 w 9756600"/>
              <a:gd name="connsiteY70" fmla="*/ 29165 h 743010"/>
              <a:gd name="connsiteX71" fmla="*/ 19684 w 9756600"/>
              <a:gd name="connsiteY71" fmla="*/ 8502 h 743010"/>
              <a:gd name="connsiteX72" fmla="*/ 26544 w 9756600"/>
              <a:gd name="connsiteY72" fmla="*/ 8502 h 743010"/>
              <a:gd name="connsiteX73" fmla="*/ 31071 w 9756600"/>
              <a:gd name="connsiteY73" fmla="*/ 8502 h 743010"/>
              <a:gd name="connsiteX74" fmla="*/ 37930 w 9756600"/>
              <a:gd name="connsiteY74" fmla="*/ 7167 h 743010"/>
              <a:gd name="connsiteX75" fmla="*/ 56793 w 9756600"/>
              <a:gd name="connsiteY75" fmla="*/ 1169 h 743010"/>
              <a:gd name="connsiteX76" fmla="*/ 212287 w 9756600"/>
              <a:gd name="connsiteY76" fmla="*/ 3 h 74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9756600" h="743010">
                <a:moveTo>
                  <a:pt x="212287" y="3"/>
                </a:moveTo>
                <a:cubicBezTo>
                  <a:pt x="345111" y="-61"/>
                  <a:pt x="545358" y="744"/>
                  <a:pt x="746364" y="1774"/>
                </a:cubicBezTo>
                <a:lnTo>
                  <a:pt x="882932" y="2517"/>
                </a:lnTo>
                <a:lnTo>
                  <a:pt x="887171" y="1169"/>
                </a:lnTo>
                <a:cubicBezTo>
                  <a:pt x="897596" y="3"/>
                  <a:pt x="955624" y="3"/>
                  <a:pt x="1042665" y="3"/>
                </a:cubicBezTo>
                <a:cubicBezTo>
                  <a:pt x="1219764" y="-81"/>
                  <a:pt x="1516725" y="1377"/>
                  <a:pt x="1775533" y="2856"/>
                </a:cubicBezTo>
                <a:lnTo>
                  <a:pt x="2049129" y="4501"/>
                </a:lnTo>
                <a:lnTo>
                  <a:pt x="2077993" y="1169"/>
                </a:lnTo>
                <a:cubicBezTo>
                  <a:pt x="2106707" y="3"/>
                  <a:pt x="2266537" y="3"/>
                  <a:pt x="2506278" y="3"/>
                </a:cubicBezTo>
                <a:cubicBezTo>
                  <a:pt x="2872124" y="-61"/>
                  <a:pt x="3423674" y="744"/>
                  <a:pt x="3977317" y="1774"/>
                </a:cubicBezTo>
                <a:lnTo>
                  <a:pt x="4353475" y="2517"/>
                </a:lnTo>
                <a:lnTo>
                  <a:pt x="4365150" y="1169"/>
                </a:lnTo>
                <a:cubicBezTo>
                  <a:pt x="4393864" y="3"/>
                  <a:pt x="4553694" y="3"/>
                  <a:pt x="4793434" y="3"/>
                </a:cubicBezTo>
                <a:cubicBezTo>
                  <a:pt x="5403178" y="-103"/>
                  <a:pt x="6528768" y="2202"/>
                  <a:pt x="7320146" y="3945"/>
                </a:cubicBezTo>
                <a:lnTo>
                  <a:pt x="7468241" y="4275"/>
                </a:lnTo>
                <a:lnTo>
                  <a:pt x="7478010" y="1169"/>
                </a:lnTo>
                <a:cubicBezTo>
                  <a:pt x="7488435" y="3"/>
                  <a:pt x="7546463" y="3"/>
                  <a:pt x="7633504" y="3"/>
                </a:cubicBezTo>
                <a:cubicBezTo>
                  <a:pt x="7766328" y="-61"/>
                  <a:pt x="7966575" y="744"/>
                  <a:pt x="8167581" y="1774"/>
                </a:cubicBezTo>
                <a:lnTo>
                  <a:pt x="8304149" y="2517"/>
                </a:lnTo>
                <a:lnTo>
                  <a:pt x="8308388" y="1169"/>
                </a:lnTo>
                <a:cubicBezTo>
                  <a:pt x="8318813" y="3"/>
                  <a:pt x="8376841" y="3"/>
                  <a:pt x="8463881" y="3"/>
                </a:cubicBezTo>
                <a:cubicBezTo>
                  <a:pt x="8818080" y="-166"/>
                  <a:pt x="9651726" y="5835"/>
                  <a:pt x="9700698" y="5835"/>
                </a:cubicBezTo>
                <a:cubicBezTo>
                  <a:pt x="9709517" y="5574"/>
                  <a:pt x="9718323" y="7588"/>
                  <a:pt x="9726968" y="11836"/>
                </a:cubicBezTo>
                <a:cubicBezTo>
                  <a:pt x="9738423" y="17333"/>
                  <a:pt x="9743773" y="12167"/>
                  <a:pt x="9747545" y="39497"/>
                </a:cubicBezTo>
                <a:cubicBezTo>
                  <a:pt x="9750701" y="62327"/>
                  <a:pt x="9749191" y="86157"/>
                  <a:pt x="9749672" y="114988"/>
                </a:cubicBezTo>
                <a:cubicBezTo>
                  <a:pt x="9750701" y="180811"/>
                  <a:pt x="9750701" y="156149"/>
                  <a:pt x="9750701" y="234470"/>
                </a:cubicBezTo>
                <a:lnTo>
                  <a:pt x="9751730" y="297628"/>
                </a:lnTo>
                <a:lnTo>
                  <a:pt x="9751442" y="334530"/>
                </a:lnTo>
                <a:lnTo>
                  <a:pt x="9753205" y="374371"/>
                </a:lnTo>
                <a:cubicBezTo>
                  <a:pt x="9755126" y="402388"/>
                  <a:pt x="9756943" y="430383"/>
                  <a:pt x="9756326" y="458712"/>
                </a:cubicBezTo>
                <a:cubicBezTo>
                  <a:pt x="9755091" y="500207"/>
                  <a:pt x="9756805" y="473878"/>
                  <a:pt x="9756326" y="515538"/>
                </a:cubicBezTo>
                <a:cubicBezTo>
                  <a:pt x="9756326" y="544866"/>
                  <a:pt x="9756943" y="574698"/>
                  <a:pt x="9756326" y="604026"/>
                </a:cubicBezTo>
                <a:cubicBezTo>
                  <a:pt x="9756607" y="640677"/>
                  <a:pt x="9756059" y="677341"/>
                  <a:pt x="9754679" y="713845"/>
                </a:cubicBezTo>
                <a:cubicBezTo>
                  <a:pt x="9753719" y="729677"/>
                  <a:pt x="9743775" y="732175"/>
                  <a:pt x="9736916" y="734508"/>
                </a:cubicBezTo>
                <a:lnTo>
                  <a:pt x="9730055" y="734508"/>
                </a:lnTo>
                <a:lnTo>
                  <a:pt x="9725529" y="734508"/>
                </a:lnTo>
                <a:cubicBezTo>
                  <a:pt x="9723231" y="734440"/>
                  <a:pt x="9720933" y="734885"/>
                  <a:pt x="9718671" y="735843"/>
                </a:cubicBezTo>
                <a:cubicBezTo>
                  <a:pt x="9712436" y="738753"/>
                  <a:pt x="9706139" y="740754"/>
                  <a:pt x="9699807" y="741840"/>
                </a:cubicBezTo>
                <a:cubicBezTo>
                  <a:pt x="9689382" y="743007"/>
                  <a:pt x="9631354" y="743007"/>
                  <a:pt x="9544314" y="743007"/>
                </a:cubicBezTo>
                <a:cubicBezTo>
                  <a:pt x="9411489" y="743070"/>
                  <a:pt x="9211243" y="742266"/>
                  <a:pt x="9010236" y="741235"/>
                </a:cubicBezTo>
                <a:lnTo>
                  <a:pt x="8873667" y="740492"/>
                </a:lnTo>
                <a:lnTo>
                  <a:pt x="8869429" y="741840"/>
                </a:lnTo>
                <a:cubicBezTo>
                  <a:pt x="8859004" y="743007"/>
                  <a:pt x="8800976" y="743007"/>
                  <a:pt x="8713936" y="743007"/>
                </a:cubicBezTo>
                <a:cubicBezTo>
                  <a:pt x="8625386" y="743049"/>
                  <a:pt x="8506871" y="742706"/>
                  <a:pt x="8378142" y="742167"/>
                </a:cubicBezTo>
                <a:lnTo>
                  <a:pt x="8202497" y="741276"/>
                </a:lnTo>
                <a:lnTo>
                  <a:pt x="8197613" y="741840"/>
                </a:lnTo>
                <a:cubicBezTo>
                  <a:pt x="8168899" y="743007"/>
                  <a:pt x="8009069" y="743007"/>
                  <a:pt x="7769329" y="743007"/>
                </a:cubicBezTo>
                <a:cubicBezTo>
                  <a:pt x="7403483" y="743070"/>
                  <a:pt x="6851933" y="742266"/>
                  <a:pt x="6298289" y="741235"/>
                </a:cubicBezTo>
                <a:lnTo>
                  <a:pt x="5922130" y="740492"/>
                </a:lnTo>
                <a:lnTo>
                  <a:pt x="5910456" y="741840"/>
                </a:lnTo>
                <a:cubicBezTo>
                  <a:pt x="5881743" y="743007"/>
                  <a:pt x="5721913" y="743007"/>
                  <a:pt x="5482173" y="743007"/>
                </a:cubicBezTo>
                <a:cubicBezTo>
                  <a:pt x="4750481" y="743133"/>
                  <a:pt x="3275969" y="739790"/>
                  <a:pt x="2527539" y="738110"/>
                </a:cubicBezTo>
                <a:lnTo>
                  <a:pt x="2291960" y="737590"/>
                </a:lnTo>
                <a:lnTo>
                  <a:pt x="2278590" y="741840"/>
                </a:lnTo>
                <a:cubicBezTo>
                  <a:pt x="2268165" y="743007"/>
                  <a:pt x="2210137" y="743007"/>
                  <a:pt x="2123097" y="743007"/>
                </a:cubicBezTo>
                <a:cubicBezTo>
                  <a:pt x="1990273" y="743070"/>
                  <a:pt x="1790026" y="742266"/>
                  <a:pt x="1589019" y="741235"/>
                </a:cubicBezTo>
                <a:lnTo>
                  <a:pt x="1452450" y="740492"/>
                </a:lnTo>
                <a:lnTo>
                  <a:pt x="1448212" y="741840"/>
                </a:lnTo>
                <a:cubicBezTo>
                  <a:pt x="1437787" y="743007"/>
                  <a:pt x="1379759" y="743007"/>
                  <a:pt x="1292719" y="743007"/>
                </a:cubicBezTo>
                <a:cubicBezTo>
                  <a:pt x="938520" y="743175"/>
                  <a:pt x="104874" y="737175"/>
                  <a:pt x="55902" y="737175"/>
                </a:cubicBezTo>
                <a:cubicBezTo>
                  <a:pt x="47083" y="737435"/>
                  <a:pt x="38277" y="735422"/>
                  <a:pt x="29632" y="731174"/>
                </a:cubicBezTo>
                <a:cubicBezTo>
                  <a:pt x="18177" y="725677"/>
                  <a:pt x="12827" y="730843"/>
                  <a:pt x="9055" y="703513"/>
                </a:cubicBezTo>
                <a:cubicBezTo>
                  <a:pt x="5899" y="680683"/>
                  <a:pt x="7408" y="656852"/>
                  <a:pt x="6928" y="628021"/>
                </a:cubicBezTo>
                <a:cubicBezTo>
                  <a:pt x="5899" y="562199"/>
                  <a:pt x="5899" y="586862"/>
                  <a:pt x="5899" y="508540"/>
                </a:cubicBezTo>
                <a:lnTo>
                  <a:pt x="4870" y="445382"/>
                </a:lnTo>
                <a:lnTo>
                  <a:pt x="5158" y="408480"/>
                </a:lnTo>
                <a:lnTo>
                  <a:pt x="3395" y="368639"/>
                </a:lnTo>
                <a:cubicBezTo>
                  <a:pt x="1474" y="340622"/>
                  <a:pt x="-343" y="312626"/>
                  <a:pt x="274" y="284297"/>
                </a:cubicBezTo>
                <a:cubicBezTo>
                  <a:pt x="1509" y="242803"/>
                  <a:pt x="-206" y="269132"/>
                  <a:pt x="274" y="227471"/>
                </a:cubicBezTo>
                <a:cubicBezTo>
                  <a:pt x="274" y="198143"/>
                  <a:pt x="-343" y="168312"/>
                  <a:pt x="274" y="138984"/>
                </a:cubicBezTo>
                <a:cubicBezTo>
                  <a:pt x="-7" y="102333"/>
                  <a:pt x="541" y="65669"/>
                  <a:pt x="1920" y="29165"/>
                </a:cubicBezTo>
                <a:cubicBezTo>
                  <a:pt x="2881" y="13333"/>
                  <a:pt x="12826" y="10835"/>
                  <a:pt x="19684" y="8502"/>
                </a:cubicBezTo>
                <a:lnTo>
                  <a:pt x="26544" y="8502"/>
                </a:lnTo>
                <a:lnTo>
                  <a:pt x="31071" y="8502"/>
                </a:lnTo>
                <a:cubicBezTo>
                  <a:pt x="33369" y="8570"/>
                  <a:pt x="35667" y="8124"/>
                  <a:pt x="37930" y="7167"/>
                </a:cubicBezTo>
                <a:cubicBezTo>
                  <a:pt x="44164" y="4257"/>
                  <a:pt x="50461" y="2256"/>
                  <a:pt x="56793" y="1169"/>
                </a:cubicBezTo>
                <a:cubicBezTo>
                  <a:pt x="67218" y="3"/>
                  <a:pt x="125246" y="3"/>
                  <a:pt x="212287" y="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393" cap="flat">
            <a:noFill/>
            <a:prstDash val="solid"/>
            <a:miter/>
          </a:ln>
        </p:spPr>
        <p:txBody>
          <a:bodyPr vert="horz" wrap="square" lIns="457200" tIns="0" rIns="274320" bIns="36000" rtlCol="0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666666"/>
                </a:solidFill>
                <a:latin typeface="Calibri" panose="020F0502020204030204" pitchFamily="34" charset="0"/>
              </a:rPr>
              <a:t>Upskill</a:t>
            </a:r>
            <a:r>
              <a:rPr lang="en-US" sz="2800" dirty="0">
                <a:solidFill>
                  <a:srgbClr val="666666"/>
                </a:solidFill>
                <a:latin typeface="Calibri" panose="020F0502020204030204" pitchFamily="34" charset="0"/>
              </a:rPr>
              <a:t> the whole organization on digital commerce to future proof your business. Cultivate a </a:t>
            </a:r>
            <a:r>
              <a:rPr lang="en-US" sz="2800" b="1" dirty="0">
                <a:solidFill>
                  <a:srgbClr val="666666"/>
                </a:solidFill>
                <a:latin typeface="Calibri" panose="020F0502020204030204" pitchFamily="34" charset="0"/>
              </a:rPr>
              <a:t>learning</a:t>
            </a:r>
            <a:r>
              <a:rPr lang="en-US" sz="2800" dirty="0">
                <a:solidFill>
                  <a:srgbClr val="666666"/>
                </a:solidFill>
                <a:latin typeface="Calibri" panose="020F0502020204030204" pitchFamily="34" charset="0"/>
              </a:rPr>
              <a:t> </a:t>
            </a:r>
            <a:r>
              <a:rPr lang="en-US" sz="2800" b="1" dirty="0">
                <a:solidFill>
                  <a:srgbClr val="666666"/>
                </a:solidFill>
                <a:latin typeface="Calibri" panose="020F0502020204030204" pitchFamily="34" charset="0"/>
              </a:rPr>
              <a:t>culture</a:t>
            </a:r>
            <a:r>
              <a:rPr lang="en-US" sz="2800" dirty="0">
                <a:solidFill>
                  <a:srgbClr val="666666"/>
                </a:solidFill>
                <a:latin typeface="Calibri" panose="020F0502020204030204" pitchFamily="34" charset="0"/>
              </a:rPr>
              <a:t>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0" name="Graphic 112">
            <a:extLst>
              <a:ext uri="{FF2B5EF4-FFF2-40B4-BE49-F238E27FC236}">
                <a16:creationId xmlns:a16="http://schemas.microsoft.com/office/drawing/2014/main" id="{814AFE37-1697-455B-8795-FF474B8F733D}"/>
              </a:ext>
            </a:extLst>
          </p:cNvPr>
          <p:cNvSpPr/>
          <p:nvPr/>
        </p:nvSpPr>
        <p:spPr>
          <a:xfrm>
            <a:off x="460625" y="4815384"/>
            <a:ext cx="932021" cy="1203566"/>
          </a:xfrm>
          <a:custGeom>
            <a:avLst/>
            <a:gdLst>
              <a:gd name="connsiteX0" fmla="*/ 14007 w 461486"/>
              <a:gd name="connsiteY0" fmla="*/ 9284 h 401764"/>
              <a:gd name="connsiteX1" fmla="*/ 67160 w 461486"/>
              <a:gd name="connsiteY1" fmla="*/ 1466 h 401764"/>
              <a:gd name="connsiteX2" fmla="*/ 128402 w 461486"/>
              <a:gd name="connsiteY2" fmla="*/ 0 h 401764"/>
              <a:gd name="connsiteX3" fmla="*/ 223251 w 461486"/>
              <a:gd name="connsiteY3" fmla="*/ 4289 h 401764"/>
              <a:gd name="connsiteX4" fmla="*/ 266033 w 461486"/>
              <a:gd name="connsiteY4" fmla="*/ 5429 h 401764"/>
              <a:gd name="connsiteX5" fmla="*/ 304798 w 461486"/>
              <a:gd name="connsiteY5" fmla="*/ 12379 h 401764"/>
              <a:gd name="connsiteX6" fmla="*/ 328741 w 461486"/>
              <a:gd name="connsiteY6" fmla="*/ 32575 h 401764"/>
              <a:gd name="connsiteX7" fmla="*/ 445850 w 461486"/>
              <a:gd name="connsiteY7" fmla="*/ 162497 h 401764"/>
              <a:gd name="connsiteX8" fmla="*/ 464092 w 461486"/>
              <a:gd name="connsiteY8" fmla="*/ 198059 h 401764"/>
              <a:gd name="connsiteX9" fmla="*/ 456980 w 461486"/>
              <a:gd name="connsiteY9" fmla="*/ 219776 h 401764"/>
              <a:gd name="connsiteX10" fmla="*/ 366637 w 461486"/>
              <a:gd name="connsiteY10" fmla="*/ 332161 h 401764"/>
              <a:gd name="connsiteX11" fmla="*/ 317774 w 461486"/>
              <a:gd name="connsiteY11" fmla="*/ 382164 h 401764"/>
              <a:gd name="connsiteX12" fmla="*/ 306210 w 461486"/>
              <a:gd name="connsiteY12" fmla="*/ 392534 h 401764"/>
              <a:gd name="connsiteX13" fmla="*/ 247031 w 461486"/>
              <a:gd name="connsiteY13" fmla="*/ 401330 h 401764"/>
              <a:gd name="connsiteX14" fmla="*/ 177048 w 461486"/>
              <a:gd name="connsiteY14" fmla="*/ 400570 h 401764"/>
              <a:gd name="connsiteX15" fmla="*/ 99084 w 461486"/>
              <a:gd name="connsiteY15" fmla="*/ 398506 h 401764"/>
              <a:gd name="connsiteX16" fmla="*/ 24812 w 461486"/>
              <a:gd name="connsiteY16" fmla="*/ 387648 h 401764"/>
              <a:gd name="connsiteX17" fmla="*/ 18025 w 461486"/>
              <a:gd name="connsiteY17" fmla="*/ 385748 h 401764"/>
              <a:gd name="connsiteX18" fmla="*/ 13899 w 461486"/>
              <a:gd name="connsiteY18" fmla="*/ 378690 h 401764"/>
              <a:gd name="connsiteX19" fmla="*/ 4561 w 461486"/>
              <a:gd name="connsiteY19" fmla="*/ 339545 h 401764"/>
              <a:gd name="connsiteX20" fmla="*/ 3800 w 461486"/>
              <a:gd name="connsiteY20" fmla="*/ 295242 h 401764"/>
              <a:gd name="connsiteX21" fmla="*/ 0 w 461486"/>
              <a:gd name="connsiteY21" fmla="*/ 249745 h 401764"/>
              <a:gd name="connsiteX22" fmla="*/ 1846 w 461486"/>
              <a:gd name="connsiteY22" fmla="*/ 219450 h 401764"/>
              <a:gd name="connsiteX23" fmla="*/ 1520 w 461486"/>
              <a:gd name="connsiteY23" fmla="*/ 183454 h 401764"/>
              <a:gd name="connsiteX24" fmla="*/ 869 w 461486"/>
              <a:gd name="connsiteY24" fmla="*/ 96586 h 401764"/>
              <a:gd name="connsiteX25" fmla="*/ 5538 w 461486"/>
              <a:gd name="connsiteY25" fmla="*/ 47289 h 401764"/>
              <a:gd name="connsiteX26" fmla="*/ 14007 w 461486"/>
              <a:gd name="connsiteY26" fmla="*/ 9284 h 401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61486" h="401764">
                <a:moveTo>
                  <a:pt x="14007" y="9284"/>
                </a:moveTo>
                <a:cubicBezTo>
                  <a:pt x="26820" y="0"/>
                  <a:pt x="52012" y="2335"/>
                  <a:pt x="67160" y="1466"/>
                </a:cubicBezTo>
                <a:cubicBezTo>
                  <a:pt x="87519" y="0"/>
                  <a:pt x="107988" y="0"/>
                  <a:pt x="128402" y="0"/>
                </a:cubicBezTo>
                <a:cubicBezTo>
                  <a:pt x="160054" y="380"/>
                  <a:pt x="191652" y="2117"/>
                  <a:pt x="223251" y="4289"/>
                </a:cubicBezTo>
                <a:cubicBezTo>
                  <a:pt x="237747" y="5429"/>
                  <a:pt x="251591" y="5429"/>
                  <a:pt x="266033" y="5429"/>
                </a:cubicBezTo>
                <a:cubicBezTo>
                  <a:pt x="279329" y="4539"/>
                  <a:pt x="292640" y="6926"/>
                  <a:pt x="304798" y="12379"/>
                </a:cubicBezTo>
                <a:cubicBezTo>
                  <a:pt x="313830" y="17756"/>
                  <a:pt x="321918" y="24579"/>
                  <a:pt x="328741" y="32575"/>
                </a:cubicBezTo>
                <a:cubicBezTo>
                  <a:pt x="368338" y="75466"/>
                  <a:pt x="407374" y="118774"/>
                  <a:pt x="445850" y="162497"/>
                </a:cubicBezTo>
                <a:cubicBezTo>
                  <a:pt x="454862" y="172759"/>
                  <a:pt x="464418" y="184214"/>
                  <a:pt x="464092" y="198059"/>
                </a:cubicBezTo>
                <a:cubicBezTo>
                  <a:pt x="463427" y="205749"/>
                  <a:pt x="460993" y="213182"/>
                  <a:pt x="456980" y="219776"/>
                </a:cubicBezTo>
                <a:cubicBezTo>
                  <a:pt x="434340" y="262558"/>
                  <a:pt x="400298" y="297685"/>
                  <a:pt x="366637" y="332161"/>
                </a:cubicBezTo>
                <a:lnTo>
                  <a:pt x="317774" y="382164"/>
                </a:lnTo>
                <a:cubicBezTo>
                  <a:pt x="314287" y="386011"/>
                  <a:pt x="310412" y="389486"/>
                  <a:pt x="306210" y="392534"/>
                </a:cubicBezTo>
                <a:cubicBezTo>
                  <a:pt x="288402" y="404533"/>
                  <a:pt x="267282" y="402307"/>
                  <a:pt x="247031" y="401330"/>
                </a:cubicBezTo>
                <a:cubicBezTo>
                  <a:pt x="223685" y="400244"/>
                  <a:pt x="200339" y="400515"/>
                  <a:pt x="177048" y="400570"/>
                </a:cubicBezTo>
                <a:cubicBezTo>
                  <a:pt x="151042" y="400570"/>
                  <a:pt x="124981" y="400570"/>
                  <a:pt x="99084" y="398506"/>
                </a:cubicBezTo>
                <a:cubicBezTo>
                  <a:pt x="74001" y="396389"/>
                  <a:pt x="49678" y="390091"/>
                  <a:pt x="24812" y="387648"/>
                </a:cubicBezTo>
                <a:cubicBezTo>
                  <a:pt x="22419" y="387644"/>
                  <a:pt x="20072" y="386987"/>
                  <a:pt x="18025" y="385748"/>
                </a:cubicBezTo>
                <a:cubicBezTo>
                  <a:pt x="15946" y="383884"/>
                  <a:pt x="14503" y="381416"/>
                  <a:pt x="13899" y="378690"/>
                </a:cubicBezTo>
                <a:cubicBezTo>
                  <a:pt x="8938" y="366153"/>
                  <a:pt x="5793" y="352971"/>
                  <a:pt x="4561" y="339545"/>
                </a:cubicBezTo>
                <a:cubicBezTo>
                  <a:pt x="4018" y="325266"/>
                  <a:pt x="4561" y="309956"/>
                  <a:pt x="3800" y="295242"/>
                </a:cubicBezTo>
                <a:cubicBezTo>
                  <a:pt x="3040" y="280529"/>
                  <a:pt x="0" y="264838"/>
                  <a:pt x="0" y="249745"/>
                </a:cubicBezTo>
                <a:cubicBezTo>
                  <a:pt x="0" y="239430"/>
                  <a:pt x="2117" y="229766"/>
                  <a:pt x="1846" y="219450"/>
                </a:cubicBezTo>
                <a:cubicBezTo>
                  <a:pt x="1520" y="207397"/>
                  <a:pt x="1412" y="195453"/>
                  <a:pt x="1520" y="183454"/>
                </a:cubicBezTo>
                <a:cubicBezTo>
                  <a:pt x="1520" y="154842"/>
                  <a:pt x="-1249" y="125090"/>
                  <a:pt x="869" y="96586"/>
                </a:cubicBezTo>
                <a:cubicBezTo>
                  <a:pt x="2063" y="80299"/>
                  <a:pt x="5212" y="64011"/>
                  <a:pt x="5538" y="47289"/>
                </a:cubicBezTo>
                <a:cubicBezTo>
                  <a:pt x="5809" y="34421"/>
                  <a:pt x="1574" y="17971"/>
                  <a:pt x="14007" y="9284"/>
                </a:cubicBezTo>
              </a:path>
            </a:pathLst>
          </a:custGeom>
          <a:solidFill>
            <a:srgbClr val="724D8D"/>
          </a:solidFill>
          <a:ln w="5379" cap="flat">
            <a:noFill/>
            <a:prstDash val="solid"/>
            <a:miter/>
          </a:ln>
        </p:spPr>
        <p:txBody>
          <a:bodyPr lIns="0" tIns="0" rIns="9144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DLZ BITE TYPE"/>
                <a:ea typeface="+mn-ea"/>
                <a:cs typeface="+mn-cs"/>
              </a:rPr>
              <a:t>3.</a:t>
            </a:r>
          </a:p>
        </p:txBody>
      </p:sp>
    </p:spTree>
    <p:extLst>
      <p:ext uri="{BB962C8B-B14F-4D97-AF65-F5344CB8AC3E}">
        <p14:creationId xmlns:p14="http://schemas.microsoft.com/office/powerpoint/2010/main" val="27045823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61A1A4-46F5-4066-B6EE-C425A2EC7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sing remark</a:t>
            </a:r>
          </a:p>
        </p:txBody>
      </p:sp>
      <p:sp>
        <p:nvSpPr>
          <p:cNvPr id="3" name="Graphic 99">
            <a:extLst>
              <a:ext uri="{FF2B5EF4-FFF2-40B4-BE49-F238E27FC236}">
                <a16:creationId xmlns:a16="http://schemas.microsoft.com/office/drawing/2014/main" id="{13A97948-D0DE-4C5D-8AA0-BA867F84568D}"/>
              </a:ext>
            </a:extLst>
          </p:cNvPr>
          <p:cNvSpPr/>
          <p:nvPr/>
        </p:nvSpPr>
        <p:spPr>
          <a:xfrm>
            <a:off x="801309" y="1648047"/>
            <a:ext cx="10866474" cy="3349255"/>
          </a:xfrm>
          <a:custGeom>
            <a:avLst/>
            <a:gdLst>
              <a:gd name="connsiteX0" fmla="*/ 9049 w 466725"/>
              <a:gd name="connsiteY0" fmla="*/ 193834 h 466725"/>
              <a:gd name="connsiteX1" fmla="*/ 10954 w 466725"/>
              <a:gd name="connsiteY1" fmla="*/ 336709 h 466725"/>
              <a:gd name="connsiteX2" fmla="*/ 14764 w 466725"/>
              <a:gd name="connsiteY2" fmla="*/ 431959 h 466725"/>
              <a:gd name="connsiteX3" fmla="*/ 52864 w 466725"/>
              <a:gd name="connsiteY3" fmla="*/ 452914 h 466725"/>
              <a:gd name="connsiteX4" fmla="*/ 100489 w 466725"/>
              <a:gd name="connsiteY4" fmla="*/ 457676 h 466725"/>
              <a:gd name="connsiteX5" fmla="*/ 357664 w 466725"/>
              <a:gd name="connsiteY5" fmla="*/ 461486 h 466725"/>
              <a:gd name="connsiteX6" fmla="*/ 391954 w 466725"/>
              <a:gd name="connsiteY6" fmla="*/ 456724 h 466725"/>
              <a:gd name="connsiteX7" fmla="*/ 425291 w 466725"/>
              <a:gd name="connsiteY7" fmla="*/ 455771 h 466725"/>
              <a:gd name="connsiteX8" fmla="*/ 457676 w 466725"/>
              <a:gd name="connsiteY8" fmla="*/ 440531 h 466725"/>
              <a:gd name="connsiteX9" fmla="*/ 460534 w 466725"/>
              <a:gd name="connsiteY9" fmla="*/ 357664 h 466725"/>
              <a:gd name="connsiteX10" fmla="*/ 460534 w 466725"/>
              <a:gd name="connsiteY10" fmla="*/ 290989 h 466725"/>
              <a:gd name="connsiteX11" fmla="*/ 459581 w 466725"/>
              <a:gd name="connsiteY11" fmla="*/ 194786 h 466725"/>
              <a:gd name="connsiteX12" fmla="*/ 458629 w 466725"/>
              <a:gd name="connsiteY12" fmla="*/ 67151 h 466725"/>
              <a:gd name="connsiteX13" fmla="*/ 437674 w 466725"/>
              <a:gd name="connsiteY13" fmla="*/ 7144 h 466725"/>
              <a:gd name="connsiteX14" fmla="*/ 339566 w 466725"/>
              <a:gd name="connsiteY14" fmla="*/ 10001 h 466725"/>
              <a:gd name="connsiteX15" fmla="*/ 218599 w 466725"/>
              <a:gd name="connsiteY15" fmla="*/ 10954 h 466725"/>
              <a:gd name="connsiteX16" fmla="*/ 13811 w 466725"/>
              <a:gd name="connsiteY16" fmla="*/ 13811 h 466725"/>
              <a:gd name="connsiteX17" fmla="*/ 10001 w 466725"/>
              <a:gd name="connsiteY17" fmla="*/ 48101 h 466725"/>
              <a:gd name="connsiteX18" fmla="*/ 9049 w 466725"/>
              <a:gd name="connsiteY18" fmla="*/ 71914 h 466725"/>
              <a:gd name="connsiteX19" fmla="*/ 7144 w 466725"/>
              <a:gd name="connsiteY19" fmla="*/ 146209 h 466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66725" h="466725">
                <a:moveTo>
                  <a:pt x="9049" y="193834"/>
                </a:moveTo>
                <a:cubicBezTo>
                  <a:pt x="9049" y="252889"/>
                  <a:pt x="9049" y="287179"/>
                  <a:pt x="10954" y="336709"/>
                </a:cubicBezTo>
                <a:cubicBezTo>
                  <a:pt x="11906" y="358616"/>
                  <a:pt x="9049" y="414814"/>
                  <a:pt x="14764" y="431959"/>
                </a:cubicBezTo>
                <a:cubicBezTo>
                  <a:pt x="21431" y="452914"/>
                  <a:pt x="31909" y="449104"/>
                  <a:pt x="52864" y="452914"/>
                </a:cubicBezTo>
                <a:cubicBezTo>
                  <a:pt x="75724" y="457676"/>
                  <a:pt x="90011" y="457676"/>
                  <a:pt x="100489" y="457676"/>
                </a:cubicBezTo>
                <a:cubicBezTo>
                  <a:pt x="212884" y="458629"/>
                  <a:pt x="260509" y="464344"/>
                  <a:pt x="357664" y="461486"/>
                </a:cubicBezTo>
                <a:cubicBezTo>
                  <a:pt x="367189" y="461486"/>
                  <a:pt x="383381" y="458629"/>
                  <a:pt x="391954" y="456724"/>
                </a:cubicBezTo>
                <a:cubicBezTo>
                  <a:pt x="403384" y="454819"/>
                  <a:pt x="417671" y="456724"/>
                  <a:pt x="425291" y="455771"/>
                </a:cubicBezTo>
                <a:cubicBezTo>
                  <a:pt x="438626" y="453866"/>
                  <a:pt x="455771" y="451961"/>
                  <a:pt x="457676" y="440531"/>
                </a:cubicBezTo>
                <a:cubicBezTo>
                  <a:pt x="461486" y="411956"/>
                  <a:pt x="459581" y="379571"/>
                  <a:pt x="460534" y="357664"/>
                </a:cubicBezTo>
                <a:cubicBezTo>
                  <a:pt x="461486" y="335756"/>
                  <a:pt x="459581" y="312896"/>
                  <a:pt x="460534" y="290989"/>
                </a:cubicBezTo>
                <a:cubicBezTo>
                  <a:pt x="461486" y="259556"/>
                  <a:pt x="458629" y="226219"/>
                  <a:pt x="459581" y="194786"/>
                </a:cubicBezTo>
                <a:cubicBezTo>
                  <a:pt x="461486" y="151924"/>
                  <a:pt x="457676" y="110014"/>
                  <a:pt x="458629" y="67151"/>
                </a:cubicBezTo>
                <a:cubicBezTo>
                  <a:pt x="458629" y="37624"/>
                  <a:pt x="462439" y="7144"/>
                  <a:pt x="437674" y="7144"/>
                </a:cubicBezTo>
                <a:cubicBezTo>
                  <a:pt x="426244" y="7144"/>
                  <a:pt x="350996" y="10954"/>
                  <a:pt x="339566" y="10001"/>
                </a:cubicBezTo>
                <a:cubicBezTo>
                  <a:pt x="303371" y="9049"/>
                  <a:pt x="255746" y="10954"/>
                  <a:pt x="218599" y="10954"/>
                </a:cubicBezTo>
                <a:cubicBezTo>
                  <a:pt x="145256" y="10954"/>
                  <a:pt x="75724" y="5239"/>
                  <a:pt x="13811" y="13811"/>
                </a:cubicBezTo>
                <a:cubicBezTo>
                  <a:pt x="11906" y="15716"/>
                  <a:pt x="10001" y="42386"/>
                  <a:pt x="10001" y="48101"/>
                </a:cubicBezTo>
                <a:cubicBezTo>
                  <a:pt x="10001" y="63341"/>
                  <a:pt x="10001" y="62389"/>
                  <a:pt x="9049" y="71914"/>
                </a:cubicBezTo>
                <a:cubicBezTo>
                  <a:pt x="4286" y="99536"/>
                  <a:pt x="11906" y="119539"/>
                  <a:pt x="7144" y="146209"/>
                </a:cubicBezTo>
              </a:path>
            </a:pathLst>
          </a:custGeom>
          <a:solidFill>
            <a:schemeClr val="accent2"/>
          </a:solidFill>
        </p:spPr>
        <p:txBody>
          <a:bodyPr lIns="274320" tIns="274320" rIns="274320" bIns="274320"/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8BE884A-3F0A-4DB0-B75A-F319DC3EFDBB}"/>
              </a:ext>
            </a:extLst>
          </p:cNvPr>
          <p:cNvSpPr/>
          <p:nvPr/>
        </p:nvSpPr>
        <p:spPr>
          <a:xfrm>
            <a:off x="1786377" y="2235200"/>
            <a:ext cx="8867769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0" dirty="0">
                <a:solidFill>
                  <a:schemeClr val="bg1"/>
                </a:solidFill>
                <a:latin typeface="Calibri" panose="020F0502020204030204" pitchFamily="34" charset="0"/>
              </a:rPr>
              <a:t>The illiterate of the 21st century will not be those who cannot read and write, but those who cannot </a:t>
            </a:r>
            <a:r>
              <a:rPr lang="en-US" sz="4000" b="1" dirty="0">
                <a:solidFill>
                  <a:schemeClr val="bg1"/>
                </a:solidFill>
                <a:latin typeface="Calibri" panose="020F0502020204030204" pitchFamily="34" charset="0"/>
              </a:rPr>
              <a:t>learn, unlearn, </a:t>
            </a:r>
            <a:r>
              <a:rPr lang="en-US" sz="4000" b="0" dirty="0">
                <a:solidFill>
                  <a:schemeClr val="bg1"/>
                </a:solidFill>
                <a:latin typeface="Calibri" panose="020F0502020204030204" pitchFamily="34" charset="0"/>
              </a:rPr>
              <a:t>and </a:t>
            </a:r>
            <a:r>
              <a:rPr lang="en-US" sz="4000" b="1" dirty="0">
                <a:solidFill>
                  <a:schemeClr val="bg1"/>
                </a:solidFill>
                <a:latin typeface="Calibri" panose="020F0502020204030204" pitchFamily="34" charset="0"/>
              </a:rPr>
              <a:t>relearn.</a:t>
            </a:r>
          </a:p>
          <a:p>
            <a:pPr algn="r"/>
            <a:r>
              <a:rPr lang="en-US" sz="3200" b="0" dirty="0">
                <a:solidFill>
                  <a:schemeClr val="bg1"/>
                </a:solidFill>
                <a:latin typeface="Calibri" panose="020F0502020204030204" pitchFamily="34" charset="0"/>
              </a:rPr>
              <a:t> – Alvin Toffler</a:t>
            </a:r>
          </a:p>
        </p:txBody>
      </p:sp>
    </p:spTree>
    <p:extLst>
      <p:ext uri="{BB962C8B-B14F-4D97-AF65-F5344CB8AC3E}">
        <p14:creationId xmlns:p14="http://schemas.microsoft.com/office/powerpoint/2010/main" val="42034515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raphic 99">
            <a:extLst>
              <a:ext uri="{FF2B5EF4-FFF2-40B4-BE49-F238E27FC236}">
                <a16:creationId xmlns:a16="http://schemas.microsoft.com/office/drawing/2014/main" id="{9E75AE7D-8147-479C-A434-9657A9876556}"/>
              </a:ext>
            </a:extLst>
          </p:cNvPr>
          <p:cNvSpPr/>
          <p:nvPr/>
        </p:nvSpPr>
        <p:spPr>
          <a:xfrm>
            <a:off x="801309" y="1648047"/>
            <a:ext cx="10866474" cy="3349255"/>
          </a:xfrm>
          <a:custGeom>
            <a:avLst/>
            <a:gdLst>
              <a:gd name="connsiteX0" fmla="*/ 9049 w 466725"/>
              <a:gd name="connsiteY0" fmla="*/ 193834 h 466725"/>
              <a:gd name="connsiteX1" fmla="*/ 10954 w 466725"/>
              <a:gd name="connsiteY1" fmla="*/ 336709 h 466725"/>
              <a:gd name="connsiteX2" fmla="*/ 14764 w 466725"/>
              <a:gd name="connsiteY2" fmla="*/ 431959 h 466725"/>
              <a:gd name="connsiteX3" fmla="*/ 52864 w 466725"/>
              <a:gd name="connsiteY3" fmla="*/ 452914 h 466725"/>
              <a:gd name="connsiteX4" fmla="*/ 100489 w 466725"/>
              <a:gd name="connsiteY4" fmla="*/ 457676 h 466725"/>
              <a:gd name="connsiteX5" fmla="*/ 357664 w 466725"/>
              <a:gd name="connsiteY5" fmla="*/ 461486 h 466725"/>
              <a:gd name="connsiteX6" fmla="*/ 391954 w 466725"/>
              <a:gd name="connsiteY6" fmla="*/ 456724 h 466725"/>
              <a:gd name="connsiteX7" fmla="*/ 425291 w 466725"/>
              <a:gd name="connsiteY7" fmla="*/ 455771 h 466725"/>
              <a:gd name="connsiteX8" fmla="*/ 457676 w 466725"/>
              <a:gd name="connsiteY8" fmla="*/ 440531 h 466725"/>
              <a:gd name="connsiteX9" fmla="*/ 460534 w 466725"/>
              <a:gd name="connsiteY9" fmla="*/ 357664 h 466725"/>
              <a:gd name="connsiteX10" fmla="*/ 460534 w 466725"/>
              <a:gd name="connsiteY10" fmla="*/ 290989 h 466725"/>
              <a:gd name="connsiteX11" fmla="*/ 459581 w 466725"/>
              <a:gd name="connsiteY11" fmla="*/ 194786 h 466725"/>
              <a:gd name="connsiteX12" fmla="*/ 458629 w 466725"/>
              <a:gd name="connsiteY12" fmla="*/ 67151 h 466725"/>
              <a:gd name="connsiteX13" fmla="*/ 437674 w 466725"/>
              <a:gd name="connsiteY13" fmla="*/ 7144 h 466725"/>
              <a:gd name="connsiteX14" fmla="*/ 339566 w 466725"/>
              <a:gd name="connsiteY14" fmla="*/ 10001 h 466725"/>
              <a:gd name="connsiteX15" fmla="*/ 218599 w 466725"/>
              <a:gd name="connsiteY15" fmla="*/ 10954 h 466725"/>
              <a:gd name="connsiteX16" fmla="*/ 13811 w 466725"/>
              <a:gd name="connsiteY16" fmla="*/ 13811 h 466725"/>
              <a:gd name="connsiteX17" fmla="*/ 10001 w 466725"/>
              <a:gd name="connsiteY17" fmla="*/ 48101 h 466725"/>
              <a:gd name="connsiteX18" fmla="*/ 9049 w 466725"/>
              <a:gd name="connsiteY18" fmla="*/ 71914 h 466725"/>
              <a:gd name="connsiteX19" fmla="*/ 7144 w 466725"/>
              <a:gd name="connsiteY19" fmla="*/ 146209 h 466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66725" h="466725">
                <a:moveTo>
                  <a:pt x="9049" y="193834"/>
                </a:moveTo>
                <a:cubicBezTo>
                  <a:pt x="9049" y="252889"/>
                  <a:pt x="9049" y="287179"/>
                  <a:pt x="10954" y="336709"/>
                </a:cubicBezTo>
                <a:cubicBezTo>
                  <a:pt x="11906" y="358616"/>
                  <a:pt x="9049" y="414814"/>
                  <a:pt x="14764" y="431959"/>
                </a:cubicBezTo>
                <a:cubicBezTo>
                  <a:pt x="21431" y="452914"/>
                  <a:pt x="31909" y="449104"/>
                  <a:pt x="52864" y="452914"/>
                </a:cubicBezTo>
                <a:cubicBezTo>
                  <a:pt x="75724" y="457676"/>
                  <a:pt x="90011" y="457676"/>
                  <a:pt x="100489" y="457676"/>
                </a:cubicBezTo>
                <a:cubicBezTo>
                  <a:pt x="212884" y="458629"/>
                  <a:pt x="260509" y="464344"/>
                  <a:pt x="357664" y="461486"/>
                </a:cubicBezTo>
                <a:cubicBezTo>
                  <a:pt x="367189" y="461486"/>
                  <a:pt x="383381" y="458629"/>
                  <a:pt x="391954" y="456724"/>
                </a:cubicBezTo>
                <a:cubicBezTo>
                  <a:pt x="403384" y="454819"/>
                  <a:pt x="417671" y="456724"/>
                  <a:pt x="425291" y="455771"/>
                </a:cubicBezTo>
                <a:cubicBezTo>
                  <a:pt x="438626" y="453866"/>
                  <a:pt x="455771" y="451961"/>
                  <a:pt x="457676" y="440531"/>
                </a:cubicBezTo>
                <a:cubicBezTo>
                  <a:pt x="461486" y="411956"/>
                  <a:pt x="459581" y="379571"/>
                  <a:pt x="460534" y="357664"/>
                </a:cubicBezTo>
                <a:cubicBezTo>
                  <a:pt x="461486" y="335756"/>
                  <a:pt x="459581" y="312896"/>
                  <a:pt x="460534" y="290989"/>
                </a:cubicBezTo>
                <a:cubicBezTo>
                  <a:pt x="461486" y="259556"/>
                  <a:pt x="458629" y="226219"/>
                  <a:pt x="459581" y="194786"/>
                </a:cubicBezTo>
                <a:cubicBezTo>
                  <a:pt x="461486" y="151924"/>
                  <a:pt x="457676" y="110014"/>
                  <a:pt x="458629" y="67151"/>
                </a:cubicBezTo>
                <a:cubicBezTo>
                  <a:pt x="458629" y="37624"/>
                  <a:pt x="462439" y="7144"/>
                  <a:pt x="437674" y="7144"/>
                </a:cubicBezTo>
                <a:cubicBezTo>
                  <a:pt x="426244" y="7144"/>
                  <a:pt x="350996" y="10954"/>
                  <a:pt x="339566" y="10001"/>
                </a:cubicBezTo>
                <a:cubicBezTo>
                  <a:pt x="303371" y="9049"/>
                  <a:pt x="255746" y="10954"/>
                  <a:pt x="218599" y="10954"/>
                </a:cubicBezTo>
                <a:cubicBezTo>
                  <a:pt x="145256" y="10954"/>
                  <a:pt x="75724" y="5239"/>
                  <a:pt x="13811" y="13811"/>
                </a:cubicBezTo>
                <a:cubicBezTo>
                  <a:pt x="11906" y="15716"/>
                  <a:pt x="10001" y="42386"/>
                  <a:pt x="10001" y="48101"/>
                </a:cubicBezTo>
                <a:cubicBezTo>
                  <a:pt x="10001" y="63341"/>
                  <a:pt x="10001" y="62389"/>
                  <a:pt x="9049" y="71914"/>
                </a:cubicBezTo>
                <a:cubicBezTo>
                  <a:pt x="4286" y="99536"/>
                  <a:pt x="11906" y="119539"/>
                  <a:pt x="7144" y="146209"/>
                </a:cubicBezTo>
              </a:path>
            </a:pathLst>
          </a:custGeom>
          <a:solidFill>
            <a:schemeClr val="accent1"/>
          </a:solidFill>
        </p:spPr>
        <p:txBody>
          <a:bodyPr lIns="274320" tIns="274320" rIns="274320" bIns="274320"/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EEE286E-2F3E-477C-8662-C95F55EA66E1}"/>
              </a:ext>
            </a:extLst>
          </p:cNvPr>
          <p:cNvSpPr/>
          <p:nvPr/>
        </p:nvSpPr>
        <p:spPr>
          <a:xfrm>
            <a:off x="1777233" y="2802128"/>
            <a:ext cx="886776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</a:rPr>
              <a:t>Questions?</a:t>
            </a:r>
            <a:endParaRPr lang="en-US" sz="4800" b="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4496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raphic 99">
            <a:extLst>
              <a:ext uri="{FF2B5EF4-FFF2-40B4-BE49-F238E27FC236}">
                <a16:creationId xmlns:a16="http://schemas.microsoft.com/office/drawing/2014/main" id="{9E75AE7D-8147-479C-A434-9657A9876556}"/>
              </a:ext>
            </a:extLst>
          </p:cNvPr>
          <p:cNvSpPr/>
          <p:nvPr/>
        </p:nvSpPr>
        <p:spPr>
          <a:xfrm>
            <a:off x="801309" y="1648047"/>
            <a:ext cx="10866474" cy="3349255"/>
          </a:xfrm>
          <a:custGeom>
            <a:avLst/>
            <a:gdLst>
              <a:gd name="connsiteX0" fmla="*/ 9049 w 466725"/>
              <a:gd name="connsiteY0" fmla="*/ 193834 h 466725"/>
              <a:gd name="connsiteX1" fmla="*/ 10954 w 466725"/>
              <a:gd name="connsiteY1" fmla="*/ 336709 h 466725"/>
              <a:gd name="connsiteX2" fmla="*/ 14764 w 466725"/>
              <a:gd name="connsiteY2" fmla="*/ 431959 h 466725"/>
              <a:gd name="connsiteX3" fmla="*/ 52864 w 466725"/>
              <a:gd name="connsiteY3" fmla="*/ 452914 h 466725"/>
              <a:gd name="connsiteX4" fmla="*/ 100489 w 466725"/>
              <a:gd name="connsiteY4" fmla="*/ 457676 h 466725"/>
              <a:gd name="connsiteX5" fmla="*/ 357664 w 466725"/>
              <a:gd name="connsiteY5" fmla="*/ 461486 h 466725"/>
              <a:gd name="connsiteX6" fmla="*/ 391954 w 466725"/>
              <a:gd name="connsiteY6" fmla="*/ 456724 h 466725"/>
              <a:gd name="connsiteX7" fmla="*/ 425291 w 466725"/>
              <a:gd name="connsiteY7" fmla="*/ 455771 h 466725"/>
              <a:gd name="connsiteX8" fmla="*/ 457676 w 466725"/>
              <a:gd name="connsiteY8" fmla="*/ 440531 h 466725"/>
              <a:gd name="connsiteX9" fmla="*/ 460534 w 466725"/>
              <a:gd name="connsiteY9" fmla="*/ 357664 h 466725"/>
              <a:gd name="connsiteX10" fmla="*/ 460534 w 466725"/>
              <a:gd name="connsiteY10" fmla="*/ 290989 h 466725"/>
              <a:gd name="connsiteX11" fmla="*/ 459581 w 466725"/>
              <a:gd name="connsiteY11" fmla="*/ 194786 h 466725"/>
              <a:gd name="connsiteX12" fmla="*/ 458629 w 466725"/>
              <a:gd name="connsiteY12" fmla="*/ 67151 h 466725"/>
              <a:gd name="connsiteX13" fmla="*/ 437674 w 466725"/>
              <a:gd name="connsiteY13" fmla="*/ 7144 h 466725"/>
              <a:gd name="connsiteX14" fmla="*/ 339566 w 466725"/>
              <a:gd name="connsiteY14" fmla="*/ 10001 h 466725"/>
              <a:gd name="connsiteX15" fmla="*/ 218599 w 466725"/>
              <a:gd name="connsiteY15" fmla="*/ 10954 h 466725"/>
              <a:gd name="connsiteX16" fmla="*/ 13811 w 466725"/>
              <a:gd name="connsiteY16" fmla="*/ 13811 h 466725"/>
              <a:gd name="connsiteX17" fmla="*/ 10001 w 466725"/>
              <a:gd name="connsiteY17" fmla="*/ 48101 h 466725"/>
              <a:gd name="connsiteX18" fmla="*/ 9049 w 466725"/>
              <a:gd name="connsiteY18" fmla="*/ 71914 h 466725"/>
              <a:gd name="connsiteX19" fmla="*/ 7144 w 466725"/>
              <a:gd name="connsiteY19" fmla="*/ 146209 h 466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66725" h="466725">
                <a:moveTo>
                  <a:pt x="9049" y="193834"/>
                </a:moveTo>
                <a:cubicBezTo>
                  <a:pt x="9049" y="252889"/>
                  <a:pt x="9049" y="287179"/>
                  <a:pt x="10954" y="336709"/>
                </a:cubicBezTo>
                <a:cubicBezTo>
                  <a:pt x="11906" y="358616"/>
                  <a:pt x="9049" y="414814"/>
                  <a:pt x="14764" y="431959"/>
                </a:cubicBezTo>
                <a:cubicBezTo>
                  <a:pt x="21431" y="452914"/>
                  <a:pt x="31909" y="449104"/>
                  <a:pt x="52864" y="452914"/>
                </a:cubicBezTo>
                <a:cubicBezTo>
                  <a:pt x="75724" y="457676"/>
                  <a:pt x="90011" y="457676"/>
                  <a:pt x="100489" y="457676"/>
                </a:cubicBezTo>
                <a:cubicBezTo>
                  <a:pt x="212884" y="458629"/>
                  <a:pt x="260509" y="464344"/>
                  <a:pt x="357664" y="461486"/>
                </a:cubicBezTo>
                <a:cubicBezTo>
                  <a:pt x="367189" y="461486"/>
                  <a:pt x="383381" y="458629"/>
                  <a:pt x="391954" y="456724"/>
                </a:cubicBezTo>
                <a:cubicBezTo>
                  <a:pt x="403384" y="454819"/>
                  <a:pt x="417671" y="456724"/>
                  <a:pt x="425291" y="455771"/>
                </a:cubicBezTo>
                <a:cubicBezTo>
                  <a:pt x="438626" y="453866"/>
                  <a:pt x="455771" y="451961"/>
                  <a:pt x="457676" y="440531"/>
                </a:cubicBezTo>
                <a:cubicBezTo>
                  <a:pt x="461486" y="411956"/>
                  <a:pt x="459581" y="379571"/>
                  <a:pt x="460534" y="357664"/>
                </a:cubicBezTo>
                <a:cubicBezTo>
                  <a:pt x="461486" y="335756"/>
                  <a:pt x="459581" y="312896"/>
                  <a:pt x="460534" y="290989"/>
                </a:cubicBezTo>
                <a:cubicBezTo>
                  <a:pt x="461486" y="259556"/>
                  <a:pt x="458629" y="226219"/>
                  <a:pt x="459581" y="194786"/>
                </a:cubicBezTo>
                <a:cubicBezTo>
                  <a:pt x="461486" y="151924"/>
                  <a:pt x="457676" y="110014"/>
                  <a:pt x="458629" y="67151"/>
                </a:cubicBezTo>
                <a:cubicBezTo>
                  <a:pt x="458629" y="37624"/>
                  <a:pt x="462439" y="7144"/>
                  <a:pt x="437674" y="7144"/>
                </a:cubicBezTo>
                <a:cubicBezTo>
                  <a:pt x="426244" y="7144"/>
                  <a:pt x="350996" y="10954"/>
                  <a:pt x="339566" y="10001"/>
                </a:cubicBezTo>
                <a:cubicBezTo>
                  <a:pt x="303371" y="9049"/>
                  <a:pt x="255746" y="10954"/>
                  <a:pt x="218599" y="10954"/>
                </a:cubicBezTo>
                <a:cubicBezTo>
                  <a:pt x="145256" y="10954"/>
                  <a:pt x="75724" y="5239"/>
                  <a:pt x="13811" y="13811"/>
                </a:cubicBezTo>
                <a:cubicBezTo>
                  <a:pt x="11906" y="15716"/>
                  <a:pt x="10001" y="42386"/>
                  <a:pt x="10001" y="48101"/>
                </a:cubicBezTo>
                <a:cubicBezTo>
                  <a:pt x="10001" y="63341"/>
                  <a:pt x="10001" y="62389"/>
                  <a:pt x="9049" y="71914"/>
                </a:cubicBezTo>
                <a:cubicBezTo>
                  <a:pt x="4286" y="99536"/>
                  <a:pt x="11906" y="119539"/>
                  <a:pt x="7144" y="146209"/>
                </a:cubicBezTo>
              </a:path>
            </a:pathLst>
          </a:custGeom>
          <a:solidFill>
            <a:schemeClr val="accent3"/>
          </a:solidFill>
        </p:spPr>
        <p:txBody>
          <a:bodyPr lIns="274320" tIns="274320" rIns="274320" bIns="274320"/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EEE286E-2F3E-477C-8662-C95F55EA66E1}"/>
              </a:ext>
            </a:extLst>
          </p:cNvPr>
          <p:cNvSpPr/>
          <p:nvPr/>
        </p:nvSpPr>
        <p:spPr>
          <a:xfrm>
            <a:off x="1777233" y="2802128"/>
            <a:ext cx="886776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800" dirty="0">
                <a:solidFill>
                  <a:schemeClr val="bg1"/>
                </a:solidFill>
                <a:latin typeface="Calibri" panose="020F0502020204030204" pitchFamily="34" charset="0"/>
              </a:rPr>
              <a:t>Thank You!</a:t>
            </a:r>
            <a:endParaRPr lang="en-US" sz="4800" b="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78718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oogle Shape;428;p98">
            <a:extLst>
              <a:ext uri="{FF2B5EF4-FFF2-40B4-BE49-F238E27FC236}">
                <a16:creationId xmlns:a16="http://schemas.microsoft.com/office/drawing/2014/main" id="{D9C47656-60D8-491C-9055-9FD71B356BD3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575125" y="4936254"/>
            <a:ext cx="1152354" cy="507639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Google Shape;429;p98">
            <a:extLst>
              <a:ext uri="{FF2B5EF4-FFF2-40B4-BE49-F238E27FC236}">
                <a16:creationId xmlns:a16="http://schemas.microsoft.com/office/drawing/2014/main" id="{9AB4387A-40CB-456E-A345-126F10A4703A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t="13608" b="13616"/>
          <a:stretch/>
        </p:blipFill>
        <p:spPr>
          <a:xfrm>
            <a:off x="8442277" y="4198666"/>
            <a:ext cx="1388659" cy="643239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Google Shape;431;p98">
            <a:extLst>
              <a:ext uri="{FF2B5EF4-FFF2-40B4-BE49-F238E27FC236}">
                <a16:creationId xmlns:a16="http://schemas.microsoft.com/office/drawing/2014/main" id="{81F2C157-50FC-4C36-825D-2FE3FF63983A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8284938" y="5586754"/>
            <a:ext cx="1801778" cy="87457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84E9DAD2-FF65-C2DA-6AE8-4D3B4AB8A478}"/>
              </a:ext>
            </a:extLst>
          </p:cNvPr>
          <p:cNvGrpSpPr/>
          <p:nvPr/>
        </p:nvGrpSpPr>
        <p:grpSpPr>
          <a:xfrm>
            <a:off x="587240" y="1091547"/>
            <a:ext cx="6252414" cy="5470660"/>
            <a:chOff x="111694" y="604037"/>
            <a:chExt cx="7203506" cy="6302836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A4BD8DDA-3D26-4595-87B6-8C1634C95A3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28843" y="1595182"/>
              <a:ext cx="5956891" cy="4599916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B47AD0B3-6A38-44DB-8A85-4C063B28054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320067" y="6252789"/>
              <a:ext cx="4616687" cy="654084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486735E7-EABC-47E4-95EE-17787F502C6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975246" y="604037"/>
              <a:ext cx="3130711" cy="971600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EF3B568-F348-4B42-B00B-1CC2CB5EF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086220" y="3094794"/>
              <a:ext cx="1228980" cy="908162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C1A721F1-7294-4D12-9BB5-D2CCFEFA575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796840" y="4791442"/>
              <a:ext cx="1004652" cy="799723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B02A977C-C5E6-4283-BC89-B5584733167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23275" y="4808307"/>
              <a:ext cx="1003647" cy="914538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CA9B3668-D9EB-43E7-AD44-DF1A24257EC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209762" y="1437003"/>
              <a:ext cx="1416123" cy="901746"/>
            </a:xfrm>
            <a:prstGeom prst="rect">
              <a:avLst/>
            </a:prstGeom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368DAB2E-0D59-466C-A5FC-C700B51ABF9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111694" y="3115907"/>
              <a:ext cx="1080108" cy="980625"/>
            </a:xfrm>
            <a:prstGeom prst="rect">
              <a:avLst/>
            </a:prstGeom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F7343526-432F-4FBC-838B-096EA9EB3D1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5020314" y="1437799"/>
              <a:ext cx="2120225" cy="639723"/>
            </a:xfrm>
            <a:prstGeom prst="rect">
              <a:avLst/>
            </a:prstGeom>
          </p:spPr>
        </p:pic>
      </p:grpSp>
      <p:pic>
        <p:nvPicPr>
          <p:cNvPr id="35" name="Picture 34">
            <a:extLst>
              <a:ext uri="{FF2B5EF4-FFF2-40B4-BE49-F238E27FC236}">
                <a16:creationId xmlns:a16="http://schemas.microsoft.com/office/drawing/2014/main" id="{31D552B2-1F21-4A05-8EC9-C53550AB847A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4248" y="5574993"/>
            <a:ext cx="1310512" cy="475292"/>
          </a:xfrm>
          <a:prstGeom prst="rect">
            <a:avLst/>
          </a:prstGeom>
        </p:spPr>
      </p:pic>
      <p:pic>
        <p:nvPicPr>
          <p:cNvPr id="37" name="Picture 4" descr="The Branding Source: New logo: Philips">
            <a:extLst>
              <a:ext uri="{FF2B5EF4-FFF2-40B4-BE49-F238E27FC236}">
                <a16:creationId xmlns:a16="http://schemas.microsoft.com/office/drawing/2014/main" id="{A51A7108-4023-4FD9-85E4-01354FCBB9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70725" y="4363881"/>
            <a:ext cx="752115" cy="956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5FC113BC-EFF7-4013-AB0D-DBE93420C7A9}"/>
              </a:ext>
            </a:extLst>
          </p:cNvPr>
          <p:cNvSpPr txBox="1">
            <a:spLocks/>
          </p:cNvSpPr>
          <p:nvPr/>
        </p:nvSpPr>
        <p:spPr>
          <a:xfrm>
            <a:off x="7875917" y="1102551"/>
            <a:ext cx="4222679" cy="10171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None/>
              <a:defRPr sz="2000" kern="1200">
                <a:solidFill>
                  <a:srgbClr val="724D8D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None/>
              <a:defRPr sz="2000" kern="1200">
                <a:solidFill>
                  <a:srgbClr val="724D8D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None/>
              <a:defRPr sz="2000" kern="1200">
                <a:solidFill>
                  <a:srgbClr val="724D8D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None/>
              <a:defRPr sz="2000" kern="1200">
                <a:solidFill>
                  <a:srgbClr val="724D8D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None/>
              <a:defRPr sz="2000" kern="1200">
                <a:solidFill>
                  <a:srgbClr val="724D8D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None/>
              <a:defRPr sz="2000" kern="1200">
                <a:solidFill>
                  <a:srgbClr val="724D8D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None/>
              <a:defRPr sz="2000" kern="1200">
                <a:solidFill>
                  <a:srgbClr val="724D8D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None/>
              <a:defRPr sz="2000" kern="1200">
                <a:solidFill>
                  <a:srgbClr val="724D8D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None/>
              <a:defRPr sz="2000" kern="1200">
                <a:solidFill>
                  <a:srgbClr val="724D8D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>
                <a:solidFill>
                  <a:srgbClr val="4F2170"/>
                </a:solidFill>
              </a:rPr>
              <a:t>Jie Cheng</a:t>
            </a:r>
          </a:p>
          <a:p>
            <a:pPr algn="ctr"/>
            <a:r>
              <a:rPr lang="en-US" sz="1600" i="1" dirty="0">
                <a:solidFill>
                  <a:srgbClr val="4F2170"/>
                </a:solidFill>
              </a:rPr>
              <a:t>VP &amp; Global Head of Digital Commerce at Mondelēz  International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BC45CCBD-9924-48FD-877F-C8170095370E}"/>
              </a:ext>
            </a:extLst>
          </p:cNvPr>
          <p:cNvPicPr/>
          <p:nvPr/>
        </p:nvPicPr>
        <p:blipFill>
          <a:blip r:embed="rId17" r:link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37" y="1914697"/>
            <a:ext cx="1982638" cy="2139143"/>
          </a:xfrm>
          <a:prstGeom prst="ellipse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F17945FF-9F65-46C5-BD97-558EFE47E5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/>
              <a:t>A bit about mondelez and me….</a:t>
            </a:r>
          </a:p>
        </p:txBody>
      </p:sp>
    </p:spTree>
    <p:extLst>
      <p:ext uri="{BB962C8B-B14F-4D97-AF65-F5344CB8AC3E}">
        <p14:creationId xmlns:p14="http://schemas.microsoft.com/office/powerpoint/2010/main" val="15263459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F5BEBCE-CA34-4C97-ADF7-AE33D19E59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 I get asked often</a:t>
            </a:r>
          </a:p>
        </p:txBody>
      </p:sp>
      <p:sp>
        <p:nvSpPr>
          <p:cNvPr id="4" name="Freeform 60">
            <a:extLst>
              <a:ext uri="{FF2B5EF4-FFF2-40B4-BE49-F238E27FC236}">
                <a16:creationId xmlns:a16="http://schemas.microsoft.com/office/drawing/2014/main" id="{C40DC96C-AB1B-4266-91DF-BF0F23FE01E9}"/>
              </a:ext>
            </a:extLst>
          </p:cNvPr>
          <p:cNvSpPr/>
          <p:nvPr/>
        </p:nvSpPr>
        <p:spPr>
          <a:xfrm>
            <a:off x="381001" y="1143775"/>
            <a:ext cx="11430001" cy="4914869"/>
          </a:xfrm>
          <a:custGeom>
            <a:avLst/>
            <a:gdLst>
              <a:gd name="connsiteX0" fmla="*/ 212287 w 9756600"/>
              <a:gd name="connsiteY0" fmla="*/ 3 h 743010"/>
              <a:gd name="connsiteX1" fmla="*/ 746364 w 9756600"/>
              <a:gd name="connsiteY1" fmla="*/ 1774 h 743010"/>
              <a:gd name="connsiteX2" fmla="*/ 882932 w 9756600"/>
              <a:gd name="connsiteY2" fmla="*/ 2517 h 743010"/>
              <a:gd name="connsiteX3" fmla="*/ 887171 w 9756600"/>
              <a:gd name="connsiteY3" fmla="*/ 1169 h 743010"/>
              <a:gd name="connsiteX4" fmla="*/ 1042665 w 9756600"/>
              <a:gd name="connsiteY4" fmla="*/ 3 h 743010"/>
              <a:gd name="connsiteX5" fmla="*/ 1775533 w 9756600"/>
              <a:gd name="connsiteY5" fmla="*/ 2856 h 743010"/>
              <a:gd name="connsiteX6" fmla="*/ 2049129 w 9756600"/>
              <a:gd name="connsiteY6" fmla="*/ 4501 h 743010"/>
              <a:gd name="connsiteX7" fmla="*/ 2077993 w 9756600"/>
              <a:gd name="connsiteY7" fmla="*/ 1169 h 743010"/>
              <a:gd name="connsiteX8" fmla="*/ 2506278 w 9756600"/>
              <a:gd name="connsiteY8" fmla="*/ 3 h 743010"/>
              <a:gd name="connsiteX9" fmla="*/ 3977317 w 9756600"/>
              <a:gd name="connsiteY9" fmla="*/ 1774 h 743010"/>
              <a:gd name="connsiteX10" fmla="*/ 4353475 w 9756600"/>
              <a:gd name="connsiteY10" fmla="*/ 2517 h 743010"/>
              <a:gd name="connsiteX11" fmla="*/ 4365150 w 9756600"/>
              <a:gd name="connsiteY11" fmla="*/ 1169 h 743010"/>
              <a:gd name="connsiteX12" fmla="*/ 4793434 w 9756600"/>
              <a:gd name="connsiteY12" fmla="*/ 3 h 743010"/>
              <a:gd name="connsiteX13" fmla="*/ 7320146 w 9756600"/>
              <a:gd name="connsiteY13" fmla="*/ 3945 h 743010"/>
              <a:gd name="connsiteX14" fmla="*/ 7468241 w 9756600"/>
              <a:gd name="connsiteY14" fmla="*/ 4275 h 743010"/>
              <a:gd name="connsiteX15" fmla="*/ 7478010 w 9756600"/>
              <a:gd name="connsiteY15" fmla="*/ 1169 h 743010"/>
              <a:gd name="connsiteX16" fmla="*/ 7633504 w 9756600"/>
              <a:gd name="connsiteY16" fmla="*/ 3 h 743010"/>
              <a:gd name="connsiteX17" fmla="*/ 8167581 w 9756600"/>
              <a:gd name="connsiteY17" fmla="*/ 1774 h 743010"/>
              <a:gd name="connsiteX18" fmla="*/ 8304149 w 9756600"/>
              <a:gd name="connsiteY18" fmla="*/ 2517 h 743010"/>
              <a:gd name="connsiteX19" fmla="*/ 8308388 w 9756600"/>
              <a:gd name="connsiteY19" fmla="*/ 1169 h 743010"/>
              <a:gd name="connsiteX20" fmla="*/ 8463881 w 9756600"/>
              <a:gd name="connsiteY20" fmla="*/ 3 h 743010"/>
              <a:gd name="connsiteX21" fmla="*/ 9700698 w 9756600"/>
              <a:gd name="connsiteY21" fmla="*/ 5835 h 743010"/>
              <a:gd name="connsiteX22" fmla="*/ 9726968 w 9756600"/>
              <a:gd name="connsiteY22" fmla="*/ 11836 h 743010"/>
              <a:gd name="connsiteX23" fmla="*/ 9747545 w 9756600"/>
              <a:gd name="connsiteY23" fmla="*/ 39497 h 743010"/>
              <a:gd name="connsiteX24" fmla="*/ 9749672 w 9756600"/>
              <a:gd name="connsiteY24" fmla="*/ 114988 h 743010"/>
              <a:gd name="connsiteX25" fmla="*/ 9750701 w 9756600"/>
              <a:gd name="connsiteY25" fmla="*/ 234470 h 743010"/>
              <a:gd name="connsiteX26" fmla="*/ 9751730 w 9756600"/>
              <a:gd name="connsiteY26" fmla="*/ 297628 h 743010"/>
              <a:gd name="connsiteX27" fmla="*/ 9751442 w 9756600"/>
              <a:gd name="connsiteY27" fmla="*/ 334530 h 743010"/>
              <a:gd name="connsiteX28" fmla="*/ 9753205 w 9756600"/>
              <a:gd name="connsiteY28" fmla="*/ 374371 h 743010"/>
              <a:gd name="connsiteX29" fmla="*/ 9756326 w 9756600"/>
              <a:gd name="connsiteY29" fmla="*/ 458712 h 743010"/>
              <a:gd name="connsiteX30" fmla="*/ 9756326 w 9756600"/>
              <a:gd name="connsiteY30" fmla="*/ 515538 h 743010"/>
              <a:gd name="connsiteX31" fmla="*/ 9756326 w 9756600"/>
              <a:gd name="connsiteY31" fmla="*/ 604026 h 743010"/>
              <a:gd name="connsiteX32" fmla="*/ 9754679 w 9756600"/>
              <a:gd name="connsiteY32" fmla="*/ 713845 h 743010"/>
              <a:gd name="connsiteX33" fmla="*/ 9736916 w 9756600"/>
              <a:gd name="connsiteY33" fmla="*/ 734508 h 743010"/>
              <a:gd name="connsiteX34" fmla="*/ 9730055 w 9756600"/>
              <a:gd name="connsiteY34" fmla="*/ 734508 h 743010"/>
              <a:gd name="connsiteX35" fmla="*/ 9725529 w 9756600"/>
              <a:gd name="connsiteY35" fmla="*/ 734508 h 743010"/>
              <a:gd name="connsiteX36" fmla="*/ 9718671 w 9756600"/>
              <a:gd name="connsiteY36" fmla="*/ 735843 h 743010"/>
              <a:gd name="connsiteX37" fmla="*/ 9699807 w 9756600"/>
              <a:gd name="connsiteY37" fmla="*/ 741840 h 743010"/>
              <a:gd name="connsiteX38" fmla="*/ 9544314 w 9756600"/>
              <a:gd name="connsiteY38" fmla="*/ 743007 h 743010"/>
              <a:gd name="connsiteX39" fmla="*/ 9010236 w 9756600"/>
              <a:gd name="connsiteY39" fmla="*/ 741235 h 743010"/>
              <a:gd name="connsiteX40" fmla="*/ 8873667 w 9756600"/>
              <a:gd name="connsiteY40" fmla="*/ 740492 h 743010"/>
              <a:gd name="connsiteX41" fmla="*/ 8869429 w 9756600"/>
              <a:gd name="connsiteY41" fmla="*/ 741840 h 743010"/>
              <a:gd name="connsiteX42" fmla="*/ 8713936 w 9756600"/>
              <a:gd name="connsiteY42" fmla="*/ 743007 h 743010"/>
              <a:gd name="connsiteX43" fmla="*/ 8378142 w 9756600"/>
              <a:gd name="connsiteY43" fmla="*/ 742167 h 743010"/>
              <a:gd name="connsiteX44" fmla="*/ 8202497 w 9756600"/>
              <a:gd name="connsiteY44" fmla="*/ 741276 h 743010"/>
              <a:gd name="connsiteX45" fmla="*/ 8197613 w 9756600"/>
              <a:gd name="connsiteY45" fmla="*/ 741840 h 743010"/>
              <a:gd name="connsiteX46" fmla="*/ 7769329 w 9756600"/>
              <a:gd name="connsiteY46" fmla="*/ 743007 h 743010"/>
              <a:gd name="connsiteX47" fmla="*/ 6298289 w 9756600"/>
              <a:gd name="connsiteY47" fmla="*/ 741235 h 743010"/>
              <a:gd name="connsiteX48" fmla="*/ 5922130 w 9756600"/>
              <a:gd name="connsiteY48" fmla="*/ 740492 h 743010"/>
              <a:gd name="connsiteX49" fmla="*/ 5910456 w 9756600"/>
              <a:gd name="connsiteY49" fmla="*/ 741840 h 743010"/>
              <a:gd name="connsiteX50" fmla="*/ 5482173 w 9756600"/>
              <a:gd name="connsiteY50" fmla="*/ 743007 h 743010"/>
              <a:gd name="connsiteX51" fmla="*/ 2527539 w 9756600"/>
              <a:gd name="connsiteY51" fmla="*/ 738110 h 743010"/>
              <a:gd name="connsiteX52" fmla="*/ 2291960 w 9756600"/>
              <a:gd name="connsiteY52" fmla="*/ 737590 h 743010"/>
              <a:gd name="connsiteX53" fmla="*/ 2278590 w 9756600"/>
              <a:gd name="connsiteY53" fmla="*/ 741840 h 743010"/>
              <a:gd name="connsiteX54" fmla="*/ 2123097 w 9756600"/>
              <a:gd name="connsiteY54" fmla="*/ 743007 h 743010"/>
              <a:gd name="connsiteX55" fmla="*/ 1589019 w 9756600"/>
              <a:gd name="connsiteY55" fmla="*/ 741235 h 743010"/>
              <a:gd name="connsiteX56" fmla="*/ 1452450 w 9756600"/>
              <a:gd name="connsiteY56" fmla="*/ 740492 h 743010"/>
              <a:gd name="connsiteX57" fmla="*/ 1448212 w 9756600"/>
              <a:gd name="connsiteY57" fmla="*/ 741840 h 743010"/>
              <a:gd name="connsiteX58" fmla="*/ 1292719 w 9756600"/>
              <a:gd name="connsiteY58" fmla="*/ 743007 h 743010"/>
              <a:gd name="connsiteX59" fmla="*/ 55902 w 9756600"/>
              <a:gd name="connsiteY59" fmla="*/ 737175 h 743010"/>
              <a:gd name="connsiteX60" fmla="*/ 29632 w 9756600"/>
              <a:gd name="connsiteY60" fmla="*/ 731174 h 743010"/>
              <a:gd name="connsiteX61" fmla="*/ 9055 w 9756600"/>
              <a:gd name="connsiteY61" fmla="*/ 703513 h 743010"/>
              <a:gd name="connsiteX62" fmla="*/ 6928 w 9756600"/>
              <a:gd name="connsiteY62" fmla="*/ 628021 h 743010"/>
              <a:gd name="connsiteX63" fmla="*/ 5899 w 9756600"/>
              <a:gd name="connsiteY63" fmla="*/ 508540 h 743010"/>
              <a:gd name="connsiteX64" fmla="*/ 4870 w 9756600"/>
              <a:gd name="connsiteY64" fmla="*/ 445382 h 743010"/>
              <a:gd name="connsiteX65" fmla="*/ 5158 w 9756600"/>
              <a:gd name="connsiteY65" fmla="*/ 408480 h 743010"/>
              <a:gd name="connsiteX66" fmla="*/ 3395 w 9756600"/>
              <a:gd name="connsiteY66" fmla="*/ 368639 h 743010"/>
              <a:gd name="connsiteX67" fmla="*/ 274 w 9756600"/>
              <a:gd name="connsiteY67" fmla="*/ 284297 h 743010"/>
              <a:gd name="connsiteX68" fmla="*/ 274 w 9756600"/>
              <a:gd name="connsiteY68" fmla="*/ 227471 h 743010"/>
              <a:gd name="connsiteX69" fmla="*/ 274 w 9756600"/>
              <a:gd name="connsiteY69" fmla="*/ 138984 h 743010"/>
              <a:gd name="connsiteX70" fmla="*/ 1920 w 9756600"/>
              <a:gd name="connsiteY70" fmla="*/ 29165 h 743010"/>
              <a:gd name="connsiteX71" fmla="*/ 19684 w 9756600"/>
              <a:gd name="connsiteY71" fmla="*/ 8502 h 743010"/>
              <a:gd name="connsiteX72" fmla="*/ 26544 w 9756600"/>
              <a:gd name="connsiteY72" fmla="*/ 8502 h 743010"/>
              <a:gd name="connsiteX73" fmla="*/ 31071 w 9756600"/>
              <a:gd name="connsiteY73" fmla="*/ 8502 h 743010"/>
              <a:gd name="connsiteX74" fmla="*/ 37930 w 9756600"/>
              <a:gd name="connsiteY74" fmla="*/ 7167 h 743010"/>
              <a:gd name="connsiteX75" fmla="*/ 56793 w 9756600"/>
              <a:gd name="connsiteY75" fmla="*/ 1169 h 743010"/>
              <a:gd name="connsiteX76" fmla="*/ 212287 w 9756600"/>
              <a:gd name="connsiteY76" fmla="*/ 3 h 74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9756600" h="743010">
                <a:moveTo>
                  <a:pt x="212287" y="3"/>
                </a:moveTo>
                <a:cubicBezTo>
                  <a:pt x="345111" y="-61"/>
                  <a:pt x="545358" y="744"/>
                  <a:pt x="746364" y="1774"/>
                </a:cubicBezTo>
                <a:lnTo>
                  <a:pt x="882932" y="2517"/>
                </a:lnTo>
                <a:lnTo>
                  <a:pt x="887171" y="1169"/>
                </a:lnTo>
                <a:cubicBezTo>
                  <a:pt x="897596" y="3"/>
                  <a:pt x="955624" y="3"/>
                  <a:pt x="1042665" y="3"/>
                </a:cubicBezTo>
                <a:cubicBezTo>
                  <a:pt x="1219764" y="-81"/>
                  <a:pt x="1516725" y="1377"/>
                  <a:pt x="1775533" y="2856"/>
                </a:cubicBezTo>
                <a:lnTo>
                  <a:pt x="2049129" y="4501"/>
                </a:lnTo>
                <a:lnTo>
                  <a:pt x="2077993" y="1169"/>
                </a:lnTo>
                <a:cubicBezTo>
                  <a:pt x="2106707" y="3"/>
                  <a:pt x="2266537" y="3"/>
                  <a:pt x="2506278" y="3"/>
                </a:cubicBezTo>
                <a:cubicBezTo>
                  <a:pt x="2872124" y="-61"/>
                  <a:pt x="3423674" y="744"/>
                  <a:pt x="3977317" y="1774"/>
                </a:cubicBezTo>
                <a:lnTo>
                  <a:pt x="4353475" y="2517"/>
                </a:lnTo>
                <a:lnTo>
                  <a:pt x="4365150" y="1169"/>
                </a:lnTo>
                <a:cubicBezTo>
                  <a:pt x="4393864" y="3"/>
                  <a:pt x="4553694" y="3"/>
                  <a:pt x="4793434" y="3"/>
                </a:cubicBezTo>
                <a:cubicBezTo>
                  <a:pt x="5403178" y="-103"/>
                  <a:pt x="6528768" y="2202"/>
                  <a:pt x="7320146" y="3945"/>
                </a:cubicBezTo>
                <a:lnTo>
                  <a:pt x="7468241" y="4275"/>
                </a:lnTo>
                <a:lnTo>
                  <a:pt x="7478010" y="1169"/>
                </a:lnTo>
                <a:cubicBezTo>
                  <a:pt x="7488435" y="3"/>
                  <a:pt x="7546463" y="3"/>
                  <a:pt x="7633504" y="3"/>
                </a:cubicBezTo>
                <a:cubicBezTo>
                  <a:pt x="7766328" y="-61"/>
                  <a:pt x="7966575" y="744"/>
                  <a:pt x="8167581" y="1774"/>
                </a:cubicBezTo>
                <a:lnTo>
                  <a:pt x="8304149" y="2517"/>
                </a:lnTo>
                <a:lnTo>
                  <a:pt x="8308388" y="1169"/>
                </a:lnTo>
                <a:cubicBezTo>
                  <a:pt x="8318813" y="3"/>
                  <a:pt x="8376841" y="3"/>
                  <a:pt x="8463881" y="3"/>
                </a:cubicBezTo>
                <a:cubicBezTo>
                  <a:pt x="8818080" y="-166"/>
                  <a:pt x="9651726" y="5835"/>
                  <a:pt x="9700698" y="5835"/>
                </a:cubicBezTo>
                <a:cubicBezTo>
                  <a:pt x="9709517" y="5574"/>
                  <a:pt x="9718323" y="7588"/>
                  <a:pt x="9726968" y="11836"/>
                </a:cubicBezTo>
                <a:cubicBezTo>
                  <a:pt x="9738423" y="17333"/>
                  <a:pt x="9743773" y="12167"/>
                  <a:pt x="9747545" y="39497"/>
                </a:cubicBezTo>
                <a:cubicBezTo>
                  <a:pt x="9750701" y="62327"/>
                  <a:pt x="9749191" y="86157"/>
                  <a:pt x="9749672" y="114988"/>
                </a:cubicBezTo>
                <a:cubicBezTo>
                  <a:pt x="9750701" y="180811"/>
                  <a:pt x="9750701" y="156149"/>
                  <a:pt x="9750701" y="234470"/>
                </a:cubicBezTo>
                <a:lnTo>
                  <a:pt x="9751730" y="297628"/>
                </a:lnTo>
                <a:lnTo>
                  <a:pt x="9751442" y="334530"/>
                </a:lnTo>
                <a:lnTo>
                  <a:pt x="9753205" y="374371"/>
                </a:lnTo>
                <a:cubicBezTo>
                  <a:pt x="9755126" y="402388"/>
                  <a:pt x="9756943" y="430383"/>
                  <a:pt x="9756326" y="458712"/>
                </a:cubicBezTo>
                <a:cubicBezTo>
                  <a:pt x="9755091" y="500207"/>
                  <a:pt x="9756805" y="473878"/>
                  <a:pt x="9756326" y="515538"/>
                </a:cubicBezTo>
                <a:cubicBezTo>
                  <a:pt x="9756326" y="544866"/>
                  <a:pt x="9756943" y="574698"/>
                  <a:pt x="9756326" y="604026"/>
                </a:cubicBezTo>
                <a:cubicBezTo>
                  <a:pt x="9756607" y="640677"/>
                  <a:pt x="9756059" y="677341"/>
                  <a:pt x="9754679" y="713845"/>
                </a:cubicBezTo>
                <a:cubicBezTo>
                  <a:pt x="9753719" y="729677"/>
                  <a:pt x="9743775" y="732175"/>
                  <a:pt x="9736916" y="734508"/>
                </a:cubicBezTo>
                <a:lnTo>
                  <a:pt x="9730055" y="734508"/>
                </a:lnTo>
                <a:lnTo>
                  <a:pt x="9725529" y="734508"/>
                </a:lnTo>
                <a:cubicBezTo>
                  <a:pt x="9723231" y="734440"/>
                  <a:pt x="9720933" y="734885"/>
                  <a:pt x="9718671" y="735843"/>
                </a:cubicBezTo>
                <a:cubicBezTo>
                  <a:pt x="9712436" y="738753"/>
                  <a:pt x="9706139" y="740754"/>
                  <a:pt x="9699807" y="741840"/>
                </a:cubicBezTo>
                <a:cubicBezTo>
                  <a:pt x="9689382" y="743007"/>
                  <a:pt x="9631354" y="743007"/>
                  <a:pt x="9544314" y="743007"/>
                </a:cubicBezTo>
                <a:cubicBezTo>
                  <a:pt x="9411489" y="743070"/>
                  <a:pt x="9211243" y="742266"/>
                  <a:pt x="9010236" y="741235"/>
                </a:cubicBezTo>
                <a:lnTo>
                  <a:pt x="8873667" y="740492"/>
                </a:lnTo>
                <a:lnTo>
                  <a:pt x="8869429" y="741840"/>
                </a:lnTo>
                <a:cubicBezTo>
                  <a:pt x="8859004" y="743007"/>
                  <a:pt x="8800976" y="743007"/>
                  <a:pt x="8713936" y="743007"/>
                </a:cubicBezTo>
                <a:cubicBezTo>
                  <a:pt x="8625386" y="743049"/>
                  <a:pt x="8506871" y="742706"/>
                  <a:pt x="8378142" y="742167"/>
                </a:cubicBezTo>
                <a:lnTo>
                  <a:pt x="8202497" y="741276"/>
                </a:lnTo>
                <a:lnTo>
                  <a:pt x="8197613" y="741840"/>
                </a:lnTo>
                <a:cubicBezTo>
                  <a:pt x="8168899" y="743007"/>
                  <a:pt x="8009069" y="743007"/>
                  <a:pt x="7769329" y="743007"/>
                </a:cubicBezTo>
                <a:cubicBezTo>
                  <a:pt x="7403483" y="743070"/>
                  <a:pt x="6851933" y="742266"/>
                  <a:pt x="6298289" y="741235"/>
                </a:cubicBezTo>
                <a:lnTo>
                  <a:pt x="5922130" y="740492"/>
                </a:lnTo>
                <a:lnTo>
                  <a:pt x="5910456" y="741840"/>
                </a:lnTo>
                <a:cubicBezTo>
                  <a:pt x="5881743" y="743007"/>
                  <a:pt x="5721913" y="743007"/>
                  <a:pt x="5482173" y="743007"/>
                </a:cubicBezTo>
                <a:cubicBezTo>
                  <a:pt x="4750481" y="743133"/>
                  <a:pt x="3275969" y="739790"/>
                  <a:pt x="2527539" y="738110"/>
                </a:cubicBezTo>
                <a:lnTo>
                  <a:pt x="2291960" y="737590"/>
                </a:lnTo>
                <a:lnTo>
                  <a:pt x="2278590" y="741840"/>
                </a:lnTo>
                <a:cubicBezTo>
                  <a:pt x="2268165" y="743007"/>
                  <a:pt x="2210137" y="743007"/>
                  <a:pt x="2123097" y="743007"/>
                </a:cubicBezTo>
                <a:cubicBezTo>
                  <a:pt x="1990273" y="743070"/>
                  <a:pt x="1790026" y="742266"/>
                  <a:pt x="1589019" y="741235"/>
                </a:cubicBezTo>
                <a:lnTo>
                  <a:pt x="1452450" y="740492"/>
                </a:lnTo>
                <a:lnTo>
                  <a:pt x="1448212" y="741840"/>
                </a:lnTo>
                <a:cubicBezTo>
                  <a:pt x="1437787" y="743007"/>
                  <a:pt x="1379759" y="743007"/>
                  <a:pt x="1292719" y="743007"/>
                </a:cubicBezTo>
                <a:cubicBezTo>
                  <a:pt x="938520" y="743175"/>
                  <a:pt x="104874" y="737175"/>
                  <a:pt x="55902" y="737175"/>
                </a:cubicBezTo>
                <a:cubicBezTo>
                  <a:pt x="47083" y="737435"/>
                  <a:pt x="38277" y="735422"/>
                  <a:pt x="29632" y="731174"/>
                </a:cubicBezTo>
                <a:cubicBezTo>
                  <a:pt x="18177" y="725677"/>
                  <a:pt x="12827" y="730843"/>
                  <a:pt x="9055" y="703513"/>
                </a:cubicBezTo>
                <a:cubicBezTo>
                  <a:pt x="5899" y="680683"/>
                  <a:pt x="7408" y="656852"/>
                  <a:pt x="6928" y="628021"/>
                </a:cubicBezTo>
                <a:cubicBezTo>
                  <a:pt x="5899" y="562199"/>
                  <a:pt x="5899" y="586862"/>
                  <a:pt x="5899" y="508540"/>
                </a:cubicBezTo>
                <a:lnTo>
                  <a:pt x="4870" y="445382"/>
                </a:lnTo>
                <a:lnTo>
                  <a:pt x="5158" y="408480"/>
                </a:lnTo>
                <a:lnTo>
                  <a:pt x="3395" y="368639"/>
                </a:lnTo>
                <a:cubicBezTo>
                  <a:pt x="1474" y="340622"/>
                  <a:pt x="-343" y="312626"/>
                  <a:pt x="274" y="284297"/>
                </a:cubicBezTo>
                <a:cubicBezTo>
                  <a:pt x="1509" y="242803"/>
                  <a:pt x="-206" y="269132"/>
                  <a:pt x="274" y="227471"/>
                </a:cubicBezTo>
                <a:cubicBezTo>
                  <a:pt x="274" y="198143"/>
                  <a:pt x="-343" y="168312"/>
                  <a:pt x="274" y="138984"/>
                </a:cubicBezTo>
                <a:cubicBezTo>
                  <a:pt x="-7" y="102333"/>
                  <a:pt x="541" y="65669"/>
                  <a:pt x="1920" y="29165"/>
                </a:cubicBezTo>
                <a:cubicBezTo>
                  <a:pt x="2881" y="13333"/>
                  <a:pt x="12826" y="10835"/>
                  <a:pt x="19684" y="8502"/>
                </a:cubicBezTo>
                <a:lnTo>
                  <a:pt x="26544" y="8502"/>
                </a:lnTo>
                <a:lnTo>
                  <a:pt x="31071" y="8502"/>
                </a:lnTo>
                <a:cubicBezTo>
                  <a:pt x="33369" y="8570"/>
                  <a:pt x="35667" y="8124"/>
                  <a:pt x="37930" y="7167"/>
                </a:cubicBezTo>
                <a:cubicBezTo>
                  <a:pt x="44164" y="4257"/>
                  <a:pt x="50461" y="2256"/>
                  <a:pt x="56793" y="1169"/>
                </a:cubicBezTo>
                <a:cubicBezTo>
                  <a:pt x="67218" y="3"/>
                  <a:pt x="125246" y="3"/>
                  <a:pt x="212287" y="3"/>
                </a:cubicBezTo>
                <a:close/>
              </a:path>
            </a:pathLst>
          </a:custGeom>
          <a:solidFill>
            <a:schemeClr val="accent2"/>
          </a:solidFill>
          <a:ln w="5393" cap="flat">
            <a:noFill/>
            <a:prstDash val="solid"/>
            <a:miter/>
          </a:ln>
        </p:spPr>
        <p:txBody>
          <a:bodyPr vert="horz" wrap="square" lIns="457200" tIns="0" rIns="274320" bIns="36000" rtlCol="0" anchor="ctr">
            <a:no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sz="3000" dirty="0">
                <a:solidFill>
                  <a:schemeClr val="bg1"/>
                </a:solidFill>
                <a:latin typeface="Calibri" panose="020F0502020204030204" pitchFamily="34" charset="0"/>
              </a:rPr>
              <a:t>How should we structure eCommerce team, now and future?</a:t>
            </a:r>
          </a:p>
          <a:p>
            <a:pPr marL="514350" indent="-514350">
              <a:buFont typeface="+mj-lt"/>
              <a:buAutoNum type="arabicPeriod"/>
            </a:pPr>
            <a:endParaRPr lang="en-US" sz="30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sz="3000" dirty="0">
                <a:solidFill>
                  <a:schemeClr val="bg1"/>
                </a:solidFill>
                <a:latin typeface="Calibri" panose="020F0502020204030204" pitchFamily="34" charset="0"/>
              </a:rPr>
              <a:t>What type of talent profile should we look for eCommerce roles?</a:t>
            </a:r>
          </a:p>
          <a:p>
            <a:pPr marL="514350" indent="-514350">
              <a:buFont typeface="+mj-lt"/>
              <a:buAutoNum type="arabicPeriod"/>
            </a:pPr>
            <a:endParaRPr lang="en-US" sz="30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sz="3000" dirty="0">
                <a:solidFill>
                  <a:schemeClr val="bg1"/>
                </a:solidFill>
                <a:latin typeface="Calibri" panose="020F0502020204030204" pitchFamily="34" charset="0"/>
              </a:rPr>
              <a:t>Should we hire externally or develop internally?</a:t>
            </a:r>
          </a:p>
          <a:p>
            <a:pPr marL="514350" indent="-514350">
              <a:buFont typeface="+mj-lt"/>
              <a:buAutoNum type="arabicPeriod"/>
            </a:pPr>
            <a:endParaRPr lang="en-US" sz="30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sz="3000" dirty="0">
                <a:solidFill>
                  <a:schemeClr val="bg1"/>
                </a:solidFill>
                <a:latin typeface="Calibri" panose="020F0502020204030204" pitchFamily="34" charset="0"/>
              </a:rPr>
              <a:t>How can we break down the organization silos and bring everyone along on the digital commerce journey?</a:t>
            </a:r>
          </a:p>
        </p:txBody>
      </p:sp>
    </p:spTree>
    <p:extLst>
      <p:ext uri="{BB962C8B-B14F-4D97-AF65-F5344CB8AC3E}">
        <p14:creationId xmlns:p14="http://schemas.microsoft.com/office/powerpoint/2010/main" val="496539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60">
            <a:extLst>
              <a:ext uri="{FF2B5EF4-FFF2-40B4-BE49-F238E27FC236}">
                <a16:creationId xmlns:a16="http://schemas.microsoft.com/office/drawing/2014/main" id="{8C8D16A8-E23F-4A63-AC15-2AA6F9158C62}"/>
              </a:ext>
            </a:extLst>
          </p:cNvPr>
          <p:cNvSpPr/>
          <p:nvPr/>
        </p:nvSpPr>
        <p:spPr>
          <a:xfrm>
            <a:off x="6215605" y="1226916"/>
            <a:ext cx="5752617" cy="4838218"/>
          </a:xfrm>
          <a:custGeom>
            <a:avLst/>
            <a:gdLst>
              <a:gd name="connsiteX0" fmla="*/ 212287 w 9756600"/>
              <a:gd name="connsiteY0" fmla="*/ 3 h 743010"/>
              <a:gd name="connsiteX1" fmla="*/ 746364 w 9756600"/>
              <a:gd name="connsiteY1" fmla="*/ 1774 h 743010"/>
              <a:gd name="connsiteX2" fmla="*/ 882932 w 9756600"/>
              <a:gd name="connsiteY2" fmla="*/ 2517 h 743010"/>
              <a:gd name="connsiteX3" fmla="*/ 887171 w 9756600"/>
              <a:gd name="connsiteY3" fmla="*/ 1169 h 743010"/>
              <a:gd name="connsiteX4" fmla="*/ 1042665 w 9756600"/>
              <a:gd name="connsiteY4" fmla="*/ 3 h 743010"/>
              <a:gd name="connsiteX5" fmla="*/ 1775533 w 9756600"/>
              <a:gd name="connsiteY5" fmla="*/ 2856 h 743010"/>
              <a:gd name="connsiteX6" fmla="*/ 2049129 w 9756600"/>
              <a:gd name="connsiteY6" fmla="*/ 4501 h 743010"/>
              <a:gd name="connsiteX7" fmla="*/ 2077993 w 9756600"/>
              <a:gd name="connsiteY7" fmla="*/ 1169 h 743010"/>
              <a:gd name="connsiteX8" fmla="*/ 2506278 w 9756600"/>
              <a:gd name="connsiteY8" fmla="*/ 3 h 743010"/>
              <a:gd name="connsiteX9" fmla="*/ 3977317 w 9756600"/>
              <a:gd name="connsiteY9" fmla="*/ 1774 h 743010"/>
              <a:gd name="connsiteX10" fmla="*/ 4353475 w 9756600"/>
              <a:gd name="connsiteY10" fmla="*/ 2517 h 743010"/>
              <a:gd name="connsiteX11" fmla="*/ 4365150 w 9756600"/>
              <a:gd name="connsiteY11" fmla="*/ 1169 h 743010"/>
              <a:gd name="connsiteX12" fmla="*/ 4793434 w 9756600"/>
              <a:gd name="connsiteY12" fmla="*/ 3 h 743010"/>
              <a:gd name="connsiteX13" fmla="*/ 7320146 w 9756600"/>
              <a:gd name="connsiteY13" fmla="*/ 3945 h 743010"/>
              <a:gd name="connsiteX14" fmla="*/ 7468241 w 9756600"/>
              <a:gd name="connsiteY14" fmla="*/ 4275 h 743010"/>
              <a:gd name="connsiteX15" fmla="*/ 7478010 w 9756600"/>
              <a:gd name="connsiteY15" fmla="*/ 1169 h 743010"/>
              <a:gd name="connsiteX16" fmla="*/ 7633504 w 9756600"/>
              <a:gd name="connsiteY16" fmla="*/ 3 h 743010"/>
              <a:gd name="connsiteX17" fmla="*/ 8167581 w 9756600"/>
              <a:gd name="connsiteY17" fmla="*/ 1774 h 743010"/>
              <a:gd name="connsiteX18" fmla="*/ 8304149 w 9756600"/>
              <a:gd name="connsiteY18" fmla="*/ 2517 h 743010"/>
              <a:gd name="connsiteX19" fmla="*/ 8308388 w 9756600"/>
              <a:gd name="connsiteY19" fmla="*/ 1169 h 743010"/>
              <a:gd name="connsiteX20" fmla="*/ 8463881 w 9756600"/>
              <a:gd name="connsiteY20" fmla="*/ 3 h 743010"/>
              <a:gd name="connsiteX21" fmla="*/ 9700698 w 9756600"/>
              <a:gd name="connsiteY21" fmla="*/ 5835 h 743010"/>
              <a:gd name="connsiteX22" fmla="*/ 9726968 w 9756600"/>
              <a:gd name="connsiteY22" fmla="*/ 11836 h 743010"/>
              <a:gd name="connsiteX23" fmla="*/ 9747545 w 9756600"/>
              <a:gd name="connsiteY23" fmla="*/ 39497 h 743010"/>
              <a:gd name="connsiteX24" fmla="*/ 9749672 w 9756600"/>
              <a:gd name="connsiteY24" fmla="*/ 114988 h 743010"/>
              <a:gd name="connsiteX25" fmla="*/ 9750701 w 9756600"/>
              <a:gd name="connsiteY25" fmla="*/ 234470 h 743010"/>
              <a:gd name="connsiteX26" fmla="*/ 9751730 w 9756600"/>
              <a:gd name="connsiteY26" fmla="*/ 297628 h 743010"/>
              <a:gd name="connsiteX27" fmla="*/ 9751442 w 9756600"/>
              <a:gd name="connsiteY27" fmla="*/ 334530 h 743010"/>
              <a:gd name="connsiteX28" fmla="*/ 9753205 w 9756600"/>
              <a:gd name="connsiteY28" fmla="*/ 374371 h 743010"/>
              <a:gd name="connsiteX29" fmla="*/ 9756326 w 9756600"/>
              <a:gd name="connsiteY29" fmla="*/ 458712 h 743010"/>
              <a:gd name="connsiteX30" fmla="*/ 9756326 w 9756600"/>
              <a:gd name="connsiteY30" fmla="*/ 515538 h 743010"/>
              <a:gd name="connsiteX31" fmla="*/ 9756326 w 9756600"/>
              <a:gd name="connsiteY31" fmla="*/ 604026 h 743010"/>
              <a:gd name="connsiteX32" fmla="*/ 9754679 w 9756600"/>
              <a:gd name="connsiteY32" fmla="*/ 713845 h 743010"/>
              <a:gd name="connsiteX33" fmla="*/ 9736916 w 9756600"/>
              <a:gd name="connsiteY33" fmla="*/ 734508 h 743010"/>
              <a:gd name="connsiteX34" fmla="*/ 9730055 w 9756600"/>
              <a:gd name="connsiteY34" fmla="*/ 734508 h 743010"/>
              <a:gd name="connsiteX35" fmla="*/ 9725529 w 9756600"/>
              <a:gd name="connsiteY35" fmla="*/ 734508 h 743010"/>
              <a:gd name="connsiteX36" fmla="*/ 9718671 w 9756600"/>
              <a:gd name="connsiteY36" fmla="*/ 735843 h 743010"/>
              <a:gd name="connsiteX37" fmla="*/ 9699807 w 9756600"/>
              <a:gd name="connsiteY37" fmla="*/ 741840 h 743010"/>
              <a:gd name="connsiteX38" fmla="*/ 9544314 w 9756600"/>
              <a:gd name="connsiteY38" fmla="*/ 743007 h 743010"/>
              <a:gd name="connsiteX39" fmla="*/ 9010236 w 9756600"/>
              <a:gd name="connsiteY39" fmla="*/ 741235 h 743010"/>
              <a:gd name="connsiteX40" fmla="*/ 8873667 w 9756600"/>
              <a:gd name="connsiteY40" fmla="*/ 740492 h 743010"/>
              <a:gd name="connsiteX41" fmla="*/ 8869429 w 9756600"/>
              <a:gd name="connsiteY41" fmla="*/ 741840 h 743010"/>
              <a:gd name="connsiteX42" fmla="*/ 8713936 w 9756600"/>
              <a:gd name="connsiteY42" fmla="*/ 743007 h 743010"/>
              <a:gd name="connsiteX43" fmla="*/ 8378142 w 9756600"/>
              <a:gd name="connsiteY43" fmla="*/ 742167 h 743010"/>
              <a:gd name="connsiteX44" fmla="*/ 8202497 w 9756600"/>
              <a:gd name="connsiteY44" fmla="*/ 741276 h 743010"/>
              <a:gd name="connsiteX45" fmla="*/ 8197613 w 9756600"/>
              <a:gd name="connsiteY45" fmla="*/ 741840 h 743010"/>
              <a:gd name="connsiteX46" fmla="*/ 7769329 w 9756600"/>
              <a:gd name="connsiteY46" fmla="*/ 743007 h 743010"/>
              <a:gd name="connsiteX47" fmla="*/ 6298289 w 9756600"/>
              <a:gd name="connsiteY47" fmla="*/ 741235 h 743010"/>
              <a:gd name="connsiteX48" fmla="*/ 5922130 w 9756600"/>
              <a:gd name="connsiteY48" fmla="*/ 740492 h 743010"/>
              <a:gd name="connsiteX49" fmla="*/ 5910456 w 9756600"/>
              <a:gd name="connsiteY49" fmla="*/ 741840 h 743010"/>
              <a:gd name="connsiteX50" fmla="*/ 5482173 w 9756600"/>
              <a:gd name="connsiteY50" fmla="*/ 743007 h 743010"/>
              <a:gd name="connsiteX51" fmla="*/ 2527539 w 9756600"/>
              <a:gd name="connsiteY51" fmla="*/ 738110 h 743010"/>
              <a:gd name="connsiteX52" fmla="*/ 2291960 w 9756600"/>
              <a:gd name="connsiteY52" fmla="*/ 737590 h 743010"/>
              <a:gd name="connsiteX53" fmla="*/ 2278590 w 9756600"/>
              <a:gd name="connsiteY53" fmla="*/ 741840 h 743010"/>
              <a:gd name="connsiteX54" fmla="*/ 2123097 w 9756600"/>
              <a:gd name="connsiteY54" fmla="*/ 743007 h 743010"/>
              <a:gd name="connsiteX55" fmla="*/ 1589019 w 9756600"/>
              <a:gd name="connsiteY55" fmla="*/ 741235 h 743010"/>
              <a:gd name="connsiteX56" fmla="*/ 1452450 w 9756600"/>
              <a:gd name="connsiteY56" fmla="*/ 740492 h 743010"/>
              <a:gd name="connsiteX57" fmla="*/ 1448212 w 9756600"/>
              <a:gd name="connsiteY57" fmla="*/ 741840 h 743010"/>
              <a:gd name="connsiteX58" fmla="*/ 1292719 w 9756600"/>
              <a:gd name="connsiteY58" fmla="*/ 743007 h 743010"/>
              <a:gd name="connsiteX59" fmla="*/ 55902 w 9756600"/>
              <a:gd name="connsiteY59" fmla="*/ 737175 h 743010"/>
              <a:gd name="connsiteX60" fmla="*/ 29632 w 9756600"/>
              <a:gd name="connsiteY60" fmla="*/ 731174 h 743010"/>
              <a:gd name="connsiteX61" fmla="*/ 9055 w 9756600"/>
              <a:gd name="connsiteY61" fmla="*/ 703513 h 743010"/>
              <a:gd name="connsiteX62" fmla="*/ 6928 w 9756600"/>
              <a:gd name="connsiteY62" fmla="*/ 628021 h 743010"/>
              <a:gd name="connsiteX63" fmla="*/ 5899 w 9756600"/>
              <a:gd name="connsiteY63" fmla="*/ 508540 h 743010"/>
              <a:gd name="connsiteX64" fmla="*/ 4870 w 9756600"/>
              <a:gd name="connsiteY64" fmla="*/ 445382 h 743010"/>
              <a:gd name="connsiteX65" fmla="*/ 5158 w 9756600"/>
              <a:gd name="connsiteY65" fmla="*/ 408480 h 743010"/>
              <a:gd name="connsiteX66" fmla="*/ 3395 w 9756600"/>
              <a:gd name="connsiteY66" fmla="*/ 368639 h 743010"/>
              <a:gd name="connsiteX67" fmla="*/ 274 w 9756600"/>
              <a:gd name="connsiteY67" fmla="*/ 284297 h 743010"/>
              <a:gd name="connsiteX68" fmla="*/ 274 w 9756600"/>
              <a:gd name="connsiteY68" fmla="*/ 227471 h 743010"/>
              <a:gd name="connsiteX69" fmla="*/ 274 w 9756600"/>
              <a:gd name="connsiteY69" fmla="*/ 138984 h 743010"/>
              <a:gd name="connsiteX70" fmla="*/ 1920 w 9756600"/>
              <a:gd name="connsiteY70" fmla="*/ 29165 h 743010"/>
              <a:gd name="connsiteX71" fmla="*/ 19684 w 9756600"/>
              <a:gd name="connsiteY71" fmla="*/ 8502 h 743010"/>
              <a:gd name="connsiteX72" fmla="*/ 26544 w 9756600"/>
              <a:gd name="connsiteY72" fmla="*/ 8502 h 743010"/>
              <a:gd name="connsiteX73" fmla="*/ 31071 w 9756600"/>
              <a:gd name="connsiteY73" fmla="*/ 8502 h 743010"/>
              <a:gd name="connsiteX74" fmla="*/ 37930 w 9756600"/>
              <a:gd name="connsiteY74" fmla="*/ 7167 h 743010"/>
              <a:gd name="connsiteX75" fmla="*/ 56793 w 9756600"/>
              <a:gd name="connsiteY75" fmla="*/ 1169 h 743010"/>
              <a:gd name="connsiteX76" fmla="*/ 212287 w 9756600"/>
              <a:gd name="connsiteY76" fmla="*/ 3 h 74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9756600" h="743010">
                <a:moveTo>
                  <a:pt x="212287" y="3"/>
                </a:moveTo>
                <a:cubicBezTo>
                  <a:pt x="345111" y="-61"/>
                  <a:pt x="545358" y="744"/>
                  <a:pt x="746364" y="1774"/>
                </a:cubicBezTo>
                <a:lnTo>
                  <a:pt x="882932" y="2517"/>
                </a:lnTo>
                <a:lnTo>
                  <a:pt x="887171" y="1169"/>
                </a:lnTo>
                <a:cubicBezTo>
                  <a:pt x="897596" y="3"/>
                  <a:pt x="955624" y="3"/>
                  <a:pt x="1042665" y="3"/>
                </a:cubicBezTo>
                <a:cubicBezTo>
                  <a:pt x="1219764" y="-81"/>
                  <a:pt x="1516725" y="1377"/>
                  <a:pt x="1775533" y="2856"/>
                </a:cubicBezTo>
                <a:lnTo>
                  <a:pt x="2049129" y="4501"/>
                </a:lnTo>
                <a:lnTo>
                  <a:pt x="2077993" y="1169"/>
                </a:lnTo>
                <a:cubicBezTo>
                  <a:pt x="2106707" y="3"/>
                  <a:pt x="2266537" y="3"/>
                  <a:pt x="2506278" y="3"/>
                </a:cubicBezTo>
                <a:cubicBezTo>
                  <a:pt x="2872124" y="-61"/>
                  <a:pt x="3423674" y="744"/>
                  <a:pt x="3977317" y="1774"/>
                </a:cubicBezTo>
                <a:lnTo>
                  <a:pt x="4353475" y="2517"/>
                </a:lnTo>
                <a:lnTo>
                  <a:pt x="4365150" y="1169"/>
                </a:lnTo>
                <a:cubicBezTo>
                  <a:pt x="4393864" y="3"/>
                  <a:pt x="4553694" y="3"/>
                  <a:pt x="4793434" y="3"/>
                </a:cubicBezTo>
                <a:cubicBezTo>
                  <a:pt x="5403178" y="-103"/>
                  <a:pt x="6528768" y="2202"/>
                  <a:pt x="7320146" y="3945"/>
                </a:cubicBezTo>
                <a:lnTo>
                  <a:pt x="7468241" y="4275"/>
                </a:lnTo>
                <a:lnTo>
                  <a:pt x="7478010" y="1169"/>
                </a:lnTo>
                <a:cubicBezTo>
                  <a:pt x="7488435" y="3"/>
                  <a:pt x="7546463" y="3"/>
                  <a:pt x="7633504" y="3"/>
                </a:cubicBezTo>
                <a:cubicBezTo>
                  <a:pt x="7766328" y="-61"/>
                  <a:pt x="7966575" y="744"/>
                  <a:pt x="8167581" y="1774"/>
                </a:cubicBezTo>
                <a:lnTo>
                  <a:pt x="8304149" y="2517"/>
                </a:lnTo>
                <a:lnTo>
                  <a:pt x="8308388" y="1169"/>
                </a:lnTo>
                <a:cubicBezTo>
                  <a:pt x="8318813" y="3"/>
                  <a:pt x="8376841" y="3"/>
                  <a:pt x="8463881" y="3"/>
                </a:cubicBezTo>
                <a:cubicBezTo>
                  <a:pt x="8818080" y="-166"/>
                  <a:pt x="9651726" y="5835"/>
                  <a:pt x="9700698" y="5835"/>
                </a:cubicBezTo>
                <a:cubicBezTo>
                  <a:pt x="9709517" y="5574"/>
                  <a:pt x="9718323" y="7588"/>
                  <a:pt x="9726968" y="11836"/>
                </a:cubicBezTo>
                <a:cubicBezTo>
                  <a:pt x="9738423" y="17333"/>
                  <a:pt x="9743773" y="12167"/>
                  <a:pt x="9747545" y="39497"/>
                </a:cubicBezTo>
                <a:cubicBezTo>
                  <a:pt x="9750701" y="62327"/>
                  <a:pt x="9749191" y="86157"/>
                  <a:pt x="9749672" y="114988"/>
                </a:cubicBezTo>
                <a:cubicBezTo>
                  <a:pt x="9750701" y="180811"/>
                  <a:pt x="9750701" y="156149"/>
                  <a:pt x="9750701" y="234470"/>
                </a:cubicBezTo>
                <a:lnTo>
                  <a:pt x="9751730" y="297628"/>
                </a:lnTo>
                <a:lnTo>
                  <a:pt x="9751442" y="334530"/>
                </a:lnTo>
                <a:lnTo>
                  <a:pt x="9753205" y="374371"/>
                </a:lnTo>
                <a:cubicBezTo>
                  <a:pt x="9755126" y="402388"/>
                  <a:pt x="9756943" y="430383"/>
                  <a:pt x="9756326" y="458712"/>
                </a:cubicBezTo>
                <a:cubicBezTo>
                  <a:pt x="9755091" y="500207"/>
                  <a:pt x="9756805" y="473878"/>
                  <a:pt x="9756326" y="515538"/>
                </a:cubicBezTo>
                <a:cubicBezTo>
                  <a:pt x="9756326" y="544866"/>
                  <a:pt x="9756943" y="574698"/>
                  <a:pt x="9756326" y="604026"/>
                </a:cubicBezTo>
                <a:cubicBezTo>
                  <a:pt x="9756607" y="640677"/>
                  <a:pt x="9756059" y="677341"/>
                  <a:pt x="9754679" y="713845"/>
                </a:cubicBezTo>
                <a:cubicBezTo>
                  <a:pt x="9753719" y="729677"/>
                  <a:pt x="9743775" y="732175"/>
                  <a:pt x="9736916" y="734508"/>
                </a:cubicBezTo>
                <a:lnTo>
                  <a:pt x="9730055" y="734508"/>
                </a:lnTo>
                <a:lnTo>
                  <a:pt x="9725529" y="734508"/>
                </a:lnTo>
                <a:cubicBezTo>
                  <a:pt x="9723231" y="734440"/>
                  <a:pt x="9720933" y="734885"/>
                  <a:pt x="9718671" y="735843"/>
                </a:cubicBezTo>
                <a:cubicBezTo>
                  <a:pt x="9712436" y="738753"/>
                  <a:pt x="9706139" y="740754"/>
                  <a:pt x="9699807" y="741840"/>
                </a:cubicBezTo>
                <a:cubicBezTo>
                  <a:pt x="9689382" y="743007"/>
                  <a:pt x="9631354" y="743007"/>
                  <a:pt x="9544314" y="743007"/>
                </a:cubicBezTo>
                <a:cubicBezTo>
                  <a:pt x="9411489" y="743070"/>
                  <a:pt x="9211243" y="742266"/>
                  <a:pt x="9010236" y="741235"/>
                </a:cubicBezTo>
                <a:lnTo>
                  <a:pt x="8873667" y="740492"/>
                </a:lnTo>
                <a:lnTo>
                  <a:pt x="8869429" y="741840"/>
                </a:lnTo>
                <a:cubicBezTo>
                  <a:pt x="8859004" y="743007"/>
                  <a:pt x="8800976" y="743007"/>
                  <a:pt x="8713936" y="743007"/>
                </a:cubicBezTo>
                <a:cubicBezTo>
                  <a:pt x="8625386" y="743049"/>
                  <a:pt x="8506871" y="742706"/>
                  <a:pt x="8378142" y="742167"/>
                </a:cubicBezTo>
                <a:lnTo>
                  <a:pt x="8202497" y="741276"/>
                </a:lnTo>
                <a:lnTo>
                  <a:pt x="8197613" y="741840"/>
                </a:lnTo>
                <a:cubicBezTo>
                  <a:pt x="8168899" y="743007"/>
                  <a:pt x="8009069" y="743007"/>
                  <a:pt x="7769329" y="743007"/>
                </a:cubicBezTo>
                <a:cubicBezTo>
                  <a:pt x="7403483" y="743070"/>
                  <a:pt x="6851933" y="742266"/>
                  <a:pt x="6298289" y="741235"/>
                </a:cubicBezTo>
                <a:lnTo>
                  <a:pt x="5922130" y="740492"/>
                </a:lnTo>
                <a:lnTo>
                  <a:pt x="5910456" y="741840"/>
                </a:lnTo>
                <a:cubicBezTo>
                  <a:pt x="5881743" y="743007"/>
                  <a:pt x="5721913" y="743007"/>
                  <a:pt x="5482173" y="743007"/>
                </a:cubicBezTo>
                <a:cubicBezTo>
                  <a:pt x="4750481" y="743133"/>
                  <a:pt x="3275969" y="739790"/>
                  <a:pt x="2527539" y="738110"/>
                </a:cubicBezTo>
                <a:lnTo>
                  <a:pt x="2291960" y="737590"/>
                </a:lnTo>
                <a:lnTo>
                  <a:pt x="2278590" y="741840"/>
                </a:lnTo>
                <a:cubicBezTo>
                  <a:pt x="2268165" y="743007"/>
                  <a:pt x="2210137" y="743007"/>
                  <a:pt x="2123097" y="743007"/>
                </a:cubicBezTo>
                <a:cubicBezTo>
                  <a:pt x="1990273" y="743070"/>
                  <a:pt x="1790026" y="742266"/>
                  <a:pt x="1589019" y="741235"/>
                </a:cubicBezTo>
                <a:lnTo>
                  <a:pt x="1452450" y="740492"/>
                </a:lnTo>
                <a:lnTo>
                  <a:pt x="1448212" y="741840"/>
                </a:lnTo>
                <a:cubicBezTo>
                  <a:pt x="1437787" y="743007"/>
                  <a:pt x="1379759" y="743007"/>
                  <a:pt x="1292719" y="743007"/>
                </a:cubicBezTo>
                <a:cubicBezTo>
                  <a:pt x="938520" y="743175"/>
                  <a:pt x="104874" y="737175"/>
                  <a:pt x="55902" y="737175"/>
                </a:cubicBezTo>
                <a:cubicBezTo>
                  <a:pt x="47083" y="737435"/>
                  <a:pt x="38277" y="735422"/>
                  <a:pt x="29632" y="731174"/>
                </a:cubicBezTo>
                <a:cubicBezTo>
                  <a:pt x="18177" y="725677"/>
                  <a:pt x="12827" y="730843"/>
                  <a:pt x="9055" y="703513"/>
                </a:cubicBezTo>
                <a:cubicBezTo>
                  <a:pt x="5899" y="680683"/>
                  <a:pt x="7408" y="656852"/>
                  <a:pt x="6928" y="628021"/>
                </a:cubicBezTo>
                <a:cubicBezTo>
                  <a:pt x="5899" y="562199"/>
                  <a:pt x="5899" y="586862"/>
                  <a:pt x="5899" y="508540"/>
                </a:cubicBezTo>
                <a:lnTo>
                  <a:pt x="4870" y="445382"/>
                </a:lnTo>
                <a:lnTo>
                  <a:pt x="5158" y="408480"/>
                </a:lnTo>
                <a:lnTo>
                  <a:pt x="3395" y="368639"/>
                </a:lnTo>
                <a:cubicBezTo>
                  <a:pt x="1474" y="340622"/>
                  <a:pt x="-343" y="312626"/>
                  <a:pt x="274" y="284297"/>
                </a:cubicBezTo>
                <a:cubicBezTo>
                  <a:pt x="1509" y="242803"/>
                  <a:pt x="-206" y="269132"/>
                  <a:pt x="274" y="227471"/>
                </a:cubicBezTo>
                <a:cubicBezTo>
                  <a:pt x="274" y="198143"/>
                  <a:pt x="-343" y="168312"/>
                  <a:pt x="274" y="138984"/>
                </a:cubicBezTo>
                <a:cubicBezTo>
                  <a:pt x="-7" y="102333"/>
                  <a:pt x="541" y="65669"/>
                  <a:pt x="1920" y="29165"/>
                </a:cubicBezTo>
                <a:cubicBezTo>
                  <a:pt x="2881" y="13333"/>
                  <a:pt x="12826" y="10835"/>
                  <a:pt x="19684" y="8502"/>
                </a:cubicBezTo>
                <a:lnTo>
                  <a:pt x="26544" y="8502"/>
                </a:lnTo>
                <a:lnTo>
                  <a:pt x="31071" y="8502"/>
                </a:lnTo>
                <a:cubicBezTo>
                  <a:pt x="33369" y="8570"/>
                  <a:pt x="35667" y="8124"/>
                  <a:pt x="37930" y="7167"/>
                </a:cubicBezTo>
                <a:cubicBezTo>
                  <a:pt x="44164" y="4257"/>
                  <a:pt x="50461" y="2256"/>
                  <a:pt x="56793" y="1169"/>
                </a:cubicBezTo>
                <a:cubicBezTo>
                  <a:pt x="67218" y="3"/>
                  <a:pt x="125246" y="3"/>
                  <a:pt x="212287" y="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393" cap="flat">
            <a:noFill/>
            <a:prstDash val="solid"/>
            <a:miter/>
          </a:ln>
        </p:spPr>
        <p:txBody>
          <a:bodyPr vert="horz" wrap="square" lIns="457200" tIns="0" rIns="274320" bIns="36000" rtlCol="0" anchor="ctr">
            <a:noAutofit/>
          </a:bodyPr>
          <a:lstStyle/>
          <a:p>
            <a:pPr marL="514350" indent="-514350">
              <a:buFont typeface="+mj-lt"/>
              <a:buAutoNum type="arabicPeriod"/>
            </a:pPr>
            <a:endParaRPr lang="en-US" sz="3200" dirty="0">
              <a:solidFill>
                <a:srgbClr val="666666"/>
              </a:solidFill>
              <a:latin typeface="Calibri" panose="020F0502020204030204" pitchFamily="34" charset="0"/>
            </a:endParaRPr>
          </a:p>
        </p:txBody>
      </p:sp>
      <p:sp>
        <p:nvSpPr>
          <p:cNvPr id="7" name="Freeform 60">
            <a:extLst>
              <a:ext uri="{FF2B5EF4-FFF2-40B4-BE49-F238E27FC236}">
                <a16:creationId xmlns:a16="http://schemas.microsoft.com/office/drawing/2014/main" id="{9570EE69-37EF-4AF0-9DF4-606467F9B9EE}"/>
              </a:ext>
            </a:extLst>
          </p:cNvPr>
          <p:cNvSpPr/>
          <p:nvPr/>
        </p:nvSpPr>
        <p:spPr>
          <a:xfrm>
            <a:off x="289368" y="1226916"/>
            <a:ext cx="5648445" cy="4815069"/>
          </a:xfrm>
          <a:custGeom>
            <a:avLst/>
            <a:gdLst>
              <a:gd name="connsiteX0" fmla="*/ 212287 w 9756600"/>
              <a:gd name="connsiteY0" fmla="*/ 3 h 743010"/>
              <a:gd name="connsiteX1" fmla="*/ 746364 w 9756600"/>
              <a:gd name="connsiteY1" fmla="*/ 1774 h 743010"/>
              <a:gd name="connsiteX2" fmla="*/ 882932 w 9756600"/>
              <a:gd name="connsiteY2" fmla="*/ 2517 h 743010"/>
              <a:gd name="connsiteX3" fmla="*/ 887171 w 9756600"/>
              <a:gd name="connsiteY3" fmla="*/ 1169 h 743010"/>
              <a:gd name="connsiteX4" fmla="*/ 1042665 w 9756600"/>
              <a:gd name="connsiteY4" fmla="*/ 3 h 743010"/>
              <a:gd name="connsiteX5" fmla="*/ 1775533 w 9756600"/>
              <a:gd name="connsiteY5" fmla="*/ 2856 h 743010"/>
              <a:gd name="connsiteX6" fmla="*/ 2049129 w 9756600"/>
              <a:gd name="connsiteY6" fmla="*/ 4501 h 743010"/>
              <a:gd name="connsiteX7" fmla="*/ 2077993 w 9756600"/>
              <a:gd name="connsiteY7" fmla="*/ 1169 h 743010"/>
              <a:gd name="connsiteX8" fmla="*/ 2506278 w 9756600"/>
              <a:gd name="connsiteY8" fmla="*/ 3 h 743010"/>
              <a:gd name="connsiteX9" fmla="*/ 3977317 w 9756600"/>
              <a:gd name="connsiteY9" fmla="*/ 1774 h 743010"/>
              <a:gd name="connsiteX10" fmla="*/ 4353475 w 9756600"/>
              <a:gd name="connsiteY10" fmla="*/ 2517 h 743010"/>
              <a:gd name="connsiteX11" fmla="*/ 4365150 w 9756600"/>
              <a:gd name="connsiteY11" fmla="*/ 1169 h 743010"/>
              <a:gd name="connsiteX12" fmla="*/ 4793434 w 9756600"/>
              <a:gd name="connsiteY12" fmla="*/ 3 h 743010"/>
              <a:gd name="connsiteX13" fmla="*/ 7320146 w 9756600"/>
              <a:gd name="connsiteY13" fmla="*/ 3945 h 743010"/>
              <a:gd name="connsiteX14" fmla="*/ 7468241 w 9756600"/>
              <a:gd name="connsiteY14" fmla="*/ 4275 h 743010"/>
              <a:gd name="connsiteX15" fmla="*/ 7478010 w 9756600"/>
              <a:gd name="connsiteY15" fmla="*/ 1169 h 743010"/>
              <a:gd name="connsiteX16" fmla="*/ 7633504 w 9756600"/>
              <a:gd name="connsiteY16" fmla="*/ 3 h 743010"/>
              <a:gd name="connsiteX17" fmla="*/ 8167581 w 9756600"/>
              <a:gd name="connsiteY17" fmla="*/ 1774 h 743010"/>
              <a:gd name="connsiteX18" fmla="*/ 8304149 w 9756600"/>
              <a:gd name="connsiteY18" fmla="*/ 2517 h 743010"/>
              <a:gd name="connsiteX19" fmla="*/ 8308388 w 9756600"/>
              <a:gd name="connsiteY19" fmla="*/ 1169 h 743010"/>
              <a:gd name="connsiteX20" fmla="*/ 8463881 w 9756600"/>
              <a:gd name="connsiteY20" fmla="*/ 3 h 743010"/>
              <a:gd name="connsiteX21" fmla="*/ 9700698 w 9756600"/>
              <a:gd name="connsiteY21" fmla="*/ 5835 h 743010"/>
              <a:gd name="connsiteX22" fmla="*/ 9726968 w 9756600"/>
              <a:gd name="connsiteY22" fmla="*/ 11836 h 743010"/>
              <a:gd name="connsiteX23" fmla="*/ 9747545 w 9756600"/>
              <a:gd name="connsiteY23" fmla="*/ 39497 h 743010"/>
              <a:gd name="connsiteX24" fmla="*/ 9749672 w 9756600"/>
              <a:gd name="connsiteY24" fmla="*/ 114988 h 743010"/>
              <a:gd name="connsiteX25" fmla="*/ 9750701 w 9756600"/>
              <a:gd name="connsiteY25" fmla="*/ 234470 h 743010"/>
              <a:gd name="connsiteX26" fmla="*/ 9751730 w 9756600"/>
              <a:gd name="connsiteY26" fmla="*/ 297628 h 743010"/>
              <a:gd name="connsiteX27" fmla="*/ 9751442 w 9756600"/>
              <a:gd name="connsiteY27" fmla="*/ 334530 h 743010"/>
              <a:gd name="connsiteX28" fmla="*/ 9753205 w 9756600"/>
              <a:gd name="connsiteY28" fmla="*/ 374371 h 743010"/>
              <a:gd name="connsiteX29" fmla="*/ 9756326 w 9756600"/>
              <a:gd name="connsiteY29" fmla="*/ 458712 h 743010"/>
              <a:gd name="connsiteX30" fmla="*/ 9756326 w 9756600"/>
              <a:gd name="connsiteY30" fmla="*/ 515538 h 743010"/>
              <a:gd name="connsiteX31" fmla="*/ 9756326 w 9756600"/>
              <a:gd name="connsiteY31" fmla="*/ 604026 h 743010"/>
              <a:gd name="connsiteX32" fmla="*/ 9754679 w 9756600"/>
              <a:gd name="connsiteY32" fmla="*/ 713845 h 743010"/>
              <a:gd name="connsiteX33" fmla="*/ 9736916 w 9756600"/>
              <a:gd name="connsiteY33" fmla="*/ 734508 h 743010"/>
              <a:gd name="connsiteX34" fmla="*/ 9730055 w 9756600"/>
              <a:gd name="connsiteY34" fmla="*/ 734508 h 743010"/>
              <a:gd name="connsiteX35" fmla="*/ 9725529 w 9756600"/>
              <a:gd name="connsiteY35" fmla="*/ 734508 h 743010"/>
              <a:gd name="connsiteX36" fmla="*/ 9718671 w 9756600"/>
              <a:gd name="connsiteY36" fmla="*/ 735843 h 743010"/>
              <a:gd name="connsiteX37" fmla="*/ 9699807 w 9756600"/>
              <a:gd name="connsiteY37" fmla="*/ 741840 h 743010"/>
              <a:gd name="connsiteX38" fmla="*/ 9544314 w 9756600"/>
              <a:gd name="connsiteY38" fmla="*/ 743007 h 743010"/>
              <a:gd name="connsiteX39" fmla="*/ 9010236 w 9756600"/>
              <a:gd name="connsiteY39" fmla="*/ 741235 h 743010"/>
              <a:gd name="connsiteX40" fmla="*/ 8873667 w 9756600"/>
              <a:gd name="connsiteY40" fmla="*/ 740492 h 743010"/>
              <a:gd name="connsiteX41" fmla="*/ 8869429 w 9756600"/>
              <a:gd name="connsiteY41" fmla="*/ 741840 h 743010"/>
              <a:gd name="connsiteX42" fmla="*/ 8713936 w 9756600"/>
              <a:gd name="connsiteY42" fmla="*/ 743007 h 743010"/>
              <a:gd name="connsiteX43" fmla="*/ 8378142 w 9756600"/>
              <a:gd name="connsiteY43" fmla="*/ 742167 h 743010"/>
              <a:gd name="connsiteX44" fmla="*/ 8202497 w 9756600"/>
              <a:gd name="connsiteY44" fmla="*/ 741276 h 743010"/>
              <a:gd name="connsiteX45" fmla="*/ 8197613 w 9756600"/>
              <a:gd name="connsiteY45" fmla="*/ 741840 h 743010"/>
              <a:gd name="connsiteX46" fmla="*/ 7769329 w 9756600"/>
              <a:gd name="connsiteY46" fmla="*/ 743007 h 743010"/>
              <a:gd name="connsiteX47" fmla="*/ 6298289 w 9756600"/>
              <a:gd name="connsiteY47" fmla="*/ 741235 h 743010"/>
              <a:gd name="connsiteX48" fmla="*/ 5922130 w 9756600"/>
              <a:gd name="connsiteY48" fmla="*/ 740492 h 743010"/>
              <a:gd name="connsiteX49" fmla="*/ 5910456 w 9756600"/>
              <a:gd name="connsiteY49" fmla="*/ 741840 h 743010"/>
              <a:gd name="connsiteX50" fmla="*/ 5482173 w 9756600"/>
              <a:gd name="connsiteY50" fmla="*/ 743007 h 743010"/>
              <a:gd name="connsiteX51" fmla="*/ 2527539 w 9756600"/>
              <a:gd name="connsiteY51" fmla="*/ 738110 h 743010"/>
              <a:gd name="connsiteX52" fmla="*/ 2291960 w 9756600"/>
              <a:gd name="connsiteY52" fmla="*/ 737590 h 743010"/>
              <a:gd name="connsiteX53" fmla="*/ 2278590 w 9756600"/>
              <a:gd name="connsiteY53" fmla="*/ 741840 h 743010"/>
              <a:gd name="connsiteX54" fmla="*/ 2123097 w 9756600"/>
              <a:gd name="connsiteY54" fmla="*/ 743007 h 743010"/>
              <a:gd name="connsiteX55" fmla="*/ 1589019 w 9756600"/>
              <a:gd name="connsiteY55" fmla="*/ 741235 h 743010"/>
              <a:gd name="connsiteX56" fmla="*/ 1452450 w 9756600"/>
              <a:gd name="connsiteY56" fmla="*/ 740492 h 743010"/>
              <a:gd name="connsiteX57" fmla="*/ 1448212 w 9756600"/>
              <a:gd name="connsiteY57" fmla="*/ 741840 h 743010"/>
              <a:gd name="connsiteX58" fmla="*/ 1292719 w 9756600"/>
              <a:gd name="connsiteY58" fmla="*/ 743007 h 743010"/>
              <a:gd name="connsiteX59" fmla="*/ 55902 w 9756600"/>
              <a:gd name="connsiteY59" fmla="*/ 737175 h 743010"/>
              <a:gd name="connsiteX60" fmla="*/ 29632 w 9756600"/>
              <a:gd name="connsiteY60" fmla="*/ 731174 h 743010"/>
              <a:gd name="connsiteX61" fmla="*/ 9055 w 9756600"/>
              <a:gd name="connsiteY61" fmla="*/ 703513 h 743010"/>
              <a:gd name="connsiteX62" fmla="*/ 6928 w 9756600"/>
              <a:gd name="connsiteY62" fmla="*/ 628021 h 743010"/>
              <a:gd name="connsiteX63" fmla="*/ 5899 w 9756600"/>
              <a:gd name="connsiteY63" fmla="*/ 508540 h 743010"/>
              <a:gd name="connsiteX64" fmla="*/ 4870 w 9756600"/>
              <a:gd name="connsiteY64" fmla="*/ 445382 h 743010"/>
              <a:gd name="connsiteX65" fmla="*/ 5158 w 9756600"/>
              <a:gd name="connsiteY65" fmla="*/ 408480 h 743010"/>
              <a:gd name="connsiteX66" fmla="*/ 3395 w 9756600"/>
              <a:gd name="connsiteY66" fmla="*/ 368639 h 743010"/>
              <a:gd name="connsiteX67" fmla="*/ 274 w 9756600"/>
              <a:gd name="connsiteY67" fmla="*/ 284297 h 743010"/>
              <a:gd name="connsiteX68" fmla="*/ 274 w 9756600"/>
              <a:gd name="connsiteY68" fmla="*/ 227471 h 743010"/>
              <a:gd name="connsiteX69" fmla="*/ 274 w 9756600"/>
              <a:gd name="connsiteY69" fmla="*/ 138984 h 743010"/>
              <a:gd name="connsiteX70" fmla="*/ 1920 w 9756600"/>
              <a:gd name="connsiteY70" fmla="*/ 29165 h 743010"/>
              <a:gd name="connsiteX71" fmla="*/ 19684 w 9756600"/>
              <a:gd name="connsiteY71" fmla="*/ 8502 h 743010"/>
              <a:gd name="connsiteX72" fmla="*/ 26544 w 9756600"/>
              <a:gd name="connsiteY72" fmla="*/ 8502 h 743010"/>
              <a:gd name="connsiteX73" fmla="*/ 31071 w 9756600"/>
              <a:gd name="connsiteY73" fmla="*/ 8502 h 743010"/>
              <a:gd name="connsiteX74" fmla="*/ 37930 w 9756600"/>
              <a:gd name="connsiteY74" fmla="*/ 7167 h 743010"/>
              <a:gd name="connsiteX75" fmla="*/ 56793 w 9756600"/>
              <a:gd name="connsiteY75" fmla="*/ 1169 h 743010"/>
              <a:gd name="connsiteX76" fmla="*/ 212287 w 9756600"/>
              <a:gd name="connsiteY76" fmla="*/ 3 h 74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9756600" h="743010">
                <a:moveTo>
                  <a:pt x="212287" y="3"/>
                </a:moveTo>
                <a:cubicBezTo>
                  <a:pt x="345111" y="-61"/>
                  <a:pt x="545358" y="744"/>
                  <a:pt x="746364" y="1774"/>
                </a:cubicBezTo>
                <a:lnTo>
                  <a:pt x="882932" y="2517"/>
                </a:lnTo>
                <a:lnTo>
                  <a:pt x="887171" y="1169"/>
                </a:lnTo>
                <a:cubicBezTo>
                  <a:pt x="897596" y="3"/>
                  <a:pt x="955624" y="3"/>
                  <a:pt x="1042665" y="3"/>
                </a:cubicBezTo>
                <a:cubicBezTo>
                  <a:pt x="1219764" y="-81"/>
                  <a:pt x="1516725" y="1377"/>
                  <a:pt x="1775533" y="2856"/>
                </a:cubicBezTo>
                <a:lnTo>
                  <a:pt x="2049129" y="4501"/>
                </a:lnTo>
                <a:lnTo>
                  <a:pt x="2077993" y="1169"/>
                </a:lnTo>
                <a:cubicBezTo>
                  <a:pt x="2106707" y="3"/>
                  <a:pt x="2266537" y="3"/>
                  <a:pt x="2506278" y="3"/>
                </a:cubicBezTo>
                <a:cubicBezTo>
                  <a:pt x="2872124" y="-61"/>
                  <a:pt x="3423674" y="744"/>
                  <a:pt x="3977317" y="1774"/>
                </a:cubicBezTo>
                <a:lnTo>
                  <a:pt x="4353475" y="2517"/>
                </a:lnTo>
                <a:lnTo>
                  <a:pt x="4365150" y="1169"/>
                </a:lnTo>
                <a:cubicBezTo>
                  <a:pt x="4393864" y="3"/>
                  <a:pt x="4553694" y="3"/>
                  <a:pt x="4793434" y="3"/>
                </a:cubicBezTo>
                <a:cubicBezTo>
                  <a:pt x="5403178" y="-103"/>
                  <a:pt x="6528768" y="2202"/>
                  <a:pt x="7320146" y="3945"/>
                </a:cubicBezTo>
                <a:lnTo>
                  <a:pt x="7468241" y="4275"/>
                </a:lnTo>
                <a:lnTo>
                  <a:pt x="7478010" y="1169"/>
                </a:lnTo>
                <a:cubicBezTo>
                  <a:pt x="7488435" y="3"/>
                  <a:pt x="7546463" y="3"/>
                  <a:pt x="7633504" y="3"/>
                </a:cubicBezTo>
                <a:cubicBezTo>
                  <a:pt x="7766328" y="-61"/>
                  <a:pt x="7966575" y="744"/>
                  <a:pt x="8167581" y="1774"/>
                </a:cubicBezTo>
                <a:lnTo>
                  <a:pt x="8304149" y="2517"/>
                </a:lnTo>
                <a:lnTo>
                  <a:pt x="8308388" y="1169"/>
                </a:lnTo>
                <a:cubicBezTo>
                  <a:pt x="8318813" y="3"/>
                  <a:pt x="8376841" y="3"/>
                  <a:pt x="8463881" y="3"/>
                </a:cubicBezTo>
                <a:cubicBezTo>
                  <a:pt x="8818080" y="-166"/>
                  <a:pt x="9651726" y="5835"/>
                  <a:pt x="9700698" y="5835"/>
                </a:cubicBezTo>
                <a:cubicBezTo>
                  <a:pt x="9709517" y="5574"/>
                  <a:pt x="9718323" y="7588"/>
                  <a:pt x="9726968" y="11836"/>
                </a:cubicBezTo>
                <a:cubicBezTo>
                  <a:pt x="9738423" y="17333"/>
                  <a:pt x="9743773" y="12167"/>
                  <a:pt x="9747545" y="39497"/>
                </a:cubicBezTo>
                <a:cubicBezTo>
                  <a:pt x="9750701" y="62327"/>
                  <a:pt x="9749191" y="86157"/>
                  <a:pt x="9749672" y="114988"/>
                </a:cubicBezTo>
                <a:cubicBezTo>
                  <a:pt x="9750701" y="180811"/>
                  <a:pt x="9750701" y="156149"/>
                  <a:pt x="9750701" y="234470"/>
                </a:cubicBezTo>
                <a:lnTo>
                  <a:pt x="9751730" y="297628"/>
                </a:lnTo>
                <a:lnTo>
                  <a:pt x="9751442" y="334530"/>
                </a:lnTo>
                <a:lnTo>
                  <a:pt x="9753205" y="374371"/>
                </a:lnTo>
                <a:cubicBezTo>
                  <a:pt x="9755126" y="402388"/>
                  <a:pt x="9756943" y="430383"/>
                  <a:pt x="9756326" y="458712"/>
                </a:cubicBezTo>
                <a:cubicBezTo>
                  <a:pt x="9755091" y="500207"/>
                  <a:pt x="9756805" y="473878"/>
                  <a:pt x="9756326" y="515538"/>
                </a:cubicBezTo>
                <a:cubicBezTo>
                  <a:pt x="9756326" y="544866"/>
                  <a:pt x="9756943" y="574698"/>
                  <a:pt x="9756326" y="604026"/>
                </a:cubicBezTo>
                <a:cubicBezTo>
                  <a:pt x="9756607" y="640677"/>
                  <a:pt x="9756059" y="677341"/>
                  <a:pt x="9754679" y="713845"/>
                </a:cubicBezTo>
                <a:cubicBezTo>
                  <a:pt x="9753719" y="729677"/>
                  <a:pt x="9743775" y="732175"/>
                  <a:pt x="9736916" y="734508"/>
                </a:cubicBezTo>
                <a:lnTo>
                  <a:pt x="9730055" y="734508"/>
                </a:lnTo>
                <a:lnTo>
                  <a:pt x="9725529" y="734508"/>
                </a:lnTo>
                <a:cubicBezTo>
                  <a:pt x="9723231" y="734440"/>
                  <a:pt x="9720933" y="734885"/>
                  <a:pt x="9718671" y="735843"/>
                </a:cubicBezTo>
                <a:cubicBezTo>
                  <a:pt x="9712436" y="738753"/>
                  <a:pt x="9706139" y="740754"/>
                  <a:pt x="9699807" y="741840"/>
                </a:cubicBezTo>
                <a:cubicBezTo>
                  <a:pt x="9689382" y="743007"/>
                  <a:pt x="9631354" y="743007"/>
                  <a:pt x="9544314" y="743007"/>
                </a:cubicBezTo>
                <a:cubicBezTo>
                  <a:pt x="9411489" y="743070"/>
                  <a:pt x="9211243" y="742266"/>
                  <a:pt x="9010236" y="741235"/>
                </a:cubicBezTo>
                <a:lnTo>
                  <a:pt x="8873667" y="740492"/>
                </a:lnTo>
                <a:lnTo>
                  <a:pt x="8869429" y="741840"/>
                </a:lnTo>
                <a:cubicBezTo>
                  <a:pt x="8859004" y="743007"/>
                  <a:pt x="8800976" y="743007"/>
                  <a:pt x="8713936" y="743007"/>
                </a:cubicBezTo>
                <a:cubicBezTo>
                  <a:pt x="8625386" y="743049"/>
                  <a:pt x="8506871" y="742706"/>
                  <a:pt x="8378142" y="742167"/>
                </a:cubicBezTo>
                <a:lnTo>
                  <a:pt x="8202497" y="741276"/>
                </a:lnTo>
                <a:lnTo>
                  <a:pt x="8197613" y="741840"/>
                </a:lnTo>
                <a:cubicBezTo>
                  <a:pt x="8168899" y="743007"/>
                  <a:pt x="8009069" y="743007"/>
                  <a:pt x="7769329" y="743007"/>
                </a:cubicBezTo>
                <a:cubicBezTo>
                  <a:pt x="7403483" y="743070"/>
                  <a:pt x="6851933" y="742266"/>
                  <a:pt x="6298289" y="741235"/>
                </a:cubicBezTo>
                <a:lnTo>
                  <a:pt x="5922130" y="740492"/>
                </a:lnTo>
                <a:lnTo>
                  <a:pt x="5910456" y="741840"/>
                </a:lnTo>
                <a:cubicBezTo>
                  <a:pt x="5881743" y="743007"/>
                  <a:pt x="5721913" y="743007"/>
                  <a:pt x="5482173" y="743007"/>
                </a:cubicBezTo>
                <a:cubicBezTo>
                  <a:pt x="4750481" y="743133"/>
                  <a:pt x="3275969" y="739790"/>
                  <a:pt x="2527539" y="738110"/>
                </a:cubicBezTo>
                <a:lnTo>
                  <a:pt x="2291960" y="737590"/>
                </a:lnTo>
                <a:lnTo>
                  <a:pt x="2278590" y="741840"/>
                </a:lnTo>
                <a:cubicBezTo>
                  <a:pt x="2268165" y="743007"/>
                  <a:pt x="2210137" y="743007"/>
                  <a:pt x="2123097" y="743007"/>
                </a:cubicBezTo>
                <a:cubicBezTo>
                  <a:pt x="1990273" y="743070"/>
                  <a:pt x="1790026" y="742266"/>
                  <a:pt x="1589019" y="741235"/>
                </a:cubicBezTo>
                <a:lnTo>
                  <a:pt x="1452450" y="740492"/>
                </a:lnTo>
                <a:lnTo>
                  <a:pt x="1448212" y="741840"/>
                </a:lnTo>
                <a:cubicBezTo>
                  <a:pt x="1437787" y="743007"/>
                  <a:pt x="1379759" y="743007"/>
                  <a:pt x="1292719" y="743007"/>
                </a:cubicBezTo>
                <a:cubicBezTo>
                  <a:pt x="938520" y="743175"/>
                  <a:pt x="104874" y="737175"/>
                  <a:pt x="55902" y="737175"/>
                </a:cubicBezTo>
                <a:cubicBezTo>
                  <a:pt x="47083" y="737435"/>
                  <a:pt x="38277" y="735422"/>
                  <a:pt x="29632" y="731174"/>
                </a:cubicBezTo>
                <a:cubicBezTo>
                  <a:pt x="18177" y="725677"/>
                  <a:pt x="12827" y="730843"/>
                  <a:pt x="9055" y="703513"/>
                </a:cubicBezTo>
                <a:cubicBezTo>
                  <a:pt x="5899" y="680683"/>
                  <a:pt x="7408" y="656852"/>
                  <a:pt x="6928" y="628021"/>
                </a:cubicBezTo>
                <a:cubicBezTo>
                  <a:pt x="5899" y="562199"/>
                  <a:pt x="5899" y="586862"/>
                  <a:pt x="5899" y="508540"/>
                </a:cubicBezTo>
                <a:lnTo>
                  <a:pt x="4870" y="445382"/>
                </a:lnTo>
                <a:lnTo>
                  <a:pt x="5158" y="408480"/>
                </a:lnTo>
                <a:lnTo>
                  <a:pt x="3395" y="368639"/>
                </a:lnTo>
                <a:cubicBezTo>
                  <a:pt x="1474" y="340622"/>
                  <a:pt x="-343" y="312626"/>
                  <a:pt x="274" y="284297"/>
                </a:cubicBezTo>
                <a:cubicBezTo>
                  <a:pt x="1509" y="242803"/>
                  <a:pt x="-206" y="269132"/>
                  <a:pt x="274" y="227471"/>
                </a:cubicBezTo>
                <a:cubicBezTo>
                  <a:pt x="274" y="198143"/>
                  <a:pt x="-343" y="168312"/>
                  <a:pt x="274" y="138984"/>
                </a:cubicBezTo>
                <a:cubicBezTo>
                  <a:pt x="-7" y="102333"/>
                  <a:pt x="541" y="65669"/>
                  <a:pt x="1920" y="29165"/>
                </a:cubicBezTo>
                <a:cubicBezTo>
                  <a:pt x="2881" y="13333"/>
                  <a:pt x="12826" y="10835"/>
                  <a:pt x="19684" y="8502"/>
                </a:cubicBezTo>
                <a:lnTo>
                  <a:pt x="26544" y="8502"/>
                </a:lnTo>
                <a:lnTo>
                  <a:pt x="31071" y="8502"/>
                </a:lnTo>
                <a:cubicBezTo>
                  <a:pt x="33369" y="8570"/>
                  <a:pt x="35667" y="8124"/>
                  <a:pt x="37930" y="7167"/>
                </a:cubicBezTo>
                <a:cubicBezTo>
                  <a:pt x="44164" y="4257"/>
                  <a:pt x="50461" y="2256"/>
                  <a:pt x="56793" y="1169"/>
                </a:cubicBezTo>
                <a:cubicBezTo>
                  <a:pt x="67218" y="3"/>
                  <a:pt x="125246" y="3"/>
                  <a:pt x="212287" y="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393" cap="flat">
            <a:noFill/>
            <a:prstDash val="solid"/>
            <a:miter/>
          </a:ln>
        </p:spPr>
        <p:txBody>
          <a:bodyPr vert="horz" wrap="square" lIns="457200" tIns="0" rIns="274320" bIns="36000" rtlCol="0" anchor="ctr">
            <a:noAutofit/>
          </a:bodyPr>
          <a:lstStyle/>
          <a:p>
            <a:pPr marL="514350" indent="-514350">
              <a:buFont typeface="+mj-lt"/>
              <a:buAutoNum type="arabicPeriod"/>
            </a:pPr>
            <a:endParaRPr lang="en-US" sz="3200" dirty="0">
              <a:solidFill>
                <a:srgbClr val="666666"/>
              </a:solidFill>
              <a:latin typeface="Calibri" panose="020F050202020403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323B38A-2BDE-4865-A0FB-F595DB9134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numbers behind the questions…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644783B-AF37-4D92-AA09-1696F28FE6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112" y="1389612"/>
            <a:ext cx="5074594" cy="4370365"/>
          </a:xfrm>
          <a:prstGeom prst="rect">
            <a:avLst/>
          </a:prstGeom>
        </p:spPr>
      </p:pic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03AE623B-FAD9-4FD3-B85F-B322EF5432F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79642103"/>
              </p:ext>
            </p:extLst>
          </p:nvPr>
        </p:nvGraphicFramePr>
        <p:xfrm>
          <a:off x="6361889" y="1332690"/>
          <a:ext cx="5605757" cy="40766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D677D24D-CD36-4CF6-BB13-5F38402263CD}"/>
              </a:ext>
            </a:extLst>
          </p:cNvPr>
          <p:cNvSpPr txBox="1"/>
          <p:nvPr/>
        </p:nvSpPr>
        <p:spPr>
          <a:xfrm>
            <a:off x="6811766" y="5476126"/>
            <a:ext cx="2044558" cy="1849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B480571-DCCD-4241-890F-873D379C4FE5}"/>
              </a:ext>
            </a:extLst>
          </p:cNvPr>
          <p:cNvSpPr txBox="1"/>
          <p:nvPr/>
        </p:nvSpPr>
        <p:spPr>
          <a:xfrm>
            <a:off x="6441896" y="5548044"/>
            <a:ext cx="5524073" cy="32877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US" dirty="0">
                <a:solidFill>
                  <a:schemeClr val="tx2"/>
                </a:solidFill>
              </a:rPr>
              <a:t>Source: average of Kantar, Edge, and Euromonitor estimate</a:t>
            </a:r>
          </a:p>
        </p:txBody>
      </p:sp>
    </p:spTree>
    <p:extLst>
      <p:ext uri="{BB962C8B-B14F-4D97-AF65-F5344CB8AC3E}">
        <p14:creationId xmlns:p14="http://schemas.microsoft.com/office/powerpoint/2010/main" val="13315093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aphic 6">
            <a:extLst>
              <a:ext uri="{FF2B5EF4-FFF2-40B4-BE49-F238E27FC236}">
                <a16:creationId xmlns:a16="http://schemas.microsoft.com/office/drawing/2014/main" id="{491D5807-3628-CF42-FE10-F3ECF4A0BA79}"/>
              </a:ext>
            </a:extLst>
          </p:cNvPr>
          <p:cNvSpPr/>
          <p:nvPr/>
        </p:nvSpPr>
        <p:spPr>
          <a:xfrm>
            <a:off x="262418" y="1215072"/>
            <a:ext cx="11667163" cy="1007135"/>
          </a:xfrm>
          <a:custGeom>
            <a:avLst/>
            <a:gdLst>
              <a:gd name="connsiteX0" fmla="*/ 12189489 w 12182526"/>
              <a:gd name="connsiteY0" fmla="*/ 1565919 h 1771486"/>
              <a:gd name="connsiteX1" fmla="*/ 12187595 w 12182526"/>
              <a:gd name="connsiteY1" fmla="*/ 1538446 h 1771486"/>
              <a:gd name="connsiteX2" fmla="*/ 12186648 w 12182526"/>
              <a:gd name="connsiteY2" fmla="*/ 1523289 h 1771486"/>
              <a:gd name="connsiteX3" fmla="*/ 12185701 w 12182526"/>
              <a:gd name="connsiteY3" fmla="*/ 1506238 h 1771486"/>
              <a:gd name="connsiteX4" fmla="*/ 12183805 w 12182526"/>
              <a:gd name="connsiteY4" fmla="*/ 1474029 h 1771486"/>
              <a:gd name="connsiteX5" fmla="*/ 12173385 w 12182526"/>
              <a:gd name="connsiteY5" fmla="*/ 1358456 h 1771486"/>
              <a:gd name="connsiteX6" fmla="*/ 12180016 w 12182526"/>
              <a:gd name="connsiteY6" fmla="*/ 1263724 h 1771486"/>
              <a:gd name="connsiteX7" fmla="*/ 12183805 w 12182526"/>
              <a:gd name="connsiteY7" fmla="*/ 948266 h 1771486"/>
              <a:gd name="connsiteX8" fmla="*/ 12183805 w 12182526"/>
              <a:gd name="connsiteY8" fmla="*/ 910374 h 1771486"/>
              <a:gd name="connsiteX9" fmla="*/ 12180016 w 12182526"/>
              <a:gd name="connsiteY9" fmla="*/ 596811 h 1771486"/>
              <a:gd name="connsiteX10" fmla="*/ 12184753 w 12182526"/>
              <a:gd name="connsiteY10" fmla="*/ 560813 h 1771486"/>
              <a:gd name="connsiteX11" fmla="*/ 12185701 w 12182526"/>
              <a:gd name="connsiteY11" fmla="*/ 550392 h 1771486"/>
              <a:gd name="connsiteX12" fmla="*/ 12188542 w 12182526"/>
              <a:gd name="connsiteY12" fmla="*/ 465134 h 1771486"/>
              <a:gd name="connsiteX13" fmla="*/ 12175279 w 12182526"/>
              <a:gd name="connsiteY13" fmla="*/ 359981 h 1771486"/>
              <a:gd name="connsiteX14" fmla="*/ 12176228 w 12182526"/>
              <a:gd name="connsiteY14" fmla="*/ 332509 h 1771486"/>
              <a:gd name="connsiteX15" fmla="*/ 12176228 w 12182526"/>
              <a:gd name="connsiteY15" fmla="*/ 330614 h 1771486"/>
              <a:gd name="connsiteX16" fmla="*/ 12176228 w 12182526"/>
              <a:gd name="connsiteY16" fmla="*/ 328720 h 1771486"/>
              <a:gd name="connsiteX17" fmla="*/ 12176228 w 12182526"/>
              <a:gd name="connsiteY17" fmla="*/ 327772 h 1771486"/>
              <a:gd name="connsiteX18" fmla="*/ 12179069 w 12182526"/>
              <a:gd name="connsiteY18" fmla="*/ 284196 h 1771486"/>
              <a:gd name="connsiteX19" fmla="*/ 12179069 w 12182526"/>
              <a:gd name="connsiteY19" fmla="*/ 273775 h 1771486"/>
              <a:gd name="connsiteX20" fmla="*/ 12180016 w 12182526"/>
              <a:gd name="connsiteY20" fmla="*/ 257671 h 1771486"/>
              <a:gd name="connsiteX21" fmla="*/ 12180964 w 12182526"/>
              <a:gd name="connsiteY21" fmla="*/ 233041 h 1771486"/>
              <a:gd name="connsiteX22" fmla="*/ 12164859 w 12182526"/>
              <a:gd name="connsiteY22" fmla="*/ 173359 h 1771486"/>
              <a:gd name="connsiteX23" fmla="*/ 12162965 w 12182526"/>
              <a:gd name="connsiteY23" fmla="*/ 170517 h 1771486"/>
              <a:gd name="connsiteX24" fmla="*/ 12160122 w 12182526"/>
              <a:gd name="connsiteY24" fmla="*/ 154413 h 1771486"/>
              <a:gd name="connsiteX25" fmla="*/ 12157281 w 12182526"/>
              <a:gd name="connsiteY25" fmla="*/ 147782 h 1771486"/>
              <a:gd name="connsiteX26" fmla="*/ 12147808 w 12182526"/>
              <a:gd name="connsiteY26" fmla="*/ 124099 h 1771486"/>
              <a:gd name="connsiteX27" fmla="*/ 12144019 w 12182526"/>
              <a:gd name="connsiteY27" fmla="*/ 117468 h 1771486"/>
              <a:gd name="connsiteX28" fmla="*/ 12120336 w 12182526"/>
              <a:gd name="connsiteY28" fmla="*/ 83364 h 1771486"/>
              <a:gd name="connsiteX29" fmla="*/ 12039813 w 12182526"/>
              <a:gd name="connsiteY29" fmla="*/ 50208 h 1771486"/>
              <a:gd name="connsiteX30" fmla="*/ 12020867 w 12182526"/>
              <a:gd name="connsiteY30" fmla="*/ 52103 h 1771486"/>
              <a:gd name="connsiteX31" fmla="*/ 11962132 w 12182526"/>
              <a:gd name="connsiteY31" fmla="*/ 48313 h 1771486"/>
              <a:gd name="connsiteX32" fmla="*/ 11951712 w 12182526"/>
              <a:gd name="connsiteY32" fmla="*/ 48313 h 1771486"/>
              <a:gd name="connsiteX33" fmla="*/ 11910030 w 12182526"/>
              <a:gd name="connsiteY33" fmla="*/ 50208 h 1771486"/>
              <a:gd name="connsiteX34" fmla="*/ 11886347 w 12182526"/>
              <a:gd name="connsiteY34" fmla="*/ 51155 h 1771486"/>
              <a:gd name="connsiteX35" fmla="*/ 11867401 w 12182526"/>
              <a:gd name="connsiteY35" fmla="*/ 51155 h 1771486"/>
              <a:gd name="connsiteX36" fmla="*/ 11830456 w 12182526"/>
              <a:gd name="connsiteY36" fmla="*/ 50208 h 1771486"/>
              <a:gd name="connsiteX37" fmla="*/ 11819088 w 12182526"/>
              <a:gd name="connsiteY37" fmla="*/ 50208 h 1771486"/>
              <a:gd name="connsiteX38" fmla="*/ 11510262 w 12182526"/>
              <a:gd name="connsiteY38" fmla="*/ 46419 h 1771486"/>
              <a:gd name="connsiteX39" fmla="*/ 11484684 w 12182526"/>
              <a:gd name="connsiteY39" fmla="*/ 46419 h 1771486"/>
              <a:gd name="connsiteX40" fmla="*/ 11069758 w 12182526"/>
              <a:gd name="connsiteY40" fmla="*/ 49261 h 1771486"/>
              <a:gd name="connsiteX41" fmla="*/ 10917240 w 12182526"/>
              <a:gd name="connsiteY41" fmla="*/ 51155 h 1771486"/>
              <a:gd name="connsiteX42" fmla="*/ 10381057 w 12182526"/>
              <a:gd name="connsiteY42" fmla="*/ 53997 h 1771486"/>
              <a:gd name="connsiteX43" fmla="*/ 10323270 w 12182526"/>
              <a:gd name="connsiteY43" fmla="*/ 53997 h 1771486"/>
              <a:gd name="connsiteX44" fmla="*/ 10038127 w 12182526"/>
              <a:gd name="connsiteY44" fmla="*/ 51155 h 1771486"/>
              <a:gd name="connsiteX45" fmla="*/ 9914976 w 12182526"/>
              <a:gd name="connsiteY45" fmla="*/ 47366 h 1771486"/>
              <a:gd name="connsiteX46" fmla="*/ 9730248 w 12182526"/>
              <a:gd name="connsiteY46" fmla="*/ 42629 h 1771486"/>
              <a:gd name="connsiteX47" fmla="*/ 9521838 w 12182526"/>
              <a:gd name="connsiteY47" fmla="*/ 41682 h 1771486"/>
              <a:gd name="connsiteX48" fmla="*/ 9194066 w 12182526"/>
              <a:gd name="connsiteY48" fmla="*/ 43577 h 1771486"/>
              <a:gd name="connsiteX49" fmla="*/ 9141016 w 12182526"/>
              <a:gd name="connsiteY49" fmla="*/ 43577 h 1771486"/>
              <a:gd name="connsiteX50" fmla="*/ 9075651 w 12182526"/>
              <a:gd name="connsiteY50" fmla="*/ 45471 h 1771486"/>
              <a:gd name="connsiteX51" fmla="*/ 8551783 w 12182526"/>
              <a:gd name="connsiteY51" fmla="*/ 48313 h 1771486"/>
              <a:gd name="connsiteX52" fmla="*/ 8547047 w 12182526"/>
              <a:gd name="connsiteY52" fmla="*/ 48313 h 1771486"/>
              <a:gd name="connsiteX53" fmla="*/ 8193697 w 12182526"/>
              <a:gd name="connsiteY53" fmla="*/ 46419 h 1771486"/>
              <a:gd name="connsiteX54" fmla="*/ 8185171 w 12182526"/>
              <a:gd name="connsiteY54" fmla="*/ 46419 h 1771486"/>
              <a:gd name="connsiteX55" fmla="*/ 7819506 w 12182526"/>
              <a:gd name="connsiteY55" fmla="*/ 44524 h 1771486"/>
              <a:gd name="connsiteX56" fmla="*/ 7372371 w 12182526"/>
              <a:gd name="connsiteY56" fmla="*/ 52103 h 1771486"/>
              <a:gd name="connsiteX57" fmla="*/ 7228378 w 12182526"/>
              <a:gd name="connsiteY57" fmla="*/ 58734 h 1771486"/>
              <a:gd name="connsiteX58" fmla="*/ 7090070 w 12182526"/>
              <a:gd name="connsiteY58" fmla="*/ 65365 h 1771486"/>
              <a:gd name="connsiteX59" fmla="*/ 6868397 w 12182526"/>
              <a:gd name="connsiteY59" fmla="*/ 69154 h 1771486"/>
              <a:gd name="connsiteX60" fmla="*/ 6785980 w 12182526"/>
              <a:gd name="connsiteY60" fmla="*/ 69154 h 1771486"/>
              <a:gd name="connsiteX61" fmla="*/ 6226115 w 12182526"/>
              <a:gd name="connsiteY61" fmla="*/ 53050 h 1771486"/>
              <a:gd name="connsiteX62" fmla="*/ 6198642 w 12182526"/>
              <a:gd name="connsiteY62" fmla="*/ 52103 h 1771486"/>
              <a:gd name="connsiteX63" fmla="*/ 5091226 w 12182526"/>
              <a:gd name="connsiteY63" fmla="*/ 33156 h 1771486"/>
              <a:gd name="connsiteX64" fmla="*/ 5023966 w 12182526"/>
              <a:gd name="connsiteY64" fmla="*/ 33156 h 1771486"/>
              <a:gd name="connsiteX65" fmla="*/ 4437576 w 12182526"/>
              <a:gd name="connsiteY65" fmla="*/ 35051 h 1771486"/>
              <a:gd name="connsiteX66" fmla="*/ 4315371 w 12182526"/>
              <a:gd name="connsiteY66" fmla="*/ 35998 h 1771486"/>
              <a:gd name="connsiteX67" fmla="*/ 3998019 w 12182526"/>
              <a:gd name="connsiteY67" fmla="*/ 37893 h 1771486"/>
              <a:gd name="connsiteX68" fmla="*/ 3846448 w 12182526"/>
              <a:gd name="connsiteY68" fmla="*/ 36945 h 1771486"/>
              <a:gd name="connsiteX69" fmla="*/ 3018491 w 12182526"/>
              <a:gd name="connsiteY69" fmla="*/ 18946 h 1771486"/>
              <a:gd name="connsiteX70" fmla="*/ 2661352 w 12182526"/>
              <a:gd name="connsiteY70" fmla="*/ 9473 h 1771486"/>
              <a:gd name="connsiteX71" fmla="*/ 2068330 w 12182526"/>
              <a:gd name="connsiteY71" fmla="*/ 0 h 1771486"/>
              <a:gd name="connsiteX72" fmla="*/ 2046541 w 12182526"/>
              <a:gd name="connsiteY72" fmla="*/ 0 h 1771486"/>
              <a:gd name="connsiteX73" fmla="*/ 1768030 w 12182526"/>
              <a:gd name="connsiteY73" fmla="*/ 1895 h 1771486"/>
              <a:gd name="connsiteX74" fmla="*/ 1760451 w 12182526"/>
              <a:gd name="connsiteY74" fmla="*/ 1895 h 1771486"/>
              <a:gd name="connsiteX75" fmla="*/ 1599407 w 12182526"/>
              <a:gd name="connsiteY75" fmla="*/ 2842 h 1771486"/>
              <a:gd name="connsiteX76" fmla="*/ 1517937 w 12182526"/>
              <a:gd name="connsiteY76" fmla="*/ 2842 h 1771486"/>
              <a:gd name="connsiteX77" fmla="*/ 1455414 w 12182526"/>
              <a:gd name="connsiteY77" fmla="*/ 2842 h 1771486"/>
              <a:gd name="connsiteX78" fmla="*/ 1368261 w 12182526"/>
              <a:gd name="connsiteY78" fmla="*/ 2842 h 1771486"/>
              <a:gd name="connsiteX79" fmla="*/ 1265003 w 12182526"/>
              <a:gd name="connsiteY79" fmla="*/ 2842 h 1771486"/>
              <a:gd name="connsiteX80" fmla="*/ 847235 w 12182526"/>
              <a:gd name="connsiteY80" fmla="*/ 13262 h 1771486"/>
              <a:gd name="connsiteX81" fmla="*/ 792291 w 12182526"/>
              <a:gd name="connsiteY81" fmla="*/ 17052 h 1771486"/>
              <a:gd name="connsiteX82" fmla="*/ 707032 w 12182526"/>
              <a:gd name="connsiteY82" fmla="*/ 22736 h 1771486"/>
              <a:gd name="connsiteX83" fmla="*/ 441782 w 12182526"/>
              <a:gd name="connsiteY83" fmla="*/ 24630 h 1771486"/>
              <a:gd name="connsiteX84" fmla="*/ 155692 w 12182526"/>
              <a:gd name="connsiteY84" fmla="*/ 45471 h 1771486"/>
              <a:gd name="connsiteX85" fmla="*/ 54329 w 12182526"/>
              <a:gd name="connsiteY85" fmla="*/ 75786 h 1771486"/>
              <a:gd name="connsiteX86" fmla="*/ 9805 w 12182526"/>
              <a:gd name="connsiteY86" fmla="*/ 352403 h 1771486"/>
              <a:gd name="connsiteX87" fmla="*/ 1279 w 12182526"/>
              <a:gd name="connsiteY87" fmla="*/ 538077 h 1771486"/>
              <a:gd name="connsiteX88" fmla="*/ 6963 w 12182526"/>
              <a:gd name="connsiteY88" fmla="*/ 901848 h 1771486"/>
              <a:gd name="connsiteX89" fmla="*/ 18331 w 12182526"/>
              <a:gd name="connsiteY89" fmla="*/ 1086575 h 1771486"/>
              <a:gd name="connsiteX90" fmla="*/ 28751 w 12182526"/>
              <a:gd name="connsiteY90" fmla="*/ 1265619 h 1771486"/>
              <a:gd name="connsiteX91" fmla="*/ 30646 w 12182526"/>
              <a:gd name="connsiteY91" fmla="*/ 1294985 h 1771486"/>
              <a:gd name="connsiteX92" fmla="*/ 33488 w 12182526"/>
              <a:gd name="connsiteY92" fmla="*/ 1448451 h 1771486"/>
              <a:gd name="connsiteX93" fmla="*/ 29698 w 12182526"/>
              <a:gd name="connsiteY93" fmla="*/ 1495817 h 1771486"/>
              <a:gd name="connsiteX94" fmla="*/ 25909 w 12182526"/>
              <a:gd name="connsiteY94" fmla="*/ 1537499 h 1771486"/>
              <a:gd name="connsiteX95" fmla="*/ 31593 w 12182526"/>
              <a:gd name="connsiteY95" fmla="*/ 1600969 h 1771486"/>
              <a:gd name="connsiteX96" fmla="*/ 31593 w 12182526"/>
              <a:gd name="connsiteY96" fmla="*/ 1603811 h 1771486"/>
              <a:gd name="connsiteX97" fmla="*/ 51487 w 12182526"/>
              <a:gd name="connsiteY97" fmla="*/ 1662545 h 1771486"/>
              <a:gd name="connsiteX98" fmla="*/ 72328 w 12182526"/>
              <a:gd name="connsiteY98" fmla="*/ 1688123 h 1771486"/>
              <a:gd name="connsiteX99" fmla="*/ 147166 w 12182526"/>
              <a:gd name="connsiteY99" fmla="*/ 1726016 h 1771486"/>
              <a:gd name="connsiteX100" fmla="*/ 284527 w 12182526"/>
              <a:gd name="connsiteY100" fmla="*/ 1730752 h 1771486"/>
              <a:gd name="connsiteX101" fmla="*/ 421889 w 12182526"/>
              <a:gd name="connsiteY101" fmla="*/ 1738331 h 1771486"/>
              <a:gd name="connsiteX102" fmla="*/ 442730 w 12182526"/>
              <a:gd name="connsiteY102" fmla="*/ 1739278 h 1771486"/>
              <a:gd name="connsiteX103" fmla="*/ 609458 w 12182526"/>
              <a:gd name="connsiteY103" fmla="*/ 1743067 h 1771486"/>
              <a:gd name="connsiteX104" fmla="*/ 720294 w 12182526"/>
              <a:gd name="connsiteY104" fmla="*/ 1740225 h 1771486"/>
              <a:gd name="connsiteX105" fmla="*/ 923968 w 12182526"/>
              <a:gd name="connsiteY105" fmla="*/ 1724121 h 1771486"/>
              <a:gd name="connsiteX106" fmla="*/ 996912 w 12182526"/>
              <a:gd name="connsiteY106" fmla="*/ 1717490 h 1771486"/>
              <a:gd name="connsiteX107" fmla="*/ 1296265 w 12182526"/>
              <a:gd name="connsiteY107" fmla="*/ 1697596 h 1771486"/>
              <a:gd name="connsiteX108" fmla="*/ 1466782 w 12182526"/>
              <a:gd name="connsiteY108" fmla="*/ 1694754 h 1771486"/>
              <a:gd name="connsiteX109" fmla="*/ 1880761 w 12182526"/>
              <a:gd name="connsiteY109" fmla="*/ 1706122 h 1771486"/>
              <a:gd name="connsiteX110" fmla="*/ 2466204 w 12182526"/>
              <a:gd name="connsiteY110" fmla="*/ 1735489 h 1771486"/>
              <a:gd name="connsiteX111" fmla="*/ 3050700 w 12182526"/>
              <a:gd name="connsiteY111" fmla="*/ 1762961 h 1771486"/>
              <a:gd name="connsiteX112" fmla="*/ 3316897 w 12182526"/>
              <a:gd name="connsiteY112" fmla="*/ 1767698 h 1771486"/>
              <a:gd name="connsiteX113" fmla="*/ 3331107 w 12182526"/>
              <a:gd name="connsiteY113" fmla="*/ 1767698 h 1771486"/>
              <a:gd name="connsiteX114" fmla="*/ 3381314 w 12182526"/>
              <a:gd name="connsiteY114" fmla="*/ 1767698 h 1771486"/>
              <a:gd name="connsiteX115" fmla="*/ 3629512 w 12182526"/>
              <a:gd name="connsiteY115" fmla="*/ 1759172 h 1771486"/>
              <a:gd name="connsiteX116" fmla="*/ 3777294 w 12182526"/>
              <a:gd name="connsiteY116" fmla="*/ 1744962 h 1771486"/>
              <a:gd name="connsiteX117" fmla="*/ 3991388 w 12182526"/>
              <a:gd name="connsiteY117" fmla="*/ 1736436 h 1771486"/>
              <a:gd name="connsiteX118" fmla="*/ 4394946 w 12182526"/>
              <a:gd name="connsiteY118" fmla="*/ 1712753 h 1771486"/>
              <a:gd name="connsiteX119" fmla="*/ 4803241 w 12182526"/>
              <a:gd name="connsiteY119" fmla="*/ 1714648 h 1771486"/>
              <a:gd name="connsiteX120" fmla="*/ 6448735 w 12182526"/>
              <a:gd name="connsiteY120" fmla="*/ 1739278 h 1771486"/>
              <a:gd name="connsiteX121" fmla="*/ 6862713 w 12182526"/>
              <a:gd name="connsiteY121" fmla="*/ 1736436 h 1771486"/>
              <a:gd name="connsiteX122" fmla="*/ 7276691 w 12182526"/>
              <a:gd name="connsiteY122" fmla="*/ 1745909 h 1771486"/>
              <a:gd name="connsiteX123" fmla="*/ 8103702 w 12182526"/>
              <a:gd name="connsiteY123" fmla="*/ 1774329 h 1771486"/>
              <a:gd name="connsiteX124" fmla="*/ 8517680 w 12182526"/>
              <a:gd name="connsiteY124" fmla="*/ 1777171 h 1771486"/>
              <a:gd name="connsiteX125" fmla="*/ 8930711 w 12182526"/>
              <a:gd name="connsiteY125" fmla="*/ 1761066 h 1771486"/>
              <a:gd name="connsiteX126" fmla="*/ 9755827 w 12182526"/>
              <a:gd name="connsiteY126" fmla="*/ 1734541 h 1771486"/>
              <a:gd name="connsiteX127" fmla="*/ 10489051 w 12182526"/>
              <a:gd name="connsiteY127" fmla="*/ 1729805 h 1771486"/>
              <a:gd name="connsiteX128" fmla="*/ 10550627 w 12182526"/>
              <a:gd name="connsiteY128" fmla="*/ 1731699 h 1771486"/>
              <a:gd name="connsiteX129" fmla="*/ 10761879 w 12182526"/>
              <a:gd name="connsiteY129" fmla="*/ 1739278 h 1771486"/>
              <a:gd name="connsiteX130" fmla="*/ 11316061 w 12182526"/>
              <a:gd name="connsiteY130" fmla="*/ 1749699 h 1771486"/>
              <a:gd name="connsiteX131" fmla="*/ 11419319 w 12182526"/>
              <a:gd name="connsiteY131" fmla="*/ 1748751 h 1771486"/>
              <a:gd name="connsiteX132" fmla="*/ 11747091 w 12182526"/>
              <a:gd name="connsiteY132" fmla="*/ 1738331 h 1771486"/>
              <a:gd name="connsiteX133" fmla="*/ 11796352 w 12182526"/>
              <a:gd name="connsiteY133" fmla="*/ 1735489 h 1771486"/>
              <a:gd name="connsiteX134" fmla="*/ 11905293 w 12182526"/>
              <a:gd name="connsiteY134" fmla="*/ 1730752 h 1771486"/>
              <a:gd name="connsiteX135" fmla="*/ 11906242 w 12182526"/>
              <a:gd name="connsiteY135" fmla="*/ 1730752 h 1771486"/>
              <a:gd name="connsiteX136" fmla="*/ 11930872 w 12182526"/>
              <a:gd name="connsiteY136" fmla="*/ 1730752 h 1771486"/>
              <a:gd name="connsiteX137" fmla="*/ 11961185 w 12182526"/>
              <a:gd name="connsiteY137" fmla="*/ 1730752 h 1771486"/>
              <a:gd name="connsiteX138" fmla="*/ 11971606 w 12182526"/>
              <a:gd name="connsiteY138" fmla="*/ 1730752 h 1771486"/>
              <a:gd name="connsiteX139" fmla="*/ 11972554 w 12182526"/>
              <a:gd name="connsiteY139" fmla="*/ 1730752 h 1771486"/>
              <a:gd name="connsiteX140" fmla="*/ 12015183 w 12182526"/>
              <a:gd name="connsiteY140" fmla="*/ 1726963 h 1771486"/>
              <a:gd name="connsiteX141" fmla="*/ 12018972 w 12182526"/>
              <a:gd name="connsiteY141" fmla="*/ 1726963 h 1771486"/>
              <a:gd name="connsiteX142" fmla="*/ 12023708 w 12182526"/>
              <a:gd name="connsiteY142" fmla="*/ 1727910 h 1771486"/>
              <a:gd name="connsiteX143" fmla="*/ 12054023 w 12182526"/>
              <a:gd name="connsiteY143" fmla="*/ 1731699 h 1771486"/>
              <a:gd name="connsiteX144" fmla="*/ 12113704 w 12182526"/>
              <a:gd name="connsiteY144" fmla="*/ 1715595 h 1771486"/>
              <a:gd name="connsiteX145" fmla="*/ 12189489 w 12182526"/>
              <a:gd name="connsiteY145" fmla="*/ 1565919 h 1771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</a:cxnLst>
            <a:rect l="l" t="t" r="r" b="b"/>
            <a:pathLst>
              <a:path w="12182526" h="1771486">
                <a:moveTo>
                  <a:pt x="12189489" y="1565919"/>
                </a:moveTo>
                <a:cubicBezTo>
                  <a:pt x="12188542" y="1557393"/>
                  <a:pt x="12187595" y="1547919"/>
                  <a:pt x="12187595" y="1538446"/>
                </a:cubicBezTo>
                <a:cubicBezTo>
                  <a:pt x="12187595" y="1533710"/>
                  <a:pt x="12187595" y="1528973"/>
                  <a:pt x="12186648" y="1523289"/>
                </a:cubicBezTo>
                <a:cubicBezTo>
                  <a:pt x="12186648" y="1517605"/>
                  <a:pt x="12185701" y="1511921"/>
                  <a:pt x="12185701" y="1506238"/>
                </a:cubicBezTo>
                <a:cubicBezTo>
                  <a:pt x="12184753" y="1495817"/>
                  <a:pt x="12183805" y="1484449"/>
                  <a:pt x="12183805" y="1474029"/>
                </a:cubicBezTo>
                <a:cubicBezTo>
                  <a:pt x="12182858" y="1440873"/>
                  <a:pt x="12180016" y="1404874"/>
                  <a:pt x="12173385" y="1358456"/>
                </a:cubicBezTo>
                <a:cubicBezTo>
                  <a:pt x="12176228" y="1322458"/>
                  <a:pt x="12178122" y="1292143"/>
                  <a:pt x="12180016" y="1263724"/>
                </a:cubicBezTo>
                <a:cubicBezTo>
                  <a:pt x="12185701" y="1158571"/>
                  <a:pt x="12184753" y="1051524"/>
                  <a:pt x="12183805" y="948266"/>
                </a:cubicBezTo>
                <a:lnTo>
                  <a:pt x="12183805" y="910374"/>
                </a:lnTo>
                <a:cubicBezTo>
                  <a:pt x="12182858" y="811853"/>
                  <a:pt x="12181911" y="704805"/>
                  <a:pt x="12180016" y="596811"/>
                </a:cubicBezTo>
                <a:cubicBezTo>
                  <a:pt x="12181911" y="584496"/>
                  <a:pt x="12183805" y="572181"/>
                  <a:pt x="12184753" y="560813"/>
                </a:cubicBezTo>
                <a:lnTo>
                  <a:pt x="12185701" y="550392"/>
                </a:lnTo>
                <a:cubicBezTo>
                  <a:pt x="12188542" y="524815"/>
                  <a:pt x="12189489" y="497343"/>
                  <a:pt x="12188542" y="465134"/>
                </a:cubicBezTo>
                <a:cubicBezTo>
                  <a:pt x="12186648" y="433872"/>
                  <a:pt x="12182858" y="400716"/>
                  <a:pt x="12175279" y="359981"/>
                </a:cubicBezTo>
                <a:cubicBezTo>
                  <a:pt x="12175279" y="350508"/>
                  <a:pt x="12175279" y="341982"/>
                  <a:pt x="12176228" y="332509"/>
                </a:cubicBezTo>
                <a:lnTo>
                  <a:pt x="12176228" y="330614"/>
                </a:lnTo>
                <a:lnTo>
                  <a:pt x="12176228" y="328720"/>
                </a:lnTo>
                <a:cubicBezTo>
                  <a:pt x="12176228" y="328720"/>
                  <a:pt x="12176228" y="327772"/>
                  <a:pt x="12176228" y="327772"/>
                </a:cubicBezTo>
                <a:cubicBezTo>
                  <a:pt x="12178122" y="313563"/>
                  <a:pt x="12179069" y="299353"/>
                  <a:pt x="12179069" y="284196"/>
                </a:cubicBezTo>
                <a:lnTo>
                  <a:pt x="12179069" y="273775"/>
                </a:lnTo>
                <a:cubicBezTo>
                  <a:pt x="12179069" y="268091"/>
                  <a:pt x="12179069" y="262407"/>
                  <a:pt x="12180016" y="257671"/>
                </a:cubicBezTo>
                <a:cubicBezTo>
                  <a:pt x="12180964" y="249145"/>
                  <a:pt x="12181911" y="240619"/>
                  <a:pt x="12180964" y="233041"/>
                </a:cubicBezTo>
                <a:cubicBezTo>
                  <a:pt x="12180964" y="212199"/>
                  <a:pt x="12175279" y="191358"/>
                  <a:pt x="12164859" y="173359"/>
                </a:cubicBezTo>
                <a:cubicBezTo>
                  <a:pt x="12163912" y="172412"/>
                  <a:pt x="12163912" y="171465"/>
                  <a:pt x="12162965" y="170517"/>
                </a:cubicBezTo>
                <a:cubicBezTo>
                  <a:pt x="12162018" y="164834"/>
                  <a:pt x="12161070" y="160097"/>
                  <a:pt x="12160122" y="154413"/>
                </a:cubicBezTo>
                <a:lnTo>
                  <a:pt x="12157281" y="147782"/>
                </a:lnTo>
                <a:lnTo>
                  <a:pt x="12147808" y="124099"/>
                </a:lnTo>
                <a:cubicBezTo>
                  <a:pt x="12146860" y="122204"/>
                  <a:pt x="12144966" y="119362"/>
                  <a:pt x="12144019" y="117468"/>
                </a:cubicBezTo>
                <a:cubicBezTo>
                  <a:pt x="12138335" y="105152"/>
                  <a:pt x="12130756" y="93785"/>
                  <a:pt x="12120336" y="83364"/>
                </a:cubicBezTo>
                <a:cubicBezTo>
                  <a:pt x="12099494" y="62523"/>
                  <a:pt x="12070127" y="50208"/>
                  <a:pt x="12039813" y="50208"/>
                </a:cubicBezTo>
                <a:cubicBezTo>
                  <a:pt x="12033181" y="50208"/>
                  <a:pt x="12026551" y="51155"/>
                  <a:pt x="12020867" y="52103"/>
                </a:cubicBezTo>
                <a:cubicBezTo>
                  <a:pt x="12000974" y="49261"/>
                  <a:pt x="11982974" y="48313"/>
                  <a:pt x="11962132" y="48313"/>
                </a:cubicBezTo>
                <a:cubicBezTo>
                  <a:pt x="11958344" y="48313"/>
                  <a:pt x="11954555" y="48313"/>
                  <a:pt x="11951712" y="48313"/>
                </a:cubicBezTo>
                <a:cubicBezTo>
                  <a:pt x="11937502" y="48313"/>
                  <a:pt x="11923293" y="49261"/>
                  <a:pt x="11910030" y="50208"/>
                </a:cubicBezTo>
                <a:cubicBezTo>
                  <a:pt x="11902452" y="51155"/>
                  <a:pt x="11893926" y="51155"/>
                  <a:pt x="11886347" y="51155"/>
                </a:cubicBezTo>
                <a:cubicBezTo>
                  <a:pt x="11879716" y="51155"/>
                  <a:pt x="11874032" y="51155"/>
                  <a:pt x="11867401" y="51155"/>
                </a:cubicBezTo>
                <a:cubicBezTo>
                  <a:pt x="11855086" y="51155"/>
                  <a:pt x="11842770" y="51155"/>
                  <a:pt x="11830456" y="50208"/>
                </a:cubicBezTo>
                <a:lnTo>
                  <a:pt x="11819088" y="50208"/>
                </a:lnTo>
                <a:cubicBezTo>
                  <a:pt x="11714882" y="47366"/>
                  <a:pt x="11611624" y="46419"/>
                  <a:pt x="11510262" y="46419"/>
                </a:cubicBezTo>
                <a:lnTo>
                  <a:pt x="11484684" y="46419"/>
                </a:lnTo>
                <a:cubicBezTo>
                  <a:pt x="11346375" y="46419"/>
                  <a:pt x="11206172" y="48313"/>
                  <a:pt x="11069758" y="49261"/>
                </a:cubicBezTo>
                <a:cubicBezTo>
                  <a:pt x="11018603" y="50208"/>
                  <a:pt x="10967447" y="50208"/>
                  <a:pt x="10917240" y="51155"/>
                </a:cubicBezTo>
                <a:cubicBezTo>
                  <a:pt x="10741039" y="53050"/>
                  <a:pt x="10560100" y="53997"/>
                  <a:pt x="10381057" y="53997"/>
                </a:cubicBezTo>
                <a:lnTo>
                  <a:pt x="10323270" y="53997"/>
                </a:lnTo>
                <a:cubicBezTo>
                  <a:pt x="10227591" y="53997"/>
                  <a:pt x="10130965" y="53050"/>
                  <a:pt x="10038127" y="51155"/>
                </a:cubicBezTo>
                <a:cubicBezTo>
                  <a:pt x="9997393" y="50208"/>
                  <a:pt x="9955711" y="49261"/>
                  <a:pt x="9914976" y="47366"/>
                </a:cubicBezTo>
                <a:cubicBezTo>
                  <a:pt x="9854347" y="45471"/>
                  <a:pt x="9791824" y="43577"/>
                  <a:pt x="9730248" y="42629"/>
                </a:cubicBezTo>
                <a:cubicBezTo>
                  <a:pt x="9665831" y="41682"/>
                  <a:pt x="9597624" y="41682"/>
                  <a:pt x="9521838" y="41682"/>
                </a:cubicBezTo>
                <a:cubicBezTo>
                  <a:pt x="9412896" y="41682"/>
                  <a:pt x="9301113" y="42629"/>
                  <a:pt x="9194066" y="43577"/>
                </a:cubicBezTo>
                <a:lnTo>
                  <a:pt x="9141016" y="43577"/>
                </a:lnTo>
                <a:lnTo>
                  <a:pt x="9075651" y="45471"/>
                </a:lnTo>
                <a:cubicBezTo>
                  <a:pt x="8904186" y="46419"/>
                  <a:pt x="8726090" y="48313"/>
                  <a:pt x="8551783" y="48313"/>
                </a:cubicBezTo>
                <a:lnTo>
                  <a:pt x="8547047" y="48313"/>
                </a:lnTo>
                <a:cubicBezTo>
                  <a:pt x="8429579" y="48313"/>
                  <a:pt x="8309270" y="47366"/>
                  <a:pt x="8193697" y="46419"/>
                </a:cubicBezTo>
                <a:lnTo>
                  <a:pt x="8185171" y="46419"/>
                </a:lnTo>
                <a:cubicBezTo>
                  <a:pt x="8065809" y="45471"/>
                  <a:pt x="7941710" y="44524"/>
                  <a:pt x="7819506" y="44524"/>
                </a:cubicBezTo>
                <a:cubicBezTo>
                  <a:pt x="7648041" y="44524"/>
                  <a:pt x="7504996" y="46419"/>
                  <a:pt x="7372371" y="52103"/>
                </a:cubicBezTo>
                <a:cubicBezTo>
                  <a:pt x="7324057" y="53997"/>
                  <a:pt x="7275744" y="56839"/>
                  <a:pt x="7228378" y="58734"/>
                </a:cubicBezTo>
                <a:cubicBezTo>
                  <a:pt x="7182907" y="61576"/>
                  <a:pt x="7136488" y="63470"/>
                  <a:pt x="7090070" y="65365"/>
                </a:cubicBezTo>
                <a:cubicBezTo>
                  <a:pt x="7025652" y="68207"/>
                  <a:pt x="6955551" y="69154"/>
                  <a:pt x="6868397" y="69154"/>
                </a:cubicBezTo>
                <a:cubicBezTo>
                  <a:pt x="6840925" y="69154"/>
                  <a:pt x="6813453" y="69154"/>
                  <a:pt x="6785980" y="69154"/>
                </a:cubicBezTo>
                <a:cubicBezTo>
                  <a:pt x="6599358" y="68207"/>
                  <a:pt x="6409894" y="60628"/>
                  <a:pt x="6226115" y="53050"/>
                </a:cubicBezTo>
                <a:lnTo>
                  <a:pt x="6198642" y="52103"/>
                </a:lnTo>
                <a:cubicBezTo>
                  <a:pt x="5873712" y="39787"/>
                  <a:pt x="5522257" y="33156"/>
                  <a:pt x="5091226" y="33156"/>
                </a:cubicBezTo>
                <a:cubicBezTo>
                  <a:pt x="5068490" y="33156"/>
                  <a:pt x="5045754" y="33156"/>
                  <a:pt x="5023966" y="33156"/>
                </a:cubicBezTo>
                <a:cubicBezTo>
                  <a:pt x="4817451" y="33156"/>
                  <a:pt x="4625145" y="34103"/>
                  <a:pt x="4437576" y="35051"/>
                </a:cubicBezTo>
                <a:cubicBezTo>
                  <a:pt x="4396841" y="35051"/>
                  <a:pt x="4356106" y="35998"/>
                  <a:pt x="4315371" y="35998"/>
                </a:cubicBezTo>
                <a:cubicBezTo>
                  <a:pt x="4211166" y="36945"/>
                  <a:pt x="4104119" y="37893"/>
                  <a:pt x="3998019" y="37893"/>
                </a:cubicBezTo>
                <a:cubicBezTo>
                  <a:pt x="3943075" y="37893"/>
                  <a:pt x="3893814" y="37893"/>
                  <a:pt x="3846448" y="36945"/>
                </a:cubicBezTo>
                <a:cubicBezTo>
                  <a:pt x="3569831" y="34103"/>
                  <a:pt x="3289425" y="26525"/>
                  <a:pt x="3018491" y="18946"/>
                </a:cubicBezTo>
                <a:cubicBezTo>
                  <a:pt x="2901024" y="15157"/>
                  <a:pt x="2780714" y="12315"/>
                  <a:pt x="2661352" y="9473"/>
                </a:cubicBezTo>
                <a:cubicBezTo>
                  <a:pt x="2422627" y="3789"/>
                  <a:pt x="2239795" y="947"/>
                  <a:pt x="2068330" y="0"/>
                </a:cubicBezTo>
                <a:lnTo>
                  <a:pt x="2046541" y="0"/>
                </a:lnTo>
                <a:cubicBezTo>
                  <a:pt x="1953704" y="0"/>
                  <a:pt x="1859920" y="947"/>
                  <a:pt x="1768030" y="1895"/>
                </a:cubicBezTo>
                <a:lnTo>
                  <a:pt x="1760451" y="1895"/>
                </a:lnTo>
                <a:cubicBezTo>
                  <a:pt x="1714032" y="2842"/>
                  <a:pt x="1664772" y="2842"/>
                  <a:pt x="1599407" y="2842"/>
                </a:cubicBezTo>
                <a:cubicBezTo>
                  <a:pt x="1571934" y="2842"/>
                  <a:pt x="1544462" y="2842"/>
                  <a:pt x="1517937" y="2842"/>
                </a:cubicBezTo>
                <a:lnTo>
                  <a:pt x="1455414" y="2842"/>
                </a:lnTo>
                <a:cubicBezTo>
                  <a:pt x="1426047" y="2842"/>
                  <a:pt x="1397628" y="2842"/>
                  <a:pt x="1368261" y="2842"/>
                </a:cubicBezTo>
                <a:cubicBezTo>
                  <a:pt x="1334157" y="2842"/>
                  <a:pt x="1299107" y="2842"/>
                  <a:pt x="1265003" y="2842"/>
                </a:cubicBezTo>
                <a:cubicBezTo>
                  <a:pt x="1132378" y="2842"/>
                  <a:pt x="990280" y="3789"/>
                  <a:pt x="847235" y="13262"/>
                </a:cubicBezTo>
                <a:cubicBezTo>
                  <a:pt x="829236" y="14210"/>
                  <a:pt x="810290" y="15157"/>
                  <a:pt x="792291" y="17052"/>
                </a:cubicBezTo>
                <a:cubicBezTo>
                  <a:pt x="764818" y="18946"/>
                  <a:pt x="735451" y="20841"/>
                  <a:pt x="707032" y="22736"/>
                </a:cubicBezTo>
                <a:cubicBezTo>
                  <a:pt x="617984" y="27472"/>
                  <a:pt x="530830" y="17999"/>
                  <a:pt x="441782" y="24630"/>
                </a:cubicBezTo>
                <a:cubicBezTo>
                  <a:pt x="346103" y="31262"/>
                  <a:pt x="250424" y="37893"/>
                  <a:pt x="155692" y="45471"/>
                </a:cubicBezTo>
                <a:cubicBezTo>
                  <a:pt x="119694" y="48313"/>
                  <a:pt x="81801" y="52103"/>
                  <a:pt x="54329" y="75786"/>
                </a:cubicBezTo>
                <a:cubicBezTo>
                  <a:pt x="-16720" y="138309"/>
                  <a:pt x="15489" y="270933"/>
                  <a:pt x="9805" y="352403"/>
                </a:cubicBezTo>
                <a:cubicBezTo>
                  <a:pt x="5068" y="416820"/>
                  <a:pt x="3174" y="479343"/>
                  <a:pt x="1279" y="538077"/>
                </a:cubicBezTo>
                <a:cubicBezTo>
                  <a:pt x="-1563" y="653650"/>
                  <a:pt x="332" y="773012"/>
                  <a:pt x="6963" y="901848"/>
                </a:cubicBezTo>
                <a:cubicBezTo>
                  <a:pt x="9805" y="963424"/>
                  <a:pt x="14541" y="1025947"/>
                  <a:pt x="18331" y="1086575"/>
                </a:cubicBezTo>
                <a:cubicBezTo>
                  <a:pt x="22120" y="1145309"/>
                  <a:pt x="25909" y="1205937"/>
                  <a:pt x="28751" y="1265619"/>
                </a:cubicBezTo>
                <a:cubicBezTo>
                  <a:pt x="29698" y="1275092"/>
                  <a:pt x="29698" y="1285512"/>
                  <a:pt x="30646" y="1294985"/>
                </a:cubicBezTo>
                <a:cubicBezTo>
                  <a:pt x="33488" y="1345193"/>
                  <a:pt x="36330" y="1397296"/>
                  <a:pt x="33488" y="1448451"/>
                </a:cubicBezTo>
                <a:cubicBezTo>
                  <a:pt x="32540" y="1464556"/>
                  <a:pt x="31593" y="1480660"/>
                  <a:pt x="29698" y="1495817"/>
                </a:cubicBezTo>
                <a:cubicBezTo>
                  <a:pt x="28751" y="1509079"/>
                  <a:pt x="26857" y="1523289"/>
                  <a:pt x="25909" y="1537499"/>
                </a:cubicBezTo>
                <a:cubicBezTo>
                  <a:pt x="24962" y="1559287"/>
                  <a:pt x="27804" y="1580128"/>
                  <a:pt x="31593" y="1600969"/>
                </a:cubicBezTo>
                <a:lnTo>
                  <a:pt x="31593" y="1603811"/>
                </a:lnTo>
                <a:cubicBezTo>
                  <a:pt x="34435" y="1622758"/>
                  <a:pt x="41066" y="1640757"/>
                  <a:pt x="51487" y="1662545"/>
                </a:cubicBezTo>
                <a:cubicBezTo>
                  <a:pt x="56223" y="1672018"/>
                  <a:pt x="62855" y="1680544"/>
                  <a:pt x="72328" y="1688123"/>
                </a:cubicBezTo>
                <a:cubicBezTo>
                  <a:pt x="90327" y="1711806"/>
                  <a:pt x="117799" y="1726016"/>
                  <a:pt x="147166" y="1726016"/>
                </a:cubicBezTo>
                <a:cubicBezTo>
                  <a:pt x="187901" y="1726016"/>
                  <a:pt x="235267" y="1726963"/>
                  <a:pt x="284527" y="1730752"/>
                </a:cubicBezTo>
                <a:cubicBezTo>
                  <a:pt x="325262" y="1733594"/>
                  <a:pt x="370733" y="1736436"/>
                  <a:pt x="421889" y="1738331"/>
                </a:cubicBezTo>
                <a:lnTo>
                  <a:pt x="442730" y="1739278"/>
                </a:lnTo>
                <a:cubicBezTo>
                  <a:pt x="497674" y="1741173"/>
                  <a:pt x="554513" y="1743067"/>
                  <a:pt x="609458" y="1743067"/>
                </a:cubicBezTo>
                <a:cubicBezTo>
                  <a:pt x="650193" y="1743067"/>
                  <a:pt x="686191" y="1742120"/>
                  <a:pt x="720294" y="1740225"/>
                </a:cubicBezTo>
                <a:cubicBezTo>
                  <a:pt x="788501" y="1736436"/>
                  <a:pt x="856708" y="1729805"/>
                  <a:pt x="923968" y="1724121"/>
                </a:cubicBezTo>
                <a:cubicBezTo>
                  <a:pt x="948598" y="1722226"/>
                  <a:pt x="972281" y="1719384"/>
                  <a:pt x="996912" y="1717490"/>
                </a:cubicBezTo>
                <a:cubicBezTo>
                  <a:pt x="1107748" y="1708017"/>
                  <a:pt x="1205322" y="1701385"/>
                  <a:pt x="1296265" y="1697596"/>
                </a:cubicBezTo>
                <a:cubicBezTo>
                  <a:pt x="1350262" y="1695701"/>
                  <a:pt x="1406153" y="1694754"/>
                  <a:pt x="1466782" y="1694754"/>
                </a:cubicBezTo>
                <a:cubicBezTo>
                  <a:pt x="1601301" y="1694754"/>
                  <a:pt x="1733926" y="1699491"/>
                  <a:pt x="1880761" y="1706122"/>
                </a:cubicBezTo>
                <a:cubicBezTo>
                  <a:pt x="2077803" y="1714648"/>
                  <a:pt x="2278635" y="1725068"/>
                  <a:pt x="2466204" y="1735489"/>
                </a:cubicBezTo>
                <a:cubicBezTo>
                  <a:pt x="2657562" y="1745909"/>
                  <a:pt x="2855552" y="1756330"/>
                  <a:pt x="3050700" y="1762961"/>
                </a:cubicBezTo>
                <a:cubicBezTo>
                  <a:pt x="3139748" y="1765803"/>
                  <a:pt x="3229743" y="1766750"/>
                  <a:pt x="3316897" y="1767698"/>
                </a:cubicBezTo>
                <a:lnTo>
                  <a:pt x="3331107" y="1767698"/>
                </a:lnTo>
                <a:cubicBezTo>
                  <a:pt x="3348158" y="1767698"/>
                  <a:pt x="3364263" y="1767698"/>
                  <a:pt x="3381314" y="1767698"/>
                </a:cubicBezTo>
                <a:cubicBezTo>
                  <a:pt x="3476046" y="1767698"/>
                  <a:pt x="3555621" y="1764856"/>
                  <a:pt x="3629512" y="1759172"/>
                </a:cubicBezTo>
                <a:cubicBezTo>
                  <a:pt x="3678773" y="1755382"/>
                  <a:pt x="3728033" y="1750646"/>
                  <a:pt x="3777294" y="1744962"/>
                </a:cubicBezTo>
                <a:cubicBezTo>
                  <a:pt x="3848343" y="1744015"/>
                  <a:pt x="3920339" y="1740225"/>
                  <a:pt x="3991388" y="1736436"/>
                </a:cubicBezTo>
                <a:cubicBezTo>
                  <a:pt x="4125907" y="1728858"/>
                  <a:pt x="4260427" y="1716542"/>
                  <a:pt x="4394946" y="1712753"/>
                </a:cubicBezTo>
                <a:cubicBezTo>
                  <a:pt x="4531360" y="1708964"/>
                  <a:pt x="4667774" y="1712753"/>
                  <a:pt x="4803241" y="1714648"/>
                </a:cubicBezTo>
                <a:cubicBezTo>
                  <a:pt x="5351739" y="1724121"/>
                  <a:pt x="5900237" y="1747804"/>
                  <a:pt x="6448735" y="1739278"/>
                </a:cubicBezTo>
                <a:cubicBezTo>
                  <a:pt x="6587043" y="1737383"/>
                  <a:pt x="6724404" y="1734541"/>
                  <a:pt x="6862713" y="1736436"/>
                </a:cubicBezTo>
                <a:cubicBezTo>
                  <a:pt x="7001022" y="1737383"/>
                  <a:pt x="7138383" y="1741173"/>
                  <a:pt x="7276691" y="1745909"/>
                </a:cubicBezTo>
                <a:cubicBezTo>
                  <a:pt x="7552362" y="1755382"/>
                  <a:pt x="7828031" y="1767698"/>
                  <a:pt x="8103702" y="1774329"/>
                </a:cubicBezTo>
                <a:cubicBezTo>
                  <a:pt x="8242010" y="1777171"/>
                  <a:pt x="8379371" y="1779065"/>
                  <a:pt x="8517680" y="1777171"/>
                </a:cubicBezTo>
                <a:cubicBezTo>
                  <a:pt x="8655989" y="1775276"/>
                  <a:pt x="8793350" y="1768645"/>
                  <a:pt x="8930711" y="1761066"/>
                </a:cubicBezTo>
                <a:cubicBezTo>
                  <a:pt x="9205434" y="1746857"/>
                  <a:pt x="9481103" y="1739278"/>
                  <a:pt x="9755827" y="1734541"/>
                </a:cubicBezTo>
                <a:cubicBezTo>
                  <a:pt x="10000234" y="1730752"/>
                  <a:pt x="10244643" y="1729805"/>
                  <a:pt x="10489051" y="1729805"/>
                </a:cubicBezTo>
                <a:cubicBezTo>
                  <a:pt x="10509893" y="1730752"/>
                  <a:pt x="10530733" y="1731699"/>
                  <a:pt x="10550627" y="1731699"/>
                </a:cubicBezTo>
                <a:cubicBezTo>
                  <a:pt x="10620729" y="1734541"/>
                  <a:pt x="10691777" y="1737383"/>
                  <a:pt x="10761879" y="1739278"/>
                </a:cubicBezTo>
                <a:cubicBezTo>
                  <a:pt x="10979763" y="1746857"/>
                  <a:pt x="11155964" y="1749699"/>
                  <a:pt x="11316061" y="1749699"/>
                </a:cubicBezTo>
                <a:cubicBezTo>
                  <a:pt x="11350164" y="1749699"/>
                  <a:pt x="11385216" y="1749699"/>
                  <a:pt x="11419319" y="1748751"/>
                </a:cubicBezTo>
                <a:cubicBezTo>
                  <a:pt x="11526366" y="1747804"/>
                  <a:pt x="11636256" y="1744015"/>
                  <a:pt x="11747091" y="1738331"/>
                </a:cubicBezTo>
                <a:cubicBezTo>
                  <a:pt x="11763195" y="1737383"/>
                  <a:pt x="11780248" y="1736436"/>
                  <a:pt x="11796352" y="1735489"/>
                </a:cubicBezTo>
                <a:cubicBezTo>
                  <a:pt x="11832350" y="1732647"/>
                  <a:pt x="11869296" y="1730752"/>
                  <a:pt x="11905293" y="1730752"/>
                </a:cubicBezTo>
                <a:lnTo>
                  <a:pt x="11906242" y="1730752"/>
                </a:lnTo>
                <a:cubicBezTo>
                  <a:pt x="11914767" y="1730752"/>
                  <a:pt x="11923293" y="1730752"/>
                  <a:pt x="11930872" y="1730752"/>
                </a:cubicBezTo>
                <a:cubicBezTo>
                  <a:pt x="11941292" y="1730752"/>
                  <a:pt x="11951712" y="1730752"/>
                  <a:pt x="11961185" y="1730752"/>
                </a:cubicBezTo>
                <a:lnTo>
                  <a:pt x="11971606" y="1730752"/>
                </a:lnTo>
                <a:lnTo>
                  <a:pt x="11972554" y="1730752"/>
                </a:lnTo>
                <a:cubicBezTo>
                  <a:pt x="11986764" y="1730752"/>
                  <a:pt x="12000974" y="1729805"/>
                  <a:pt x="12015183" y="1726963"/>
                </a:cubicBezTo>
                <a:cubicBezTo>
                  <a:pt x="12016130" y="1726963"/>
                  <a:pt x="12017077" y="1726963"/>
                  <a:pt x="12018972" y="1726963"/>
                </a:cubicBezTo>
                <a:cubicBezTo>
                  <a:pt x="12020867" y="1727910"/>
                  <a:pt x="12021814" y="1727910"/>
                  <a:pt x="12023708" y="1727910"/>
                </a:cubicBezTo>
                <a:cubicBezTo>
                  <a:pt x="12033181" y="1730752"/>
                  <a:pt x="12043603" y="1731699"/>
                  <a:pt x="12054023" y="1731699"/>
                </a:cubicBezTo>
                <a:cubicBezTo>
                  <a:pt x="12073917" y="1731699"/>
                  <a:pt x="12094757" y="1726016"/>
                  <a:pt x="12113704" y="1715595"/>
                </a:cubicBezTo>
                <a:cubicBezTo>
                  <a:pt x="12168649" y="1690965"/>
                  <a:pt x="12198015" y="1628442"/>
                  <a:pt x="12189489" y="1565919"/>
                </a:cubicBezTo>
                <a:close/>
              </a:path>
            </a:pathLst>
          </a:custGeom>
          <a:solidFill>
            <a:srgbClr val="E18719"/>
          </a:solidFill>
          <a:ln w="947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7FDF3B1-2A68-8D43-B97D-D922383BC76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DLZ BITE TYPE" panose="00000500000000000000"/>
              <a:ea typeface="+mn-ea"/>
              <a:cs typeface="+mn-cs"/>
              <a:sym typeface="MDLZ BITE TYPE" panose="0000050000000000000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D3D666A-2823-4368-B71A-3DE21AF4EA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/>
              <a:t>The trends behind the questions….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C6BE8C8-9870-4C3D-9C79-9B18EC84F8A0}"/>
              </a:ext>
            </a:extLst>
          </p:cNvPr>
          <p:cNvSpPr/>
          <p:nvPr/>
        </p:nvSpPr>
        <p:spPr>
          <a:xfrm>
            <a:off x="152400" y="6532806"/>
            <a:ext cx="324675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Sourc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: Edge by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Ascential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-apple-system"/>
              <a:ea typeface="+mn-ea"/>
              <a:cs typeface="+mn-cs"/>
            </a:endParaRPr>
          </a:p>
        </p:txBody>
      </p:sp>
      <p:pic>
        <p:nvPicPr>
          <p:cNvPr id="57" name="Picture 10" descr="Walmart's Modern Logo Adds Trust And Friendliness To The Major Retailer  Through Welcoming Shapes &amp; Colors">
            <a:extLst>
              <a:ext uri="{FF2B5EF4-FFF2-40B4-BE49-F238E27FC236}">
                <a16:creationId xmlns:a16="http://schemas.microsoft.com/office/drawing/2014/main" id="{3A2829FA-B474-41FD-8148-1C786F12F7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036" b="30390"/>
          <a:stretch/>
        </p:blipFill>
        <p:spPr bwMode="auto">
          <a:xfrm>
            <a:off x="3432300" y="2827336"/>
            <a:ext cx="3952784" cy="940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414A6DC-8D16-45CA-8C29-5085E2A39B2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528311" y="4213999"/>
            <a:ext cx="1667774" cy="6225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47CCA9F-FB19-4349-85EC-9B1667ACE2A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006192" y="2787723"/>
            <a:ext cx="3147361" cy="71835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DD3AB2C-9966-44C2-9E48-A44912578C1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018273" y="5412368"/>
            <a:ext cx="2863997" cy="74933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B2054D3-338E-4852-ACAA-EA5BCD1ABE8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27355" y="2934292"/>
            <a:ext cx="2523920" cy="880805"/>
          </a:xfrm>
          <a:prstGeom prst="rect">
            <a:avLst/>
          </a:prstGeom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AFED0104-04E3-44E8-AA77-5E1E0D33C6A7}"/>
              </a:ext>
            </a:extLst>
          </p:cNvPr>
          <p:cNvSpPr txBox="1"/>
          <p:nvPr/>
        </p:nvSpPr>
        <p:spPr>
          <a:xfrm>
            <a:off x="647621" y="1226489"/>
            <a:ext cx="10896757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2400" b="0" dirty="0">
                <a:solidFill>
                  <a:schemeClr val="bg1"/>
                </a:solidFill>
              </a:rPr>
              <a:t>RETAIL LANDSCAPE is becoming increasingly </a:t>
            </a:r>
            <a:r>
              <a:rPr lang="en-GB" sz="2800" b="1" u="sng" dirty="0">
                <a:solidFill>
                  <a:schemeClr val="bg1"/>
                </a:solidFill>
              </a:rPr>
              <a:t>omnichannel</a:t>
            </a:r>
            <a:r>
              <a:rPr lang="en-GB" sz="2400" b="1" dirty="0">
                <a:solidFill>
                  <a:schemeClr val="bg1"/>
                </a:solidFill>
              </a:rPr>
              <a:t> </a:t>
            </a:r>
            <a:r>
              <a:rPr lang="en-GB" sz="2400" b="0" dirty="0">
                <a:solidFill>
                  <a:schemeClr val="bg1"/>
                </a:solidFill>
              </a:rPr>
              <a:t>and online and offline continues to blur….with last milers (aka quick commerce) disrupting and consolidating</a:t>
            </a:r>
            <a:endParaRPr lang="en-US" sz="2400" dirty="0">
              <a:solidFill>
                <a:schemeClr val="bg1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9DF687C0-A6F2-4CAA-A101-D51809200A6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388148" y="4334893"/>
            <a:ext cx="1380548" cy="1412529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36EA27C7-A2B3-4551-BF9C-C1A767079EE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730559" y="3972641"/>
            <a:ext cx="1339919" cy="1301817"/>
          </a:xfrm>
          <a:prstGeom prst="rect">
            <a:avLst/>
          </a:prstGeom>
        </p:spPr>
      </p:pic>
      <p:pic>
        <p:nvPicPr>
          <p:cNvPr id="4100" name="Picture 4" descr="Home - Online Grocery Delivery | Albertsons">
            <a:extLst>
              <a:ext uri="{FF2B5EF4-FFF2-40B4-BE49-F238E27FC236}">
                <a16:creationId xmlns:a16="http://schemas.microsoft.com/office/drawing/2014/main" id="{1352A815-4845-41E0-9342-8597108634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9688" y="5157566"/>
            <a:ext cx="3285744" cy="496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Kroger : Shop Groceries, Find Digital Coupons &amp; Order Online">
            <a:extLst>
              <a:ext uri="{FF2B5EF4-FFF2-40B4-BE49-F238E27FC236}">
                <a16:creationId xmlns:a16="http://schemas.microsoft.com/office/drawing/2014/main" id="{4F01A846-567E-4E30-A322-22B7065994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7056" y="4160520"/>
            <a:ext cx="2243841" cy="835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044722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60">
            <a:extLst>
              <a:ext uri="{FF2B5EF4-FFF2-40B4-BE49-F238E27FC236}">
                <a16:creationId xmlns:a16="http://schemas.microsoft.com/office/drawing/2014/main" id="{2678DEC9-0448-4F1B-87E6-47F8DDB48023}"/>
              </a:ext>
            </a:extLst>
          </p:cNvPr>
          <p:cNvSpPr/>
          <p:nvPr/>
        </p:nvSpPr>
        <p:spPr>
          <a:xfrm>
            <a:off x="993060" y="1331365"/>
            <a:ext cx="10213656" cy="1242156"/>
          </a:xfrm>
          <a:custGeom>
            <a:avLst/>
            <a:gdLst>
              <a:gd name="connsiteX0" fmla="*/ 212287 w 9756600"/>
              <a:gd name="connsiteY0" fmla="*/ 3 h 743010"/>
              <a:gd name="connsiteX1" fmla="*/ 746364 w 9756600"/>
              <a:gd name="connsiteY1" fmla="*/ 1774 h 743010"/>
              <a:gd name="connsiteX2" fmla="*/ 882932 w 9756600"/>
              <a:gd name="connsiteY2" fmla="*/ 2517 h 743010"/>
              <a:gd name="connsiteX3" fmla="*/ 887171 w 9756600"/>
              <a:gd name="connsiteY3" fmla="*/ 1169 h 743010"/>
              <a:gd name="connsiteX4" fmla="*/ 1042665 w 9756600"/>
              <a:gd name="connsiteY4" fmla="*/ 3 h 743010"/>
              <a:gd name="connsiteX5" fmla="*/ 1775533 w 9756600"/>
              <a:gd name="connsiteY5" fmla="*/ 2856 h 743010"/>
              <a:gd name="connsiteX6" fmla="*/ 2049129 w 9756600"/>
              <a:gd name="connsiteY6" fmla="*/ 4501 h 743010"/>
              <a:gd name="connsiteX7" fmla="*/ 2077993 w 9756600"/>
              <a:gd name="connsiteY7" fmla="*/ 1169 h 743010"/>
              <a:gd name="connsiteX8" fmla="*/ 2506278 w 9756600"/>
              <a:gd name="connsiteY8" fmla="*/ 3 h 743010"/>
              <a:gd name="connsiteX9" fmla="*/ 3977317 w 9756600"/>
              <a:gd name="connsiteY9" fmla="*/ 1774 h 743010"/>
              <a:gd name="connsiteX10" fmla="*/ 4353475 w 9756600"/>
              <a:gd name="connsiteY10" fmla="*/ 2517 h 743010"/>
              <a:gd name="connsiteX11" fmla="*/ 4365150 w 9756600"/>
              <a:gd name="connsiteY11" fmla="*/ 1169 h 743010"/>
              <a:gd name="connsiteX12" fmla="*/ 4793434 w 9756600"/>
              <a:gd name="connsiteY12" fmla="*/ 3 h 743010"/>
              <a:gd name="connsiteX13" fmla="*/ 7320146 w 9756600"/>
              <a:gd name="connsiteY13" fmla="*/ 3945 h 743010"/>
              <a:gd name="connsiteX14" fmla="*/ 7468241 w 9756600"/>
              <a:gd name="connsiteY14" fmla="*/ 4275 h 743010"/>
              <a:gd name="connsiteX15" fmla="*/ 7478010 w 9756600"/>
              <a:gd name="connsiteY15" fmla="*/ 1169 h 743010"/>
              <a:gd name="connsiteX16" fmla="*/ 7633504 w 9756600"/>
              <a:gd name="connsiteY16" fmla="*/ 3 h 743010"/>
              <a:gd name="connsiteX17" fmla="*/ 8167581 w 9756600"/>
              <a:gd name="connsiteY17" fmla="*/ 1774 h 743010"/>
              <a:gd name="connsiteX18" fmla="*/ 8304149 w 9756600"/>
              <a:gd name="connsiteY18" fmla="*/ 2517 h 743010"/>
              <a:gd name="connsiteX19" fmla="*/ 8308388 w 9756600"/>
              <a:gd name="connsiteY19" fmla="*/ 1169 h 743010"/>
              <a:gd name="connsiteX20" fmla="*/ 8463881 w 9756600"/>
              <a:gd name="connsiteY20" fmla="*/ 3 h 743010"/>
              <a:gd name="connsiteX21" fmla="*/ 9700698 w 9756600"/>
              <a:gd name="connsiteY21" fmla="*/ 5835 h 743010"/>
              <a:gd name="connsiteX22" fmla="*/ 9726968 w 9756600"/>
              <a:gd name="connsiteY22" fmla="*/ 11836 h 743010"/>
              <a:gd name="connsiteX23" fmla="*/ 9747545 w 9756600"/>
              <a:gd name="connsiteY23" fmla="*/ 39497 h 743010"/>
              <a:gd name="connsiteX24" fmla="*/ 9749672 w 9756600"/>
              <a:gd name="connsiteY24" fmla="*/ 114988 h 743010"/>
              <a:gd name="connsiteX25" fmla="*/ 9750701 w 9756600"/>
              <a:gd name="connsiteY25" fmla="*/ 234470 h 743010"/>
              <a:gd name="connsiteX26" fmla="*/ 9751730 w 9756600"/>
              <a:gd name="connsiteY26" fmla="*/ 297628 h 743010"/>
              <a:gd name="connsiteX27" fmla="*/ 9751442 w 9756600"/>
              <a:gd name="connsiteY27" fmla="*/ 334530 h 743010"/>
              <a:gd name="connsiteX28" fmla="*/ 9753205 w 9756600"/>
              <a:gd name="connsiteY28" fmla="*/ 374371 h 743010"/>
              <a:gd name="connsiteX29" fmla="*/ 9756326 w 9756600"/>
              <a:gd name="connsiteY29" fmla="*/ 458712 h 743010"/>
              <a:gd name="connsiteX30" fmla="*/ 9756326 w 9756600"/>
              <a:gd name="connsiteY30" fmla="*/ 515538 h 743010"/>
              <a:gd name="connsiteX31" fmla="*/ 9756326 w 9756600"/>
              <a:gd name="connsiteY31" fmla="*/ 604026 h 743010"/>
              <a:gd name="connsiteX32" fmla="*/ 9754679 w 9756600"/>
              <a:gd name="connsiteY32" fmla="*/ 713845 h 743010"/>
              <a:gd name="connsiteX33" fmla="*/ 9736916 w 9756600"/>
              <a:gd name="connsiteY33" fmla="*/ 734508 h 743010"/>
              <a:gd name="connsiteX34" fmla="*/ 9730055 w 9756600"/>
              <a:gd name="connsiteY34" fmla="*/ 734508 h 743010"/>
              <a:gd name="connsiteX35" fmla="*/ 9725529 w 9756600"/>
              <a:gd name="connsiteY35" fmla="*/ 734508 h 743010"/>
              <a:gd name="connsiteX36" fmla="*/ 9718671 w 9756600"/>
              <a:gd name="connsiteY36" fmla="*/ 735843 h 743010"/>
              <a:gd name="connsiteX37" fmla="*/ 9699807 w 9756600"/>
              <a:gd name="connsiteY37" fmla="*/ 741840 h 743010"/>
              <a:gd name="connsiteX38" fmla="*/ 9544314 w 9756600"/>
              <a:gd name="connsiteY38" fmla="*/ 743007 h 743010"/>
              <a:gd name="connsiteX39" fmla="*/ 9010236 w 9756600"/>
              <a:gd name="connsiteY39" fmla="*/ 741235 h 743010"/>
              <a:gd name="connsiteX40" fmla="*/ 8873667 w 9756600"/>
              <a:gd name="connsiteY40" fmla="*/ 740492 h 743010"/>
              <a:gd name="connsiteX41" fmla="*/ 8869429 w 9756600"/>
              <a:gd name="connsiteY41" fmla="*/ 741840 h 743010"/>
              <a:gd name="connsiteX42" fmla="*/ 8713936 w 9756600"/>
              <a:gd name="connsiteY42" fmla="*/ 743007 h 743010"/>
              <a:gd name="connsiteX43" fmla="*/ 8378142 w 9756600"/>
              <a:gd name="connsiteY43" fmla="*/ 742167 h 743010"/>
              <a:gd name="connsiteX44" fmla="*/ 8202497 w 9756600"/>
              <a:gd name="connsiteY44" fmla="*/ 741276 h 743010"/>
              <a:gd name="connsiteX45" fmla="*/ 8197613 w 9756600"/>
              <a:gd name="connsiteY45" fmla="*/ 741840 h 743010"/>
              <a:gd name="connsiteX46" fmla="*/ 7769329 w 9756600"/>
              <a:gd name="connsiteY46" fmla="*/ 743007 h 743010"/>
              <a:gd name="connsiteX47" fmla="*/ 6298289 w 9756600"/>
              <a:gd name="connsiteY47" fmla="*/ 741235 h 743010"/>
              <a:gd name="connsiteX48" fmla="*/ 5922130 w 9756600"/>
              <a:gd name="connsiteY48" fmla="*/ 740492 h 743010"/>
              <a:gd name="connsiteX49" fmla="*/ 5910456 w 9756600"/>
              <a:gd name="connsiteY49" fmla="*/ 741840 h 743010"/>
              <a:gd name="connsiteX50" fmla="*/ 5482173 w 9756600"/>
              <a:gd name="connsiteY50" fmla="*/ 743007 h 743010"/>
              <a:gd name="connsiteX51" fmla="*/ 2527539 w 9756600"/>
              <a:gd name="connsiteY51" fmla="*/ 738110 h 743010"/>
              <a:gd name="connsiteX52" fmla="*/ 2291960 w 9756600"/>
              <a:gd name="connsiteY52" fmla="*/ 737590 h 743010"/>
              <a:gd name="connsiteX53" fmla="*/ 2278590 w 9756600"/>
              <a:gd name="connsiteY53" fmla="*/ 741840 h 743010"/>
              <a:gd name="connsiteX54" fmla="*/ 2123097 w 9756600"/>
              <a:gd name="connsiteY54" fmla="*/ 743007 h 743010"/>
              <a:gd name="connsiteX55" fmla="*/ 1589019 w 9756600"/>
              <a:gd name="connsiteY55" fmla="*/ 741235 h 743010"/>
              <a:gd name="connsiteX56" fmla="*/ 1452450 w 9756600"/>
              <a:gd name="connsiteY56" fmla="*/ 740492 h 743010"/>
              <a:gd name="connsiteX57" fmla="*/ 1448212 w 9756600"/>
              <a:gd name="connsiteY57" fmla="*/ 741840 h 743010"/>
              <a:gd name="connsiteX58" fmla="*/ 1292719 w 9756600"/>
              <a:gd name="connsiteY58" fmla="*/ 743007 h 743010"/>
              <a:gd name="connsiteX59" fmla="*/ 55902 w 9756600"/>
              <a:gd name="connsiteY59" fmla="*/ 737175 h 743010"/>
              <a:gd name="connsiteX60" fmla="*/ 29632 w 9756600"/>
              <a:gd name="connsiteY60" fmla="*/ 731174 h 743010"/>
              <a:gd name="connsiteX61" fmla="*/ 9055 w 9756600"/>
              <a:gd name="connsiteY61" fmla="*/ 703513 h 743010"/>
              <a:gd name="connsiteX62" fmla="*/ 6928 w 9756600"/>
              <a:gd name="connsiteY62" fmla="*/ 628021 h 743010"/>
              <a:gd name="connsiteX63" fmla="*/ 5899 w 9756600"/>
              <a:gd name="connsiteY63" fmla="*/ 508540 h 743010"/>
              <a:gd name="connsiteX64" fmla="*/ 4870 w 9756600"/>
              <a:gd name="connsiteY64" fmla="*/ 445382 h 743010"/>
              <a:gd name="connsiteX65" fmla="*/ 5158 w 9756600"/>
              <a:gd name="connsiteY65" fmla="*/ 408480 h 743010"/>
              <a:gd name="connsiteX66" fmla="*/ 3395 w 9756600"/>
              <a:gd name="connsiteY66" fmla="*/ 368639 h 743010"/>
              <a:gd name="connsiteX67" fmla="*/ 274 w 9756600"/>
              <a:gd name="connsiteY67" fmla="*/ 284297 h 743010"/>
              <a:gd name="connsiteX68" fmla="*/ 274 w 9756600"/>
              <a:gd name="connsiteY68" fmla="*/ 227471 h 743010"/>
              <a:gd name="connsiteX69" fmla="*/ 274 w 9756600"/>
              <a:gd name="connsiteY69" fmla="*/ 138984 h 743010"/>
              <a:gd name="connsiteX70" fmla="*/ 1920 w 9756600"/>
              <a:gd name="connsiteY70" fmla="*/ 29165 h 743010"/>
              <a:gd name="connsiteX71" fmla="*/ 19684 w 9756600"/>
              <a:gd name="connsiteY71" fmla="*/ 8502 h 743010"/>
              <a:gd name="connsiteX72" fmla="*/ 26544 w 9756600"/>
              <a:gd name="connsiteY72" fmla="*/ 8502 h 743010"/>
              <a:gd name="connsiteX73" fmla="*/ 31071 w 9756600"/>
              <a:gd name="connsiteY73" fmla="*/ 8502 h 743010"/>
              <a:gd name="connsiteX74" fmla="*/ 37930 w 9756600"/>
              <a:gd name="connsiteY74" fmla="*/ 7167 h 743010"/>
              <a:gd name="connsiteX75" fmla="*/ 56793 w 9756600"/>
              <a:gd name="connsiteY75" fmla="*/ 1169 h 743010"/>
              <a:gd name="connsiteX76" fmla="*/ 212287 w 9756600"/>
              <a:gd name="connsiteY76" fmla="*/ 3 h 74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9756600" h="743010">
                <a:moveTo>
                  <a:pt x="212287" y="3"/>
                </a:moveTo>
                <a:cubicBezTo>
                  <a:pt x="345111" y="-61"/>
                  <a:pt x="545358" y="744"/>
                  <a:pt x="746364" y="1774"/>
                </a:cubicBezTo>
                <a:lnTo>
                  <a:pt x="882932" y="2517"/>
                </a:lnTo>
                <a:lnTo>
                  <a:pt x="887171" y="1169"/>
                </a:lnTo>
                <a:cubicBezTo>
                  <a:pt x="897596" y="3"/>
                  <a:pt x="955624" y="3"/>
                  <a:pt x="1042665" y="3"/>
                </a:cubicBezTo>
                <a:cubicBezTo>
                  <a:pt x="1219764" y="-81"/>
                  <a:pt x="1516725" y="1377"/>
                  <a:pt x="1775533" y="2856"/>
                </a:cubicBezTo>
                <a:lnTo>
                  <a:pt x="2049129" y="4501"/>
                </a:lnTo>
                <a:lnTo>
                  <a:pt x="2077993" y="1169"/>
                </a:lnTo>
                <a:cubicBezTo>
                  <a:pt x="2106707" y="3"/>
                  <a:pt x="2266537" y="3"/>
                  <a:pt x="2506278" y="3"/>
                </a:cubicBezTo>
                <a:cubicBezTo>
                  <a:pt x="2872124" y="-61"/>
                  <a:pt x="3423674" y="744"/>
                  <a:pt x="3977317" y="1774"/>
                </a:cubicBezTo>
                <a:lnTo>
                  <a:pt x="4353475" y="2517"/>
                </a:lnTo>
                <a:lnTo>
                  <a:pt x="4365150" y="1169"/>
                </a:lnTo>
                <a:cubicBezTo>
                  <a:pt x="4393864" y="3"/>
                  <a:pt x="4553694" y="3"/>
                  <a:pt x="4793434" y="3"/>
                </a:cubicBezTo>
                <a:cubicBezTo>
                  <a:pt x="5403178" y="-103"/>
                  <a:pt x="6528768" y="2202"/>
                  <a:pt x="7320146" y="3945"/>
                </a:cubicBezTo>
                <a:lnTo>
                  <a:pt x="7468241" y="4275"/>
                </a:lnTo>
                <a:lnTo>
                  <a:pt x="7478010" y="1169"/>
                </a:lnTo>
                <a:cubicBezTo>
                  <a:pt x="7488435" y="3"/>
                  <a:pt x="7546463" y="3"/>
                  <a:pt x="7633504" y="3"/>
                </a:cubicBezTo>
                <a:cubicBezTo>
                  <a:pt x="7766328" y="-61"/>
                  <a:pt x="7966575" y="744"/>
                  <a:pt x="8167581" y="1774"/>
                </a:cubicBezTo>
                <a:lnTo>
                  <a:pt x="8304149" y="2517"/>
                </a:lnTo>
                <a:lnTo>
                  <a:pt x="8308388" y="1169"/>
                </a:lnTo>
                <a:cubicBezTo>
                  <a:pt x="8318813" y="3"/>
                  <a:pt x="8376841" y="3"/>
                  <a:pt x="8463881" y="3"/>
                </a:cubicBezTo>
                <a:cubicBezTo>
                  <a:pt x="8818080" y="-166"/>
                  <a:pt x="9651726" y="5835"/>
                  <a:pt x="9700698" y="5835"/>
                </a:cubicBezTo>
                <a:cubicBezTo>
                  <a:pt x="9709517" y="5574"/>
                  <a:pt x="9718323" y="7588"/>
                  <a:pt x="9726968" y="11836"/>
                </a:cubicBezTo>
                <a:cubicBezTo>
                  <a:pt x="9738423" y="17333"/>
                  <a:pt x="9743773" y="12167"/>
                  <a:pt x="9747545" y="39497"/>
                </a:cubicBezTo>
                <a:cubicBezTo>
                  <a:pt x="9750701" y="62327"/>
                  <a:pt x="9749191" y="86157"/>
                  <a:pt x="9749672" y="114988"/>
                </a:cubicBezTo>
                <a:cubicBezTo>
                  <a:pt x="9750701" y="180811"/>
                  <a:pt x="9750701" y="156149"/>
                  <a:pt x="9750701" y="234470"/>
                </a:cubicBezTo>
                <a:lnTo>
                  <a:pt x="9751730" y="297628"/>
                </a:lnTo>
                <a:lnTo>
                  <a:pt x="9751442" y="334530"/>
                </a:lnTo>
                <a:lnTo>
                  <a:pt x="9753205" y="374371"/>
                </a:lnTo>
                <a:cubicBezTo>
                  <a:pt x="9755126" y="402388"/>
                  <a:pt x="9756943" y="430383"/>
                  <a:pt x="9756326" y="458712"/>
                </a:cubicBezTo>
                <a:cubicBezTo>
                  <a:pt x="9755091" y="500207"/>
                  <a:pt x="9756805" y="473878"/>
                  <a:pt x="9756326" y="515538"/>
                </a:cubicBezTo>
                <a:cubicBezTo>
                  <a:pt x="9756326" y="544866"/>
                  <a:pt x="9756943" y="574698"/>
                  <a:pt x="9756326" y="604026"/>
                </a:cubicBezTo>
                <a:cubicBezTo>
                  <a:pt x="9756607" y="640677"/>
                  <a:pt x="9756059" y="677341"/>
                  <a:pt x="9754679" y="713845"/>
                </a:cubicBezTo>
                <a:cubicBezTo>
                  <a:pt x="9753719" y="729677"/>
                  <a:pt x="9743775" y="732175"/>
                  <a:pt x="9736916" y="734508"/>
                </a:cubicBezTo>
                <a:lnTo>
                  <a:pt x="9730055" y="734508"/>
                </a:lnTo>
                <a:lnTo>
                  <a:pt x="9725529" y="734508"/>
                </a:lnTo>
                <a:cubicBezTo>
                  <a:pt x="9723231" y="734440"/>
                  <a:pt x="9720933" y="734885"/>
                  <a:pt x="9718671" y="735843"/>
                </a:cubicBezTo>
                <a:cubicBezTo>
                  <a:pt x="9712436" y="738753"/>
                  <a:pt x="9706139" y="740754"/>
                  <a:pt x="9699807" y="741840"/>
                </a:cubicBezTo>
                <a:cubicBezTo>
                  <a:pt x="9689382" y="743007"/>
                  <a:pt x="9631354" y="743007"/>
                  <a:pt x="9544314" y="743007"/>
                </a:cubicBezTo>
                <a:cubicBezTo>
                  <a:pt x="9411489" y="743070"/>
                  <a:pt x="9211243" y="742266"/>
                  <a:pt x="9010236" y="741235"/>
                </a:cubicBezTo>
                <a:lnTo>
                  <a:pt x="8873667" y="740492"/>
                </a:lnTo>
                <a:lnTo>
                  <a:pt x="8869429" y="741840"/>
                </a:lnTo>
                <a:cubicBezTo>
                  <a:pt x="8859004" y="743007"/>
                  <a:pt x="8800976" y="743007"/>
                  <a:pt x="8713936" y="743007"/>
                </a:cubicBezTo>
                <a:cubicBezTo>
                  <a:pt x="8625386" y="743049"/>
                  <a:pt x="8506871" y="742706"/>
                  <a:pt x="8378142" y="742167"/>
                </a:cubicBezTo>
                <a:lnTo>
                  <a:pt x="8202497" y="741276"/>
                </a:lnTo>
                <a:lnTo>
                  <a:pt x="8197613" y="741840"/>
                </a:lnTo>
                <a:cubicBezTo>
                  <a:pt x="8168899" y="743007"/>
                  <a:pt x="8009069" y="743007"/>
                  <a:pt x="7769329" y="743007"/>
                </a:cubicBezTo>
                <a:cubicBezTo>
                  <a:pt x="7403483" y="743070"/>
                  <a:pt x="6851933" y="742266"/>
                  <a:pt x="6298289" y="741235"/>
                </a:cubicBezTo>
                <a:lnTo>
                  <a:pt x="5922130" y="740492"/>
                </a:lnTo>
                <a:lnTo>
                  <a:pt x="5910456" y="741840"/>
                </a:lnTo>
                <a:cubicBezTo>
                  <a:pt x="5881743" y="743007"/>
                  <a:pt x="5721913" y="743007"/>
                  <a:pt x="5482173" y="743007"/>
                </a:cubicBezTo>
                <a:cubicBezTo>
                  <a:pt x="4750481" y="743133"/>
                  <a:pt x="3275969" y="739790"/>
                  <a:pt x="2527539" y="738110"/>
                </a:cubicBezTo>
                <a:lnTo>
                  <a:pt x="2291960" y="737590"/>
                </a:lnTo>
                <a:lnTo>
                  <a:pt x="2278590" y="741840"/>
                </a:lnTo>
                <a:cubicBezTo>
                  <a:pt x="2268165" y="743007"/>
                  <a:pt x="2210137" y="743007"/>
                  <a:pt x="2123097" y="743007"/>
                </a:cubicBezTo>
                <a:cubicBezTo>
                  <a:pt x="1990273" y="743070"/>
                  <a:pt x="1790026" y="742266"/>
                  <a:pt x="1589019" y="741235"/>
                </a:cubicBezTo>
                <a:lnTo>
                  <a:pt x="1452450" y="740492"/>
                </a:lnTo>
                <a:lnTo>
                  <a:pt x="1448212" y="741840"/>
                </a:lnTo>
                <a:cubicBezTo>
                  <a:pt x="1437787" y="743007"/>
                  <a:pt x="1379759" y="743007"/>
                  <a:pt x="1292719" y="743007"/>
                </a:cubicBezTo>
                <a:cubicBezTo>
                  <a:pt x="938520" y="743175"/>
                  <a:pt x="104874" y="737175"/>
                  <a:pt x="55902" y="737175"/>
                </a:cubicBezTo>
                <a:cubicBezTo>
                  <a:pt x="47083" y="737435"/>
                  <a:pt x="38277" y="735422"/>
                  <a:pt x="29632" y="731174"/>
                </a:cubicBezTo>
                <a:cubicBezTo>
                  <a:pt x="18177" y="725677"/>
                  <a:pt x="12827" y="730843"/>
                  <a:pt x="9055" y="703513"/>
                </a:cubicBezTo>
                <a:cubicBezTo>
                  <a:pt x="5899" y="680683"/>
                  <a:pt x="7408" y="656852"/>
                  <a:pt x="6928" y="628021"/>
                </a:cubicBezTo>
                <a:cubicBezTo>
                  <a:pt x="5899" y="562199"/>
                  <a:pt x="5899" y="586862"/>
                  <a:pt x="5899" y="508540"/>
                </a:cubicBezTo>
                <a:lnTo>
                  <a:pt x="4870" y="445382"/>
                </a:lnTo>
                <a:lnTo>
                  <a:pt x="5158" y="408480"/>
                </a:lnTo>
                <a:lnTo>
                  <a:pt x="3395" y="368639"/>
                </a:lnTo>
                <a:cubicBezTo>
                  <a:pt x="1474" y="340622"/>
                  <a:pt x="-343" y="312626"/>
                  <a:pt x="274" y="284297"/>
                </a:cubicBezTo>
                <a:cubicBezTo>
                  <a:pt x="1509" y="242803"/>
                  <a:pt x="-206" y="269132"/>
                  <a:pt x="274" y="227471"/>
                </a:cubicBezTo>
                <a:cubicBezTo>
                  <a:pt x="274" y="198143"/>
                  <a:pt x="-343" y="168312"/>
                  <a:pt x="274" y="138984"/>
                </a:cubicBezTo>
                <a:cubicBezTo>
                  <a:pt x="-7" y="102333"/>
                  <a:pt x="541" y="65669"/>
                  <a:pt x="1920" y="29165"/>
                </a:cubicBezTo>
                <a:cubicBezTo>
                  <a:pt x="2881" y="13333"/>
                  <a:pt x="12826" y="10835"/>
                  <a:pt x="19684" y="8502"/>
                </a:cubicBezTo>
                <a:lnTo>
                  <a:pt x="26544" y="8502"/>
                </a:lnTo>
                <a:lnTo>
                  <a:pt x="31071" y="8502"/>
                </a:lnTo>
                <a:cubicBezTo>
                  <a:pt x="33369" y="8570"/>
                  <a:pt x="35667" y="8124"/>
                  <a:pt x="37930" y="7167"/>
                </a:cubicBezTo>
                <a:cubicBezTo>
                  <a:pt x="44164" y="4257"/>
                  <a:pt x="50461" y="2256"/>
                  <a:pt x="56793" y="1169"/>
                </a:cubicBezTo>
                <a:cubicBezTo>
                  <a:pt x="67218" y="3"/>
                  <a:pt x="125246" y="3"/>
                  <a:pt x="212287" y="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393" cap="flat">
            <a:noFill/>
            <a:prstDash val="solid"/>
            <a:miter/>
          </a:ln>
        </p:spPr>
        <p:txBody>
          <a:bodyPr vert="horz" wrap="square" lIns="457200" tIns="0" rIns="274320" bIns="36000" rtlCol="0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chemeClr val="tx2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Time to potentially </a:t>
            </a:r>
            <a:r>
              <a:rPr lang="en-US" sz="2800" b="1" dirty="0">
                <a:solidFill>
                  <a:schemeClr val="tx2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revisit</a:t>
            </a:r>
            <a:r>
              <a:rPr lang="en-US" sz="2800" dirty="0">
                <a:solidFill>
                  <a:schemeClr val="tx2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 your eCommerce team structure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65000"/>
                  <a:lumOff val="35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8C7326E-7899-452D-8DFB-006D8E7F98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, what do we need to do differently?</a:t>
            </a:r>
          </a:p>
        </p:txBody>
      </p:sp>
      <p:sp>
        <p:nvSpPr>
          <p:cNvPr id="5" name="Graphic 112">
            <a:extLst>
              <a:ext uri="{FF2B5EF4-FFF2-40B4-BE49-F238E27FC236}">
                <a16:creationId xmlns:a16="http://schemas.microsoft.com/office/drawing/2014/main" id="{26B1F70F-76F3-47B4-891B-20FBF5D2F19D}"/>
              </a:ext>
            </a:extLst>
          </p:cNvPr>
          <p:cNvSpPr/>
          <p:nvPr/>
        </p:nvSpPr>
        <p:spPr>
          <a:xfrm>
            <a:off x="349321" y="1328860"/>
            <a:ext cx="932021" cy="1203566"/>
          </a:xfrm>
          <a:custGeom>
            <a:avLst/>
            <a:gdLst>
              <a:gd name="connsiteX0" fmla="*/ 14007 w 461486"/>
              <a:gd name="connsiteY0" fmla="*/ 9284 h 401764"/>
              <a:gd name="connsiteX1" fmla="*/ 67160 w 461486"/>
              <a:gd name="connsiteY1" fmla="*/ 1466 h 401764"/>
              <a:gd name="connsiteX2" fmla="*/ 128402 w 461486"/>
              <a:gd name="connsiteY2" fmla="*/ 0 h 401764"/>
              <a:gd name="connsiteX3" fmla="*/ 223251 w 461486"/>
              <a:gd name="connsiteY3" fmla="*/ 4289 h 401764"/>
              <a:gd name="connsiteX4" fmla="*/ 266033 w 461486"/>
              <a:gd name="connsiteY4" fmla="*/ 5429 h 401764"/>
              <a:gd name="connsiteX5" fmla="*/ 304798 w 461486"/>
              <a:gd name="connsiteY5" fmla="*/ 12379 h 401764"/>
              <a:gd name="connsiteX6" fmla="*/ 328741 w 461486"/>
              <a:gd name="connsiteY6" fmla="*/ 32575 h 401764"/>
              <a:gd name="connsiteX7" fmla="*/ 445850 w 461486"/>
              <a:gd name="connsiteY7" fmla="*/ 162497 h 401764"/>
              <a:gd name="connsiteX8" fmla="*/ 464092 w 461486"/>
              <a:gd name="connsiteY8" fmla="*/ 198059 h 401764"/>
              <a:gd name="connsiteX9" fmla="*/ 456980 w 461486"/>
              <a:gd name="connsiteY9" fmla="*/ 219776 h 401764"/>
              <a:gd name="connsiteX10" fmla="*/ 366637 w 461486"/>
              <a:gd name="connsiteY10" fmla="*/ 332161 h 401764"/>
              <a:gd name="connsiteX11" fmla="*/ 317774 w 461486"/>
              <a:gd name="connsiteY11" fmla="*/ 382164 h 401764"/>
              <a:gd name="connsiteX12" fmla="*/ 306210 w 461486"/>
              <a:gd name="connsiteY12" fmla="*/ 392534 h 401764"/>
              <a:gd name="connsiteX13" fmla="*/ 247031 w 461486"/>
              <a:gd name="connsiteY13" fmla="*/ 401330 h 401764"/>
              <a:gd name="connsiteX14" fmla="*/ 177048 w 461486"/>
              <a:gd name="connsiteY14" fmla="*/ 400570 h 401764"/>
              <a:gd name="connsiteX15" fmla="*/ 99084 w 461486"/>
              <a:gd name="connsiteY15" fmla="*/ 398506 h 401764"/>
              <a:gd name="connsiteX16" fmla="*/ 24812 w 461486"/>
              <a:gd name="connsiteY16" fmla="*/ 387648 h 401764"/>
              <a:gd name="connsiteX17" fmla="*/ 18025 w 461486"/>
              <a:gd name="connsiteY17" fmla="*/ 385748 h 401764"/>
              <a:gd name="connsiteX18" fmla="*/ 13899 w 461486"/>
              <a:gd name="connsiteY18" fmla="*/ 378690 h 401764"/>
              <a:gd name="connsiteX19" fmla="*/ 4561 w 461486"/>
              <a:gd name="connsiteY19" fmla="*/ 339545 h 401764"/>
              <a:gd name="connsiteX20" fmla="*/ 3800 w 461486"/>
              <a:gd name="connsiteY20" fmla="*/ 295242 h 401764"/>
              <a:gd name="connsiteX21" fmla="*/ 0 w 461486"/>
              <a:gd name="connsiteY21" fmla="*/ 249745 h 401764"/>
              <a:gd name="connsiteX22" fmla="*/ 1846 w 461486"/>
              <a:gd name="connsiteY22" fmla="*/ 219450 h 401764"/>
              <a:gd name="connsiteX23" fmla="*/ 1520 w 461486"/>
              <a:gd name="connsiteY23" fmla="*/ 183454 h 401764"/>
              <a:gd name="connsiteX24" fmla="*/ 869 w 461486"/>
              <a:gd name="connsiteY24" fmla="*/ 96586 h 401764"/>
              <a:gd name="connsiteX25" fmla="*/ 5538 w 461486"/>
              <a:gd name="connsiteY25" fmla="*/ 47289 h 401764"/>
              <a:gd name="connsiteX26" fmla="*/ 14007 w 461486"/>
              <a:gd name="connsiteY26" fmla="*/ 9284 h 401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61486" h="401764">
                <a:moveTo>
                  <a:pt x="14007" y="9284"/>
                </a:moveTo>
                <a:cubicBezTo>
                  <a:pt x="26820" y="0"/>
                  <a:pt x="52012" y="2335"/>
                  <a:pt x="67160" y="1466"/>
                </a:cubicBezTo>
                <a:cubicBezTo>
                  <a:pt x="87519" y="0"/>
                  <a:pt x="107988" y="0"/>
                  <a:pt x="128402" y="0"/>
                </a:cubicBezTo>
                <a:cubicBezTo>
                  <a:pt x="160054" y="380"/>
                  <a:pt x="191652" y="2117"/>
                  <a:pt x="223251" y="4289"/>
                </a:cubicBezTo>
                <a:cubicBezTo>
                  <a:pt x="237747" y="5429"/>
                  <a:pt x="251591" y="5429"/>
                  <a:pt x="266033" y="5429"/>
                </a:cubicBezTo>
                <a:cubicBezTo>
                  <a:pt x="279329" y="4539"/>
                  <a:pt x="292640" y="6926"/>
                  <a:pt x="304798" y="12379"/>
                </a:cubicBezTo>
                <a:cubicBezTo>
                  <a:pt x="313830" y="17756"/>
                  <a:pt x="321918" y="24579"/>
                  <a:pt x="328741" y="32575"/>
                </a:cubicBezTo>
                <a:cubicBezTo>
                  <a:pt x="368338" y="75466"/>
                  <a:pt x="407374" y="118774"/>
                  <a:pt x="445850" y="162497"/>
                </a:cubicBezTo>
                <a:cubicBezTo>
                  <a:pt x="454862" y="172759"/>
                  <a:pt x="464418" y="184214"/>
                  <a:pt x="464092" y="198059"/>
                </a:cubicBezTo>
                <a:cubicBezTo>
                  <a:pt x="463427" y="205749"/>
                  <a:pt x="460993" y="213182"/>
                  <a:pt x="456980" y="219776"/>
                </a:cubicBezTo>
                <a:cubicBezTo>
                  <a:pt x="434340" y="262558"/>
                  <a:pt x="400298" y="297685"/>
                  <a:pt x="366637" y="332161"/>
                </a:cubicBezTo>
                <a:lnTo>
                  <a:pt x="317774" y="382164"/>
                </a:lnTo>
                <a:cubicBezTo>
                  <a:pt x="314287" y="386011"/>
                  <a:pt x="310412" y="389486"/>
                  <a:pt x="306210" y="392534"/>
                </a:cubicBezTo>
                <a:cubicBezTo>
                  <a:pt x="288402" y="404533"/>
                  <a:pt x="267282" y="402307"/>
                  <a:pt x="247031" y="401330"/>
                </a:cubicBezTo>
                <a:cubicBezTo>
                  <a:pt x="223685" y="400244"/>
                  <a:pt x="200339" y="400515"/>
                  <a:pt x="177048" y="400570"/>
                </a:cubicBezTo>
                <a:cubicBezTo>
                  <a:pt x="151042" y="400570"/>
                  <a:pt x="124981" y="400570"/>
                  <a:pt x="99084" y="398506"/>
                </a:cubicBezTo>
                <a:cubicBezTo>
                  <a:pt x="74001" y="396389"/>
                  <a:pt x="49678" y="390091"/>
                  <a:pt x="24812" y="387648"/>
                </a:cubicBezTo>
                <a:cubicBezTo>
                  <a:pt x="22419" y="387644"/>
                  <a:pt x="20072" y="386987"/>
                  <a:pt x="18025" y="385748"/>
                </a:cubicBezTo>
                <a:cubicBezTo>
                  <a:pt x="15946" y="383884"/>
                  <a:pt x="14503" y="381416"/>
                  <a:pt x="13899" y="378690"/>
                </a:cubicBezTo>
                <a:cubicBezTo>
                  <a:pt x="8938" y="366153"/>
                  <a:pt x="5793" y="352971"/>
                  <a:pt x="4561" y="339545"/>
                </a:cubicBezTo>
                <a:cubicBezTo>
                  <a:pt x="4018" y="325266"/>
                  <a:pt x="4561" y="309956"/>
                  <a:pt x="3800" y="295242"/>
                </a:cubicBezTo>
                <a:cubicBezTo>
                  <a:pt x="3040" y="280529"/>
                  <a:pt x="0" y="264838"/>
                  <a:pt x="0" y="249745"/>
                </a:cubicBezTo>
                <a:cubicBezTo>
                  <a:pt x="0" y="239430"/>
                  <a:pt x="2117" y="229766"/>
                  <a:pt x="1846" y="219450"/>
                </a:cubicBezTo>
                <a:cubicBezTo>
                  <a:pt x="1520" y="207397"/>
                  <a:pt x="1412" y="195453"/>
                  <a:pt x="1520" y="183454"/>
                </a:cubicBezTo>
                <a:cubicBezTo>
                  <a:pt x="1520" y="154842"/>
                  <a:pt x="-1249" y="125090"/>
                  <a:pt x="869" y="96586"/>
                </a:cubicBezTo>
                <a:cubicBezTo>
                  <a:pt x="2063" y="80299"/>
                  <a:pt x="5212" y="64011"/>
                  <a:pt x="5538" y="47289"/>
                </a:cubicBezTo>
                <a:cubicBezTo>
                  <a:pt x="5809" y="34421"/>
                  <a:pt x="1574" y="17971"/>
                  <a:pt x="14007" y="9284"/>
                </a:cubicBezTo>
              </a:path>
            </a:pathLst>
          </a:custGeom>
          <a:solidFill>
            <a:srgbClr val="EAAB5E"/>
          </a:solidFill>
          <a:ln w="5379" cap="flat">
            <a:noFill/>
            <a:prstDash val="solid"/>
            <a:miter/>
          </a:ln>
        </p:spPr>
        <p:txBody>
          <a:bodyPr lIns="0" tIns="0" rIns="9144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DLZ BITE TYPE"/>
                <a:ea typeface="+mn-ea"/>
                <a:cs typeface="+mn-cs"/>
              </a:rPr>
              <a:t>1.</a:t>
            </a:r>
          </a:p>
        </p:txBody>
      </p:sp>
      <p:sp>
        <p:nvSpPr>
          <p:cNvPr id="7" name="Freeform 60">
            <a:extLst>
              <a:ext uri="{FF2B5EF4-FFF2-40B4-BE49-F238E27FC236}">
                <a16:creationId xmlns:a16="http://schemas.microsoft.com/office/drawing/2014/main" id="{4A5149EE-9D9A-417A-A802-74EF34F28712}"/>
              </a:ext>
            </a:extLst>
          </p:cNvPr>
          <p:cNvSpPr/>
          <p:nvPr/>
        </p:nvSpPr>
        <p:spPr>
          <a:xfrm>
            <a:off x="1001621" y="3014615"/>
            <a:ext cx="10205095" cy="1242156"/>
          </a:xfrm>
          <a:custGeom>
            <a:avLst/>
            <a:gdLst>
              <a:gd name="connsiteX0" fmla="*/ 212287 w 9756600"/>
              <a:gd name="connsiteY0" fmla="*/ 3 h 743010"/>
              <a:gd name="connsiteX1" fmla="*/ 746364 w 9756600"/>
              <a:gd name="connsiteY1" fmla="*/ 1774 h 743010"/>
              <a:gd name="connsiteX2" fmla="*/ 882932 w 9756600"/>
              <a:gd name="connsiteY2" fmla="*/ 2517 h 743010"/>
              <a:gd name="connsiteX3" fmla="*/ 887171 w 9756600"/>
              <a:gd name="connsiteY3" fmla="*/ 1169 h 743010"/>
              <a:gd name="connsiteX4" fmla="*/ 1042665 w 9756600"/>
              <a:gd name="connsiteY4" fmla="*/ 3 h 743010"/>
              <a:gd name="connsiteX5" fmla="*/ 1775533 w 9756600"/>
              <a:gd name="connsiteY5" fmla="*/ 2856 h 743010"/>
              <a:gd name="connsiteX6" fmla="*/ 2049129 w 9756600"/>
              <a:gd name="connsiteY6" fmla="*/ 4501 h 743010"/>
              <a:gd name="connsiteX7" fmla="*/ 2077993 w 9756600"/>
              <a:gd name="connsiteY7" fmla="*/ 1169 h 743010"/>
              <a:gd name="connsiteX8" fmla="*/ 2506278 w 9756600"/>
              <a:gd name="connsiteY8" fmla="*/ 3 h 743010"/>
              <a:gd name="connsiteX9" fmla="*/ 3977317 w 9756600"/>
              <a:gd name="connsiteY9" fmla="*/ 1774 h 743010"/>
              <a:gd name="connsiteX10" fmla="*/ 4353475 w 9756600"/>
              <a:gd name="connsiteY10" fmla="*/ 2517 h 743010"/>
              <a:gd name="connsiteX11" fmla="*/ 4365150 w 9756600"/>
              <a:gd name="connsiteY11" fmla="*/ 1169 h 743010"/>
              <a:gd name="connsiteX12" fmla="*/ 4793434 w 9756600"/>
              <a:gd name="connsiteY12" fmla="*/ 3 h 743010"/>
              <a:gd name="connsiteX13" fmla="*/ 7320146 w 9756600"/>
              <a:gd name="connsiteY13" fmla="*/ 3945 h 743010"/>
              <a:gd name="connsiteX14" fmla="*/ 7468241 w 9756600"/>
              <a:gd name="connsiteY14" fmla="*/ 4275 h 743010"/>
              <a:gd name="connsiteX15" fmla="*/ 7478010 w 9756600"/>
              <a:gd name="connsiteY15" fmla="*/ 1169 h 743010"/>
              <a:gd name="connsiteX16" fmla="*/ 7633504 w 9756600"/>
              <a:gd name="connsiteY16" fmla="*/ 3 h 743010"/>
              <a:gd name="connsiteX17" fmla="*/ 8167581 w 9756600"/>
              <a:gd name="connsiteY17" fmla="*/ 1774 h 743010"/>
              <a:gd name="connsiteX18" fmla="*/ 8304149 w 9756600"/>
              <a:gd name="connsiteY18" fmla="*/ 2517 h 743010"/>
              <a:gd name="connsiteX19" fmla="*/ 8308388 w 9756600"/>
              <a:gd name="connsiteY19" fmla="*/ 1169 h 743010"/>
              <a:gd name="connsiteX20" fmla="*/ 8463881 w 9756600"/>
              <a:gd name="connsiteY20" fmla="*/ 3 h 743010"/>
              <a:gd name="connsiteX21" fmla="*/ 9700698 w 9756600"/>
              <a:gd name="connsiteY21" fmla="*/ 5835 h 743010"/>
              <a:gd name="connsiteX22" fmla="*/ 9726968 w 9756600"/>
              <a:gd name="connsiteY22" fmla="*/ 11836 h 743010"/>
              <a:gd name="connsiteX23" fmla="*/ 9747545 w 9756600"/>
              <a:gd name="connsiteY23" fmla="*/ 39497 h 743010"/>
              <a:gd name="connsiteX24" fmla="*/ 9749672 w 9756600"/>
              <a:gd name="connsiteY24" fmla="*/ 114988 h 743010"/>
              <a:gd name="connsiteX25" fmla="*/ 9750701 w 9756600"/>
              <a:gd name="connsiteY25" fmla="*/ 234470 h 743010"/>
              <a:gd name="connsiteX26" fmla="*/ 9751730 w 9756600"/>
              <a:gd name="connsiteY26" fmla="*/ 297628 h 743010"/>
              <a:gd name="connsiteX27" fmla="*/ 9751442 w 9756600"/>
              <a:gd name="connsiteY27" fmla="*/ 334530 h 743010"/>
              <a:gd name="connsiteX28" fmla="*/ 9753205 w 9756600"/>
              <a:gd name="connsiteY28" fmla="*/ 374371 h 743010"/>
              <a:gd name="connsiteX29" fmla="*/ 9756326 w 9756600"/>
              <a:gd name="connsiteY29" fmla="*/ 458712 h 743010"/>
              <a:gd name="connsiteX30" fmla="*/ 9756326 w 9756600"/>
              <a:gd name="connsiteY30" fmla="*/ 515538 h 743010"/>
              <a:gd name="connsiteX31" fmla="*/ 9756326 w 9756600"/>
              <a:gd name="connsiteY31" fmla="*/ 604026 h 743010"/>
              <a:gd name="connsiteX32" fmla="*/ 9754679 w 9756600"/>
              <a:gd name="connsiteY32" fmla="*/ 713845 h 743010"/>
              <a:gd name="connsiteX33" fmla="*/ 9736916 w 9756600"/>
              <a:gd name="connsiteY33" fmla="*/ 734508 h 743010"/>
              <a:gd name="connsiteX34" fmla="*/ 9730055 w 9756600"/>
              <a:gd name="connsiteY34" fmla="*/ 734508 h 743010"/>
              <a:gd name="connsiteX35" fmla="*/ 9725529 w 9756600"/>
              <a:gd name="connsiteY35" fmla="*/ 734508 h 743010"/>
              <a:gd name="connsiteX36" fmla="*/ 9718671 w 9756600"/>
              <a:gd name="connsiteY36" fmla="*/ 735843 h 743010"/>
              <a:gd name="connsiteX37" fmla="*/ 9699807 w 9756600"/>
              <a:gd name="connsiteY37" fmla="*/ 741840 h 743010"/>
              <a:gd name="connsiteX38" fmla="*/ 9544314 w 9756600"/>
              <a:gd name="connsiteY38" fmla="*/ 743007 h 743010"/>
              <a:gd name="connsiteX39" fmla="*/ 9010236 w 9756600"/>
              <a:gd name="connsiteY39" fmla="*/ 741235 h 743010"/>
              <a:gd name="connsiteX40" fmla="*/ 8873667 w 9756600"/>
              <a:gd name="connsiteY40" fmla="*/ 740492 h 743010"/>
              <a:gd name="connsiteX41" fmla="*/ 8869429 w 9756600"/>
              <a:gd name="connsiteY41" fmla="*/ 741840 h 743010"/>
              <a:gd name="connsiteX42" fmla="*/ 8713936 w 9756600"/>
              <a:gd name="connsiteY42" fmla="*/ 743007 h 743010"/>
              <a:gd name="connsiteX43" fmla="*/ 8378142 w 9756600"/>
              <a:gd name="connsiteY43" fmla="*/ 742167 h 743010"/>
              <a:gd name="connsiteX44" fmla="*/ 8202497 w 9756600"/>
              <a:gd name="connsiteY44" fmla="*/ 741276 h 743010"/>
              <a:gd name="connsiteX45" fmla="*/ 8197613 w 9756600"/>
              <a:gd name="connsiteY45" fmla="*/ 741840 h 743010"/>
              <a:gd name="connsiteX46" fmla="*/ 7769329 w 9756600"/>
              <a:gd name="connsiteY46" fmla="*/ 743007 h 743010"/>
              <a:gd name="connsiteX47" fmla="*/ 6298289 w 9756600"/>
              <a:gd name="connsiteY47" fmla="*/ 741235 h 743010"/>
              <a:gd name="connsiteX48" fmla="*/ 5922130 w 9756600"/>
              <a:gd name="connsiteY48" fmla="*/ 740492 h 743010"/>
              <a:gd name="connsiteX49" fmla="*/ 5910456 w 9756600"/>
              <a:gd name="connsiteY49" fmla="*/ 741840 h 743010"/>
              <a:gd name="connsiteX50" fmla="*/ 5482173 w 9756600"/>
              <a:gd name="connsiteY50" fmla="*/ 743007 h 743010"/>
              <a:gd name="connsiteX51" fmla="*/ 2527539 w 9756600"/>
              <a:gd name="connsiteY51" fmla="*/ 738110 h 743010"/>
              <a:gd name="connsiteX52" fmla="*/ 2291960 w 9756600"/>
              <a:gd name="connsiteY52" fmla="*/ 737590 h 743010"/>
              <a:gd name="connsiteX53" fmla="*/ 2278590 w 9756600"/>
              <a:gd name="connsiteY53" fmla="*/ 741840 h 743010"/>
              <a:gd name="connsiteX54" fmla="*/ 2123097 w 9756600"/>
              <a:gd name="connsiteY54" fmla="*/ 743007 h 743010"/>
              <a:gd name="connsiteX55" fmla="*/ 1589019 w 9756600"/>
              <a:gd name="connsiteY55" fmla="*/ 741235 h 743010"/>
              <a:gd name="connsiteX56" fmla="*/ 1452450 w 9756600"/>
              <a:gd name="connsiteY56" fmla="*/ 740492 h 743010"/>
              <a:gd name="connsiteX57" fmla="*/ 1448212 w 9756600"/>
              <a:gd name="connsiteY57" fmla="*/ 741840 h 743010"/>
              <a:gd name="connsiteX58" fmla="*/ 1292719 w 9756600"/>
              <a:gd name="connsiteY58" fmla="*/ 743007 h 743010"/>
              <a:gd name="connsiteX59" fmla="*/ 55902 w 9756600"/>
              <a:gd name="connsiteY59" fmla="*/ 737175 h 743010"/>
              <a:gd name="connsiteX60" fmla="*/ 29632 w 9756600"/>
              <a:gd name="connsiteY60" fmla="*/ 731174 h 743010"/>
              <a:gd name="connsiteX61" fmla="*/ 9055 w 9756600"/>
              <a:gd name="connsiteY61" fmla="*/ 703513 h 743010"/>
              <a:gd name="connsiteX62" fmla="*/ 6928 w 9756600"/>
              <a:gd name="connsiteY62" fmla="*/ 628021 h 743010"/>
              <a:gd name="connsiteX63" fmla="*/ 5899 w 9756600"/>
              <a:gd name="connsiteY63" fmla="*/ 508540 h 743010"/>
              <a:gd name="connsiteX64" fmla="*/ 4870 w 9756600"/>
              <a:gd name="connsiteY64" fmla="*/ 445382 h 743010"/>
              <a:gd name="connsiteX65" fmla="*/ 5158 w 9756600"/>
              <a:gd name="connsiteY65" fmla="*/ 408480 h 743010"/>
              <a:gd name="connsiteX66" fmla="*/ 3395 w 9756600"/>
              <a:gd name="connsiteY66" fmla="*/ 368639 h 743010"/>
              <a:gd name="connsiteX67" fmla="*/ 274 w 9756600"/>
              <a:gd name="connsiteY67" fmla="*/ 284297 h 743010"/>
              <a:gd name="connsiteX68" fmla="*/ 274 w 9756600"/>
              <a:gd name="connsiteY68" fmla="*/ 227471 h 743010"/>
              <a:gd name="connsiteX69" fmla="*/ 274 w 9756600"/>
              <a:gd name="connsiteY69" fmla="*/ 138984 h 743010"/>
              <a:gd name="connsiteX70" fmla="*/ 1920 w 9756600"/>
              <a:gd name="connsiteY70" fmla="*/ 29165 h 743010"/>
              <a:gd name="connsiteX71" fmla="*/ 19684 w 9756600"/>
              <a:gd name="connsiteY71" fmla="*/ 8502 h 743010"/>
              <a:gd name="connsiteX72" fmla="*/ 26544 w 9756600"/>
              <a:gd name="connsiteY72" fmla="*/ 8502 h 743010"/>
              <a:gd name="connsiteX73" fmla="*/ 31071 w 9756600"/>
              <a:gd name="connsiteY73" fmla="*/ 8502 h 743010"/>
              <a:gd name="connsiteX74" fmla="*/ 37930 w 9756600"/>
              <a:gd name="connsiteY74" fmla="*/ 7167 h 743010"/>
              <a:gd name="connsiteX75" fmla="*/ 56793 w 9756600"/>
              <a:gd name="connsiteY75" fmla="*/ 1169 h 743010"/>
              <a:gd name="connsiteX76" fmla="*/ 212287 w 9756600"/>
              <a:gd name="connsiteY76" fmla="*/ 3 h 74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9756600" h="743010">
                <a:moveTo>
                  <a:pt x="212287" y="3"/>
                </a:moveTo>
                <a:cubicBezTo>
                  <a:pt x="345111" y="-61"/>
                  <a:pt x="545358" y="744"/>
                  <a:pt x="746364" y="1774"/>
                </a:cubicBezTo>
                <a:lnTo>
                  <a:pt x="882932" y="2517"/>
                </a:lnTo>
                <a:lnTo>
                  <a:pt x="887171" y="1169"/>
                </a:lnTo>
                <a:cubicBezTo>
                  <a:pt x="897596" y="3"/>
                  <a:pt x="955624" y="3"/>
                  <a:pt x="1042665" y="3"/>
                </a:cubicBezTo>
                <a:cubicBezTo>
                  <a:pt x="1219764" y="-81"/>
                  <a:pt x="1516725" y="1377"/>
                  <a:pt x="1775533" y="2856"/>
                </a:cubicBezTo>
                <a:lnTo>
                  <a:pt x="2049129" y="4501"/>
                </a:lnTo>
                <a:lnTo>
                  <a:pt x="2077993" y="1169"/>
                </a:lnTo>
                <a:cubicBezTo>
                  <a:pt x="2106707" y="3"/>
                  <a:pt x="2266537" y="3"/>
                  <a:pt x="2506278" y="3"/>
                </a:cubicBezTo>
                <a:cubicBezTo>
                  <a:pt x="2872124" y="-61"/>
                  <a:pt x="3423674" y="744"/>
                  <a:pt x="3977317" y="1774"/>
                </a:cubicBezTo>
                <a:lnTo>
                  <a:pt x="4353475" y="2517"/>
                </a:lnTo>
                <a:lnTo>
                  <a:pt x="4365150" y="1169"/>
                </a:lnTo>
                <a:cubicBezTo>
                  <a:pt x="4393864" y="3"/>
                  <a:pt x="4553694" y="3"/>
                  <a:pt x="4793434" y="3"/>
                </a:cubicBezTo>
                <a:cubicBezTo>
                  <a:pt x="5403178" y="-103"/>
                  <a:pt x="6528768" y="2202"/>
                  <a:pt x="7320146" y="3945"/>
                </a:cubicBezTo>
                <a:lnTo>
                  <a:pt x="7468241" y="4275"/>
                </a:lnTo>
                <a:lnTo>
                  <a:pt x="7478010" y="1169"/>
                </a:lnTo>
                <a:cubicBezTo>
                  <a:pt x="7488435" y="3"/>
                  <a:pt x="7546463" y="3"/>
                  <a:pt x="7633504" y="3"/>
                </a:cubicBezTo>
                <a:cubicBezTo>
                  <a:pt x="7766328" y="-61"/>
                  <a:pt x="7966575" y="744"/>
                  <a:pt x="8167581" y="1774"/>
                </a:cubicBezTo>
                <a:lnTo>
                  <a:pt x="8304149" y="2517"/>
                </a:lnTo>
                <a:lnTo>
                  <a:pt x="8308388" y="1169"/>
                </a:lnTo>
                <a:cubicBezTo>
                  <a:pt x="8318813" y="3"/>
                  <a:pt x="8376841" y="3"/>
                  <a:pt x="8463881" y="3"/>
                </a:cubicBezTo>
                <a:cubicBezTo>
                  <a:pt x="8818080" y="-166"/>
                  <a:pt x="9651726" y="5835"/>
                  <a:pt x="9700698" y="5835"/>
                </a:cubicBezTo>
                <a:cubicBezTo>
                  <a:pt x="9709517" y="5574"/>
                  <a:pt x="9718323" y="7588"/>
                  <a:pt x="9726968" y="11836"/>
                </a:cubicBezTo>
                <a:cubicBezTo>
                  <a:pt x="9738423" y="17333"/>
                  <a:pt x="9743773" y="12167"/>
                  <a:pt x="9747545" y="39497"/>
                </a:cubicBezTo>
                <a:cubicBezTo>
                  <a:pt x="9750701" y="62327"/>
                  <a:pt x="9749191" y="86157"/>
                  <a:pt x="9749672" y="114988"/>
                </a:cubicBezTo>
                <a:cubicBezTo>
                  <a:pt x="9750701" y="180811"/>
                  <a:pt x="9750701" y="156149"/>
                  <a:pt x="9750701" y="234470"/>
                </a:cubicBezTo>
                <a:lnTo>
                  <a:pt x="9751730" y="297628"/>
                </a:lnTo>
                <a:lnTo>
                  <a:pt x="9751442" y="334530"/>
                </a:lnTo>
                <a:lnTo>
                  <a:pt x="9753205" y="374371"/>
                </a:lnTo>
                <a:cubicBezTo>
                  <a:pt x="9755126" y="402388"/>
                  <a:pt x="9756943" y="430383"/>
                  <a:pt x="9756326" y="458712"/>
                </a:cubicBezTo>
                <a:cubicBezTo>
                  <a:pt x="9755091" y="500207"/>
                  <a:pt x="9756805" y="473878"/>
                  <a:pt x="9756326" y="515538"/>
                </a:cubicBezTo>
                <a:cubicBezTo>
                  <a:pt x="9756326" y="544866"/>
                  <a:pt x="9756943" y="574698"/>
                  <a:pt x="9756326" y="604026"/>
                </a:cubicBezTo>
                <a:cubicBezTo>
                  <a:pt x="9756607" y="640677"/>
                  <a:pt x="9756059" y="677341"/>
                  <a:pt x="9754679" y="713845"/>
                </a:cubicBezTo>
                <a:cubicBezTo>
                  <a:pt x="9753719" y="729677"/>
                  <a:pt x="9743775" y="732175"/>
                  <a:pt x="9736916" y="734508"/>
                </a:cubicBezTo>
                <a:lnTo>
                  <a:pt x="9730055" y="734508"/>
                </a:lnTo>
                <a:lnTo>
                  <a:pt x="9725529" y="734508"/>
                </a:lnTo>
                <a:cubicBezTo>
                  <a:pt x="9723231" y="734440"/>
                  <a:pt x="9720933" y="734885"/>
                  <a:pt x="9718671" y="735843"/>
                </a:cubicBezTo>
                <a:cubicBezTo>
                  <a:pt x="9712436" y="738753"/>
                  <a:pt x="9706139" y="740754"/>
                  <a:pt x="9699807" y="741840"/>
                </a:cubicBezTo>
                <a:cubicBezTo>
                  <a:pt x="9689382" y="743007"/>
                  <a:pt x="9631354" y="743007"/>
                  <a:pt x="9544314" y="743007"/>
                </a:cubicBezTo>
                <a:cubicBezTo>
                  <a:pt x="9411489" y="743070"/>
                  <a:pt x="9211243" y="742266"/>
                  <a:pt x="9010236" y="741235"/>
                </a:cubicBezTo>
                <a:lnTo>
                  <a:pt x="8873667" y="740492"/>
                </a:lnTo>
                <a:lnTo>
                  <a:pt x="8869429" y="741840"/>
                </a:lnTo>
                <a:cubicBezTo>
                  <a:pt x="8859004" y="743007"/>
                  <a:pt x="8800976" y="743007"/>
                  <a:pt x="8713936" y="743007"/>
                </a:cubicBezTo>
                <a:cubicBezTo>
                  <a:pt x="8625386" y="743049"/>
                  <a:pt x="8506871" y="742706"/>
                  <a:pt x="8378142" y="742167"/>
                </a:cubicBezTo>
                <a:lnTo>
                  <a:pt x="8202497" y="741276"/>
                </a:lnTo>
                <a:lnTo>
                  <a:pt x="8197613" y="741840"/>
                </a:lnTo>
                <a:cubicBezTo>
                  <a:pt x="8168899" y="743007"/>
                  <a:pt x="8009069" y="743007"/>
                  <a:pt x="7769329" y="743007"/>
                </a:cubicBezTo>
                <a:cubicBezTo>
                  <a:pt x="7403483" y="743070"/>
                  <a:pt x="6851933" y="742266"/>
                  <a:pt x="6298289" y="741235"/>
                </a:cubicBezTo>
                <a:lnTo>
                  <a:pt x="5922130" y="740492"/>
                </a:lnTo>
                <a:lnTo>
                  <a:pt x="5910456" y="741840"/>
                </a:lnTo>
                <a:cubicBezTo>
                  <a:pt x="5881743" y="743007"/>
                  <a:pt x="5721913" y="743007"/>
                  <a:pt x="5482173" y="743007"/>
                </a:cubicBezTo>
                <a:cubicBezTo>
                  <a:pt x="4750481" y="743133"/>
                  <a:pt x="3275969" y="739790"/>
                  <a:pt x="2527539" y="738110"/>
                </a:cubicBezTo>
                <a:lnTo>
                  <a:pt x="2291960" y="737590"/>
                </a:lnTo>
                <a:lnTo>
                  <a:pt x="2278590" y="741840"/>
                </a:lnTo>
                <a:cubicBezTo>
                  <a:pt x="2268165" y="743007"/>
                  <a:pt x="2210137" y="743007"/>
                  <a:pt x="2123097" y="743007"/>
                </a:cubicBezTo>
                <a:cubicBezTo>
                  <a:pt x="1990273" y="743070"/>
                  <a:pt x="1790026" y="742266"/>
                  <a:pt x="1589019" y="741235"/>
                </a:cubicBezTo>
                <a:lnTo>
                  <a:pt x="1452450" y="740492"/>
                </a:lnTo>
                <a:lnTo>
                  <a:pt x="1448212" y="741840"/>
                </a:lnTo>
                <a:cubicBezTo>
                  <a:pt x="1437787" y="743007"/>
                  <a:pt x="1379759" y="743007"/>
                  <a:pt x="1292719" y="743007"/>
                </a:cubicBezTo>
                <a:cubicBezTo>
                  <a:pt x="938520" y="743175"/>
                  <a:pt x="104874" y="737175"/>
                  <a:pt x="55902" y="737175"/>
                </a:cubicBezTo>
                <a:cubicBezTo>
                  <a:pt x="47083" y="737435"/>
                  <a:pt x="38277" y="735422"/>
                  <a:pt x="29632" y="731174"/>
                </a:cubicBezTo>
                <a:cubicBezTo>
                  <a:pt x="18177" y="725677"/>
                  <a:pt x="12827" y="730843"/>
                  <a:pt x="9055" y="703513"/>
                </a:cubicBezTo>
                <a:cubicBezTo>
                  <a:pt x="5899" y="680683"/>
                  <a:pt x="7408" y="656852"/>
                  <a:pt x="6928" y="628021"/>
                </a:cubicBezTo>
                <a:cubicBezTo>
                  <a:pt x="5899" y="562199"/>
                  <a:pt x="5899" y="586862"/>
                  <a:pt x="5899" y="508540"/>
                </a:cubicBezTo>
                <a:lnTo>
                  <a:pt x="4870" y="445382"/>
                </a:lnTo>
                <a:lnTo>
                  <a:pt x="5158" y="408480"/>
                </a:lnTo>
                <a:lnTo>
                  <a:pt x="3395" y="368639"/>
                </a:lnTo>
                <a:cubicBezTo>
                  <a:pt x="1474" y="340622"/>
                  <a:pt x="-343" y="312626"/>
                  <a:pt x="274" y="284297"/>
                </a:cubicBezTo>
                <a:cubicBezTo>
                  <a:pt x="1509" y="242803"/>
                  <a:pt x="-206" y="269132"/>
                  <a:pt x="274" y="227471"/>
                </a:cubicBezTo>
                <a:cubicBezTo>
                  <a:pt x="274" y="198143"/>
                  <a:pt x="-343" y="168312"/>
                  <a:pt x="274" y="138984"/>
                </a:cubicBezTo>
                <a:cubicBezTo>
                  <a:pt x="-7" y="102333"/>
                  <a:pt x="541" y="65669"/>
                  <a:pt x="1920" y="29165"/>
                </a:cubicBezTo>
                <a:cubicBezTo>
                  <a:pt x="2881" y="13333"/>
                  <a:pt x="12826" y="10835"/>
                  <a:pt x="19684" y="8502"/>
                </a:cubicBezTo>
                <a:lnTo>
                  <a:pt x="26544" y="8502"/>
                </a:lnTo>
                <a:lnTo>
                  <a:pt x="31071" y="8502"/>
                </a:lnTo>
                <a:cubicBezTo>
                  <a:pt x="33369" y="8570"/>
                  <a:pt x="35667" y="8124"/>
                  <a:pt x="37930" y="7167"/>
                </a:cubicBezTo>
                <a:cubicBezTo>
                  <a:pt x="44164" y="4257"/>
                  <a:pt x="50461" y="2256"/>
                  <a:pt x="56793" y="1169"/>
                </a:cubicBezTo>
                <a:cubicBezTo>
                  <a:pt x="67218" y="3"/>
                  <a:pt x="125246" y="3"/>
                  <a:pt x="212287" y="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393" cap="flat">
            <a:noFill/>
            <a:prstDash val="solid"/>
            <a:miter/>
          </a:ln>
        </p:spPr>
        <p:txBody>
          <a:bodyPr vert="horz" wrap="square" lIns="457200" tIns="0" rIns="274320" bIns="36000" rtlCol="0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chemeClr val="tx2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Time to </a:t>
            </a:r>
            <a:r>
              <a:rPr lang="en-US" sz="2800" b="1" dirty="0">
                <a:solidFill>
                  <a:schemeClr val="tx2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rethink</a:t>
            </a:r>
            <a:r>
              <a:rPr lang="en-US" sz="2800" dirty="0">
                <a:solidFill>
                  <a:schemeClr val="tx2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 your eCommerce competency model &amp; talent strategy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65000"/>
                  <a:lumOff val="35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8" name="Graphic 112">
            <a:extLst>
              <a:ext uri="{FF2B5EF4-FFF2-40B4-BE49-F238E27FC236}">
                <a16:creationId xmlns:a16="http://schemas.microsoft.com/office/drawing/2014/main" id="{49344B7A-2D82-46B0-998C-190A52C15DA7}"/>
              </a:ext>
            </a:extLst>
          </p:cNvPr>
          <p:cNvSpPr/>
          <p:nvPr/>
        </p:nvSpPr>
        <p:spPr>
          <a:xfrm>
            <a:off x="357882" y="3012110"/>
            <a:ext cx="932021" cy="1203566"/>
          </a:xfrm>
          <a:custGeom>
            <a:avLst/>
            <a:gdLst>
              <a:gd name="connsiteX0" fmla="*/ 14007 w 461486"/>
              <a:gd name="connsiteY0" fmla="*/ 9284 h 401764"/>
              <a:gd name="connsiteX1" fmla="*/ 67160 w 461486"/>
              <a:gd name="connsiteY1" fmla="*/ 1466 h 401764"/>
              <a:gd name="connsiteX2" fmla="*/ 128402 w 461486"/>
              <a:gd name="connsiteY2" fmla="*/ 0 h 401764"/>
              <a:gd name="connsiteX3" fmla="*/ 223251 w 461486"/>
              <a:gd name="connsiteY3" fmla="*/ 4289 h 401764"/>
              <a:gd name="connsiteX4" fmla="*/ 266033 w 461486"/>
              <a:gd name="connsiteY4" fmla="*/ 5429 h 401764"/>
              <a:gd name="connsiteX5" fmla="*/ 304798 w 461486"/>
              <a:gd name="connsiteY5" fmla="*/ 12379 h 401764"/>
              <a:gd name="connsiteX6" fmla="*/ 328741 w 461486"/>
              <a:gd name="connsiteY6" fmla="*/ 32575 h 401764"/>
              <a:gd name="connsiteX7" fmla="*/ 445850 w 461486"/>
              <a:gd name="connsiteY7" fmla="*/ 162497 h 401764"/>
              <a:gd name="connsiteX8" fmla="*/ 464092 w 461486"/>
              <a:gd name="connsiteY8" fmla="*/ 198059 h 401764"/>
              <a:gd name="connsiteX9" fmla="*/ 456980 w 461486"/>
              <a:gd name="connsiteY9" fmla="*/ 219776 h 401764"/>
              <a:gd name="connsiteX10" fmla="*/ 366637 w 461486"/>
              <a:gd name="connsiteY10" fmla="*/ 332161 h 401764"/>
              <a:gd name="connsiteX11" fmla="*/ 317774 w 461486"/>
              <a:gd name="connsiteY11" fmla="*/ 382164 h 401764"/>
              <a:gd name="connsiteX12" fmla="*/ 306210 w 461486"/>
              <a:gd name="connsiteY12" fmla="*/ 392534 h 401764"/>
              <a:gd name="connsiteX13" fmla="*/ 247031 w 461486"/>
              <a:gd name="connsiteY13" fmla="*/ 401330 h 401764"/>
              <a:gd name="connsiteX14" fmla="*/ 177048 w 461486"/>
              <a:gd name="connsiteY14" fmla="*/ 400570 h 401764"/>
              <a:gd name="connsiteX15" fmla="*/ 99084 w 461486"/>
              <a:gd name="connsiteY15" fmla="*/ 398506 h 401764"/>
              <a:gd name="connsiteX16" fmla="*/ 24812 w 461486"/>
              <a:gd name="connsiteY16" fmla="*/ 387648 h 401764"/>
              <a:gd name="connsiteX17" fmla="*/ 18025 w 461486"/>
              <a:gd name="connsiteY17" fmla="*/ 385748 h 401764"/>
              <a:gd name="connsiteX18" fmla="*/ 13899 w 461486"/>
              <a:gd name="connsiteY18" fmla="*/ 378690 h 401764"/>
              <a:gd name="connsiteX19" fmla="*/ 4561 w 461486"/>
              <a:gd name="connsiteY19" fmla="*/ 339545 h 401764"/>
              <a:gd name="connsiteX20" fmla="*/ 3800 w 461486"/>
              <a:gd name="connsiteY20" fmla="*/ 295242 h 401764"/>
              <a:gd name="connsiteX21" fmla="*/ 0 w 461486"/>
              <a:gd name="connsiteY21" fmla="*/ 249745 h 401764"/>
              <a:gd name="connsiteX22" fmla="*/ 1846 w 461486"/>
              <a:gd name="connsiteY22" fmla="*/ 219450 h 401764"/>
              <a:gd name="connsiteX23" fmla="*/ 1520 w 461486"/>
              <a:gd name="connsiteY23" fmla="*/ 183454 h 401764"/>
              <a:gd name="connsiteX24" fmla="*/ 869 w 461486"/>
              <a:gd name="connsiteY24" fmla="*/ 96586 h 401764"/>
              <a:gd name="connsiteX25" fmla="*/ 5538 w 461486"/>
              <a:gd name="connsiteY25" fmla="*/ 47289 h 401764"/>
              <a:gd name="connsiteX26" fmla="*/ 14007 w 461486"/>
              <a:gd name="connsiteY26" fmla="*/ 9284 h 401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61486" h="401764">
                <a:moveTo>
                  <a:pt x="14007" y="9284"/>
                </a:moveTo>
                <a:cubicBezTo>
                  <a:pt x="26820" y="0"/>
                  <a:pt x="52012" y="2335"/>
                  <a:pt x="67160" y="1466"/>
                </a:cubicBezTo>
                <a:cubicBezTo>
                  <a:pt x="87519" y="0"/>
                  <a:pt x="107988" y="0"/>
                  <a:pt x="128402" y="0"/>
                </a:cubicBezTo>
                <a:cubicBezTo>
                  <a:pt x="160054" y="380"/>
                  <a:pt x="191652" y="2117"/>
                  <a:pt x="223251" y="4289"/>
                </a:cubicBezTo>
                <a:cubicBezTo>
                  <a:pt x="237747" y="5429"/>
                  <a:pt x="251591" y="5429"/>
                  <a:pt x="266033" y="5429"/>
                </a:cubicBezTo>
                <a:cubicBezTo>
                  <a:pt x="279329" y="4539"/>
                  <a:pt x="292640" y="6926"/>
                  <a:pt x="304798" y="12379"/>
                </a:cubicBezTo>
                <a:cubicBezTo>
                  <a:pt x="313830" y="17756"/>
                  <a:pt x="321918" y="24579"/>
                  <a:pt x="328741" y="32575"/>
                </a:cubicBezTo>
                <a:cubicBezTo>
                  <a:pt x="368338" y="75466"/>
                  <a:pt x="407374" y="118774"/>
                  <a:pt x="445850" y="162497"/>
                </a:cubicBezTo>
                <a:cubicBezTo>
                  <a:pt x="454862" y="172759"/>
                  <a:pt x="464418" y="184214"/>
                  <a:pt x="464092" y="198059"/>
                </a:cubicBezTo>
                <a:cubicBezTo>
                  <a:pt x="463427" y="205749"/>
                  <a:pt x="460993" y="213182"/>
                  <a:pt x="456980" y="219776"/>
                </a:cubicBezTo>
                <a:cubicBezTo>
                  <a:pt x="434340" y="262558"/>
                  <a:pt x="400298" y="297685"/>
                  <a:pt x="366637" y="332161"/>
                </a:cubicBezTo>
                <a:lnTo>
                  <a:pt x="317774" y="382164"/>
                </a:lnTo>
                <a:cubicBezTo>
                  <a:pt x="314287" y="386011"/>
                  <a:pt x="310412" y="389486"/>
                  <a:pt x="306210" y="392534"/>
                </a:cubicBezTo>
                <a:cubicBezTo>
                  <a:pt x="288402" y="404533"/>
                  <a:pt x="267282" y="402307"/>
                  <a:pt x="247031" y="401330"/>
                </a:cubicBezTo>
                <a:cubicBezTo>
                  <a:pt x="223685" y="400244"/>
                  <a:pt x="200339" y="400515"/>
                  <a:pt x="177048" y="400570"/>
                </a:cubicBezTo>
                <a:cubicBezTo>
                  <a:pt x="151042" y="400570"/>
                  <a:pt x="124981" y="400570"/>
                  <a:pt x="99084" y="398506"/>
                </a:cubicBezTo>
                <a:cubicBezTo>
                  <a:pt x="74001" y="396389"/>
                  <a:pt x="49678" y="390091"/>
                  <a:pt x="24812" y="387648"/>
                </a:cubicBezTo>
                <a:cubicBezTo>
                  <a:pt x="22419" y="387644"/>
                  <a:pt x="20072" y="386987"/>
                  <a:pt x="18025" y="385748"/>
                </a:cubicBezTo>
                <a:cubicBezTo>
                  <a:pt x="15946" y="383884"/>
                  <a:pt x="14503" y="381416"/>
                  <a:pt x="13899" y="378690"/>
                </a:cubicBezTo>
                <a:cubicBezTo>
                  <a:pt x="8938" y="366153"/>
                  <a:pt x="5793" y="352971"/>
                  <a:pt x="4561" y="339545"/>
                </a:cubicBezTo>
                <a:cubicBezTo>
                  <a:pt x="4018" y="325266"/>
                  <a:pt x="4561" y="309956"/>
                  <a:pt x="3800" y="295242"/>
                </a:cubicBezTo>
                <a:cubicBezTo>
                  <a:pt x="3040" y="280529"/>
                  <a:pt x="0" y="264838"/>
                  <a:pt x="0" y="249745"/>
                </a:cubicBezTo>
                <a:cubicBezTo>
                  <a:pt x="0" y="239430"/>
                  <a:pt x="2117" y="229766"/>
                  <a:pt x="1846" y="219450"/>
                </a:cubicBezTo>
                <a:cubicBezTo>
                  <a:pt x="1520" y="207397"/>
                  <a:pt x="1412" y="195453"/>
                  <a:pt x="1520" y="183454"/>
                </a:cubicBezTo>
                <a:cubicBezTo>
                  <a:pt x="1520" y="154842"/>
                  <a:pt x="-1249" y="125090"/>
                  <a:pt x="869" y="96586"/>
                </a:cubicBezTo>
                <a:cubicBezTo>
                  <a:pt x="2063" y="80299"/>
                  <a:pt x="5212" y="64011"/>
                  <a:pt x="5538" y="47289"/>
                </a:cubicBezTo>
                <a:cubicBezTo>
                  <a:pt x="5809" y="34421"/>
                  <a:pt x="1574" y="17971"/>
                  <a:pt x="14007" y="9284"/>
                </a:cubicBezTo>
              </a:path>
            </a:pathLst>
          </a:custGeom>
          <a:solidFill>
            <a:srgbClr val="EAAB5E"/>
          </a:solidFill>
          <a:ln w="5379" cap="flat">
            <a:noFill/>
            <a:prstDash val="solid"/>
            <a:miter/>
          </a:ln>
        </p:spPr>
        <p:txBody>
          <a:bodyPr lIns="0" tIns="0" rIns="9144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DLZ BITE TYPE"/>
                <a:ea typeface="+mn-ea"/>
                <a:cs typeface="+mn-cs"/>
              </a:rPr>
              <a:t>2.</a:t>
            </a:r>
          </a:p>
        </p:txBody>
      </p:sp>
      <p:sp>
        <p:nvSpPr>
          <p:cNvPr id="9" name="Freeform 60">
            <a:extLst>
              <a:ext uri="{FF2B5EF4-FFF2-40B4-BE49-F238E27FC236}">
                <a16:creationId xmlns:a16="http://schemas.microsoft.com/office/drawing/2014/main" id="{A19E3E9B-2613-468F-81A4-BF8102AF7D13}"/>
              </a:ext>
            </a:extLst>
          </p:cNvPr>
          <p:cNvSpPr/>
          <p:nvPr/>
        </p:nvSpPr>
        <p:spPr>
          <a:xfrm>
            <a:off x="1112925" y="4708137"/>
            <a:ext cx="10051261" cy="1242156"/>
          </a:xfrm>
          <a:custGeom>
            <a:avLst/>
            <a:gdLst>
              <a:gd name="connsiteX0" fmla="*/ 212287 w 9756600"/>
              <a:gd name="connsiteY0" fmla="*/ 3 h 743010"/>
              <a:gd name="connsiteX1" fmla="*/ 746364 w 9756600"/>
              <a:gd name="connsiteY1" fmla="*/ 1774 h 743010"/>
              <a:gd name="connsiteX2" fmla="*/ 882932 w 9756600"/>
              <a:gd name="connsiteY2" fmla="*/ 2517 h 743010"/>
              <a:gd name="connsiteX3" fmla="*/ 887171 w 9756600"/>
              <a:gd name="connsiteY3" fmla="*/ 1169 h 743010"/>
              <a:gd name="connsiteX4" fmla="*/ 1042665 w 9756600"/>
              <a:gd name="connsiteY4" fmla="*/ 3 h 743010"/>
              <a:gd name="connsiteX5" fmla="*/ 1775533 w 9756600"/>
              <a:gd name="connsiteY5" fmla="*/ 2856 h 743010"/>
              <a:gd name="connsiteX6" fmla="*/ 2049129 w 9756600"/>
              <a:gd name="connsiteY6" fmla="*/ 4501 h 743010"/>
              <a:gd name="connsiteX7" fmla="*/ 2077993 w 9756600"/>
              <a:gd name="connsiteY7" fmla="*/ 1169 h 743010"/>
              <a:gd name="connsiteX8" fmla="*/ 2506278 w 9756600"/>
              <a:gd name="connsiteY8" fmla="*/ 3 h 743010"/>
              <a:gd name="connsiteX9" fmla="*/ 3977317 w 9756600"/>
              <a:gd name="connsiteY9" fmla="*/ 1774 h 743010"/>
              <a:gd name="connsiteX10" fmla="*/ 4353475 w 9756600"/>
              <a:gd name="connsiteY10" fmla="*/ 2517 h 743010"/>
              <a:gd name="connsiteX11" fmla="*/ 4365150 w 9756600"/>
              <a:gd name="connsiteY11" fmla="*/ 1169 h 743010"/>
              <a:gd name="connsiteX12" fmla="*/ 4793434 w 9756600"/>
              <a:gd name="connsiteY12" fmla="*/ 3 h 743010"/>
              <a:gd name="connsiteX13" fmla="*/ 7320146 w 9756600"/>
              <a:gd name="connsiteY13" fmla="*/ 3945 h 743010"/>
              <a:gd name="connsiteX14" fmla="*/ 7468241 w 9756600"/>
              <a:gd name="connsiteY14" fmla="*/ 4275 h 743010"/>
              <a:gd name="connsiteX15" fmla="*/ 7478010 w 9756600"/>
              <a:gd name="connsiteY15" fmla="*/ 1169 h 743010"/>
              <a:gd name="connsiteX16" fmla="*/ 7633504 w 9756600"/>
              <a:gd name="connsiteY16" fmla="*/ 3 h 743010"/>
              <a:gd name="connsiteX17" fmla="*/ 8167581 w 9756600"/>
              <a:gd name="connsiteY17" fmla="*/ 1774 h 743010"/>
              <a:gd name="connsiteX18" fmla="*/ 8304149 w 9756600"/>
              <a:gd name="connsiteY18" fmla="*/ 2517 h 743010"/>
              <a:gd name="connsiteX19" fmla="*/ 8308388 w 9756600"/>
              <a:gd name="connsiteY19" fmla="*/ 1169 h 743010"/>
              <a:gd name="connsiteX20" fmla="*/ 8463881 w 9756600"/>
              <a:gd name="connsiteY20" fmla="*/ 3 h 743010"/>
              <a:gd name="connsiteX21" fmla="*/ 9700698 w 9756600"/>
              <a:gd name="connsiteY21" fmla="*/ 5835 h 743010"/>
              <a:gd name="connsiteX22" fmla="*/ 9726968 w 9756600"/>
              <a:gd name="connsiteY22" fmla="*/ 11836 h 743010"/>
              <a:gd name="connsiteX23" fmla="*/ 9747545 w 9756600"/>
              <a:gd name="connsiteY23" fmla="*/ 39497 h 743010"/>
              <a:gd name="connsiteX24" fmla="*/ 9749672 w 9756600"/>
              <a:gd name="connsiteY24" fmla="*/ 114988 h 743010"/>
              <a:gd name="connsiteX25" fmla="*/ 9750701 w 9756600"/>
              <a:gd name="connsiteY25" fmla="*/ 234470 h 743010"/>
              <a:gd name="connsiteX26" fmla="*/ 9751730 w 9756600"/>
              <a:gd name="connsiteY26" fmla="*/ 297628 h 743010"/>
              <a:gd name="connsiteX27" fmla="*/ 9751442 w 9756600"/>
              <a:gd name="connsiteY27" fmla="*/ 334530 h 743010"/>
              <a:gd name="connsiteX28" fmla="*/ 9753205 w 9756600"/>
              <a:gd name="connsiteY28" fmla="*/ 374371 h 743010"/>
              <a:gd name="connsiteX29" fmla="*/ 9756326 w 9756600"/>
              <a:gd name="connsiteY29" fmla="*/ 458712 h 743010"/>
              <a:gd name="connsiteX30" fmla="*/ 9756326 w 9756600"/>
              <a:gd name="connsiteY30" fmla="*/ 515538 h 743010"/>
              <a:gd name="connsiteX31" fmla="*/ 9756326 w 9756600"/>
              <a:gd name="connsiteY31" fmla="*/ 604026 h 743010"/>
              <a:gd name="connsiteX32" fmla="*/ 9754679 w 9756600"/>
              <a:gd name="connsiteY32" fmla="*/ 713845 h 743010"/>
              <a:gd name="connsiteX33" fmla="*/ 9736916 w 9756600"/>
              <a:gd name="connsiteY33" fmla="*/ 734508 h 743010"/>
              <a:gd name="connsiteX34" fmla="*/ 9730055 w 9756600"/>
              <a:gd name="connsiteY34" fmla="*/ 734508 h 743010"/>
              <a:gd name="connsiteX35" fmla="*/ 9725529 w 9756600"/>
              <a:gd name="connsiteY35" fmla="*/ 734508 h 743010"/>
              <a:gd name="connsiteX36" fmla="*/ 9718671 w 9756600"/>
              <a:gd name="connsiteY36" fmla="*/ 735843 h 743010"/>
              <a:gd name="connsiteX37" fmla="*/ 9699807 w 9756600"/>
              <a:gd name="connsiteY37" fmla="*/ 741840 h 743010"/>
              <a:gd name="connsiteX38" fmla="*/ 9544314 w 9756600"/>
              <a:gd name="connsiteY38" fmla="*/ 743007 h 743010"/>
              <a:gd name="connsiteX39" fmla="*/ 9010236 w 9756600"/>
              <a:gd name="connsiteY39" fmla="*/ 741235 h 743010"/>
              <a:gd name="connsiteX40" fmla="*/ 8873667 w 9756600"/>
              <a:gd name="connsiteY40" fmla="*/ 740492 h 743010"/>
              <a:gd name="connsiteX41" fmla="*/ 8869429 w 9756600"/>
              <a:gd name="connsiteY41" fmla="*/ 741840 h 743010"/>
              <a:gd name="connsiteX42" fmla="*/ 8713936 w 9756600"/>
              <a:gd name="connsiteY42" fmla="*/ 743007 h 743010"/>
              <a:gd name="connsiteX43" fmla="*/ 8378142 w 9756600"/>
              <a:gd name="connsiteY43" fmla="*/ 742167 h 743010"/>
              <a:gd name="connsiteX44" fmla="*/ 8202497 w 9756600"/>
              <a:gd name="connsiteY44" fmla="*/ 741276 h 743010"/>
              <a:gd name="connsiteX45" fmla="*/ 8197613 w 9756600"/>
              <a:gd name="connsiteY45" fmla="*/ 741840 h 743010"/>
              <a:gd name="connsiteX46" fmla="*/ 7769329 w 9756600"/>
              <a:gd name="connsiteY46" fmla="*/ 743007 h 743010"/>
              <a:gd name="connsiteX47" fmla="*/ 6298289 w 9756600"/>
              <a:gd name="connsiteY47" fmla="*/ 741235 h 743010"/>
              <a:gd name="connsiteX48" fmla="*/ 5922130 w 9756600"/>
              <a:gd name="connsiteY48" fmla="*/ 740492 h 743010"/>
              <a:gd name="connsiteX49" fmla="*/ 5910456 w 9756600"/>
              <a:gd name="connsiteY49" fmla="*/ 741840 h 743010"/>
              <a:gd name="connsiteX50" fmla="*/ 5482173 w 9756600"/>
              <a:gd name="connsiteY50" fmla="*/ 743007 h 743010"/>
              <a:gd name="connsiteX51" fmla="*/ 2527539 w 9756600"/>
              <a:gd name="connsiteY51" fmla="*/ 738110 h 743010"/>
              <a:gd name="connsiteX52" fmla="*/ 2291960 w 9756600"/>
              <a:gd name="connsiteY52" fmla="*/ 737590 h 743010"/>
              <a:gd name="connsiteX53" fmla="*/ 2278590 w 9756600"/>
              <a:gd name="connsiteY53" fmla="*/ 741840 h 743010"/>
              <a:gd name="connsiteX54" fmla="*/ 2123097 w 9756600"/>
              <a:gd name="connsiteY54" fmla="*/ 743007 h 743010"/>
              <a:gd name="connsiteX55" fmla="*/ 1589019 w 9756600"/>
              <a:gd name="connsiteY55" fmla="*/ 741235 h 743010"/>
              <a:gd name="connsiteX56" fmla="*/ 1452450 w 9756600"/>
              <a:gd name="connsiteY56" fmla="*/ 740492 h 743010"/>
              <a:gd name="connsiteX57" fmla="*/ 1448212 w 9756600"/>
              <a:gd name="connsiteY57" fmla="*/ 741840 h 743010"/>
              <a:gd name="connsiteX58" fmla="*/ 1292719 w 9756600"/>
              <a:gd name="connsiteY58" fmla="*/ 743007 h 743010"/>
              <a:gd name="connsiteX59" fmla="*/ 55902 w 9756600"/>
              <a:gd name="connsiteY59" fmla="*/ 737175 h 743010"/>
              <a:gd name="connsiteX60" fmla="*/ 29632 w 9756600"/>
              <a:gd name="connsiteY60" fmla="*/ 731174 h 743010"/>
              <a:gd name="connsiteX61" fmla="*/ 9055 w 9756600"/>
              <a:gd name="connsiteY61" fmla="*/ 703513 h 743010"/>
              <a:gd name="connsiteX62" fmla="*/ 6928 w 9756600"/>
              <a:gd name="connsiteY62" fmla="*/ 628021 h 743010"/>
              <a:gd name="connsiteX63" fmla="*/ 5899 w 9756600"/>
              <a:gd name="connsiteY63" fmla="*/ 508540 h 743010"/>
              <a:gd name="connsiteX64" fmla="*/ 4870 w 9756600"/>
              <a:gd name="connsiteY64" fmla="*/ 445382 h 743010"/>
              <a:gd name="connsiteX65" fmla="*/ 5158 w 9756600"/>
              <a:gd name="connsiteY65" fmla="*/ 408480 h 743010"/>
              <a:gd name="connsiteX66" fmla="*/ 3395 w 9756600"/>
              <a:gd name="connsiteY66" fmla="*/ 368639 h 743010"/>
              <a:gd name="connsiteX67" fmla="*/ 274 w 9756600"/>
              <a:gd name="connsiteY67" fmla="*/ 284297 h 743010"/>
              <a:gd name="connsiteX68" fmla="*/ 274 w 9756600"/>
              <a:gd name="connsiteY68" fmla="*/ 227471 h 743010"/>
              <a:gd name="connsiteX69" fmla="*/ 274 w 9756600"/>
              <a:gd name="connsiteY69" fmla="*/ 138984 h 743010"/>
              <a:gd name="connsiteX70" fmla="*/ 1920 w 9756600"/>
              <a:gd name="connsiteY70" fmla="*/ 29165 h 743010"/>
              <a:gd name="connsiteX71" fmla="*/ 19684 w 9756600"/>
              <a:gd name="connsiteY71" fmla="*/ 8502 h 743010"/>
              <a:gd name="connsiteX72" fmla="*/ 26544 w 9756600"/>
              <a:gd name="connsiteY72" fmla="*/ 8502 h 743010"/>
              <a:gd name="connsiteX73" fmla="*/ 31071 w 9756600"/>
              <a:gd name="connsiteY73" fmla="*/ 8502 h 743010"/>
              <a:gd name="connsiteX74" fmla="*/ 37930 w 9756600"/>
              <a:gd name="connsiteY74" fmla="*/ 7167 h 743010"/>
              <a:gd name="connsiteX75" fmla="*/ 56793 w 9756600"/>
              <a:gd name="connsiteY75" fmla="*/ 1169 h 743010"/>
              <a:gd name="connsiteX76" fmla="*/ 212287 w 9756600"/>
              <a:gd name="connsiteY76" fmla="*/ 3 h 743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9756600" h="743010">
                <a:moveTo>
                  <a:pt x="212287" y="3"/>
                </a:moveTo>
                <a:cubicBezTo>
                  <a:pt x="345111" y="-61"/>
                  <a:pt x="545358" y="744"/>
                  <a:pt x="746364" y="1774"/>
                </a:cubicBezTo>
                <a:lnTo>
                  <a:pt x="882932" y="2517"/>
                </a:lnTo>
                <a:lnTo>
                  <a:pt x="887171" y="1169"/>
                </a:lnTo>
                <a:cubicBezTo>
                  <a:pt x="897596" y="3"/>
                  <a:pt x="955624" y="3"/>
                  <a:pt x="1042665" y="3"/>
                </a:cubicBezTo>
                <a:cubicBezTo>
                  <a:pt x="1219764" y="-81"/>
                  <a:pt x="1516725" y="1377"/>
                  <a:pt x="1775533" y="2856"/>
                </a:cubicBezTo>
                <a:lnTo>
                  <a:pt x="2049129" y="4501"/>
                </a:lnTo>
                <a:lnTo>
                  <a:pt x="2077993" y="1169"/>
                </a:lnTo>
                <a:cubicBezTo>
                  <a:pt x="2106707" y="3"/>
                  <a:pt x="2266537" y="3"/>
                  <a:pt x="2506278" y="3"/>
                </a:cubicBezTo>
                <a:cubicBezTo>
                  <a:pt x="2872124" y="-61"/>
                  <a:pt x="3423674" y="744"/>
                  <a:pt x="3977317" y="1774"/>
                </a:cubicBezTo>
                <a:lnTo>
                  <a:pt x="4353475" y="2517"/>
                </a:lnTo>
                <a:lnTo>
                  <a:pt x="4365150" y="1169"/>
                </a:lnTo>
                <a:cubicBezTo>
                  <a:pt x="4393864" y="3"/>
                  <a:pt x="4553694" y="3"/>
                  <a:pt x="4793434" y="3"/>
                </a:cubicBezTo>
                <a:cubicBezTo>
                  <a:pt x="5403178" y="-103"/>
                  <a:pt x="6528768" y="2202"/>
                  <a:pt x="7320146" y="3945"/>
                </a:cubicBezTo>
                <a:lnTo>
                  <a:pt x="7468241" y="4275"/>
                </a:lnTo>
                <a:lnTo>
                  <a:pt x="7478010" y="1169"/>
                </a:lnTo>
                <a:cubicBezTo>
                  <a:pt x="7488435" y="3"/>
                  <a:pt x="7546463" y="3"/>
                  <a:pt x="7633504" y="3"/>
                </a:cubicBezTo>
                <a:cubicBezTo>
                  <a:pt x="7766328" y="-61"/>
                  <a:pt x="7966575" y="744"/>
                  <a:pt x="8167581" y="1774"/>
                </a:cubicBezTo>
                <a:lnTo>
                  <a:pt x="8304149" y="2517"/>
                </a:lnTo>
                <a:lnTo>
                  <a:pt x="8308388" y="1169"/>
                </a:lnTo>
                <a:cubicBezTo>
                  <a:pt x="8318813" y="3"/>
                  <a:pt x="8376841" y="3"/>
                  <a:pt x="8463881" y="3"/>
                </a:cubicBezTo>
                <a:cubicBezTo>
                  <a:pt x="8818080" y="-166"/>
                  <a:pt x="9651726" y="5835"/>
                  <a:pt x="9700698" y="5835"/>
                </a:cubicBezTo>
                <a:cubicBezTo>
                  <a:pt x="9709517" y="5574"/>
                  <a:pt x="9718323" y="7588"/>
                  <a:pt x="9726968" y="11836"/>
                </a:cubicBezTo>
                <a:cubicBezTo>
                  <a:pt x="9738423" y="17333"/>
                  <a:pt x="9743773" y="12167"/>
                  <a:pt x="9747545" y="39497"/>
                </a:cubicBezTo>
                <a:cubicBezTo>
                  <a:pt x="9750701" y="62327"/>
                  <a:pt x="9749191" y="86157"/>
                  <a:pt x="9749672" y="114988"/>
                </a:cubicBezTo>
                <a:cubicBezTo>
                  <a:pt x="9750701" y="180811"/>
                  <a:pt x="9750701" y="156149"/>
                  <a:pt x="9750701" y="234470"/>
                </a:cubicBezTo>
                <a:lnTo>
                  <a:pt x="9751730" y="297628"/>
                </a:lnTo>
                <a:lnTo>
                  <a:pt x="9751442" y="334530"/>
                </a:lnTo>
                <a:lnTo>
                  <a:pt x="9753205" y="374371"/>
                </a:lnTo>
                <a:cubicBezTo>
                  <a:pt x="9755126" y="402388"/>
                  <a:pt x="9756943" y="430383"/>
                  <a:pt x="9756326" y="458712"/>
                </a:cubicBezTo>
                <a:cubicBezTo>
                  <a:pt x="9755091" y="500207"/>
                  <a:pt x="9756805" y="473878"/>
                  <a:pt x="9756326" y="515538"/>
                </a:cubicBezTo>
                <a:cubicBezTo>
                  <a:pt x="9756326" y="544866"/>
                  <a:pt x="9756943" y="574698"/>
                  <a:pt x="9756326" y="604026"/>
                </a:cubicBezTo>
                <a:cubicBezTo>
                  <a:pt x="9756607" y="640677"/>
                  <a:pt x="9756059" y="677341"/>
                  <a:pt x="9754679" y="713845"/>
                </a:cubicBezTo>
                <a:cubicBezTo>
                  <a:pt x="9753719" y="729677"/>
                  <a:pt x="9743775" y="732175"/>
                  <a:pt x="9736916" y="734508"/>
                </a:cubicBezTo>
                <a:lnTo>
                  <a:pt x="9730055" y="734508"/>
                </a:lnTo>
                <a:lnTo>
                  <a:pt x="9725529" y="734508"/>
                </a:lnTo>
                <a:cubicBezTo>
                  <a:pt x="9723231" y="734440"/>
                  <a:pt x="9720933" y="734885"/>
                  <a:pt x="9718671" y="735843"/>
                </a:cubicBezTo>
                <a:cubicBezTo>
                  <a:pt x="9712436" y="738753"/>
                  <a:pt x="9706139" y="740754"/>
                  <a:pt x="9699807" y="741840"/>
                </a:cubicBezTo>
                <a:cubicBezTo>
                  <a:pt x="9689382" y="743007"/>
                  <a:pt x="9631354" y="743007"/>
                  <a:pt x="9544314" y="743007"/>
                </a:cubicBezTo>
                <a:cubicBezTo>
                  <a:pt x="9411489" y="743070"/>
                  <a:pt x="9211243" y="742266"/>
                  <a:pt x="9010236" y="741235"/>
                </a:cubicBezTo>
                <a:lnTo>
                  <a:pt x="8873667" y="740492"/>
                </a:lnTo>
                <a:lnTo>
                  <a:pt x="8869429" y="741840"/>
                </a:lnTo>
                <a:cubicBezTo>
                  <a:pt x="8859004" y="743007"/>
                  <a:pt x="8800976" y="743007"/>
                  <a:pt x="8713936" y="743007"/>
                </a:cubicBezTo>
                <a:cubicBezTo>
                  <a:pt x="8625386" y="743049"/>
                  <a:pt x="8506871" y="742706"/>
                  <a:pt x="8378142" y="742167"/>
                </a:cubicBezTo>
                <a:lnTo>
                  <a:pt x="8202497" y="741276"/>
                </a:lnTo>
                <a:lnTo>
                  <a:pt x="8197613" y="741840"/>
                </a:lnTo>
                <a:cubicBezTo>
                  <a:pt x="8168899" y="743007"/>
                  <a:pt x="8009069" y="743007"/>
                  <a:pt x="7769329" y="743007"/>
                </a:cubicBezTo>
                <a:cubicBezTo>
                  <a:pt x="7403483" y="743070"/>
                  <a:pt x="6851933" y="742266"/>
                  <a:pt x="6298289" y="741235"/>
                </a:cubicBezTo>
                <a:lnTo>
                  <a:pt x="5922130" y="740492"/>
                </a:lnTo>
                <a:lnTo>
                  <a:pt x="5910456" y="741840"/>
                </a:lnTo>
                <a:cubicBezTo>
                  <a:pt x="5881743" y="743007"/>
                  <a:pt x="5721913" y="743007"/>
                  <a:pt x="5482173" y="743007"/>
                </a:cubicBezTo>
                <a:cubicBezTo>
                  <a:pt x="4750481" y="743133"/>
                  <a:pt x="3275969" y="739790"/>
                  <a:pt x="2527539" y="738110"/>
                </a:cubicBezTo>
                <a:lnTo>
                  <a:pt x="2291960" y="737590"/>
                </a:lnTo>
                <a:lnTo>
                  <a:pt x="2278590" y="741840"/>
                </a:lnTo>
                <a:cubicBezTo>
                  <a:pt x="2268165" y="743007"/>
                  <a:pt x="2210137" y="743007"/>
                  <a:pt x="2123097" y="743007"/>
                </a:cubicBezTo>
                <a:cubicBezTo>
                  <a:pt x="1990273" y="743070"/>
                  <a:pt x="1790026" y="742266"/>
                  <a:pt x="1589019" y="741235"/>
                </a:cubicBezTo>
                <a:lnTo>
                  <a:pt x="1452450" y="740492"/>
                </a:lnTo>
                <a:lnTo>
                  <a:pt x="1448212" y="741840"/>
                </a:lnTo>
                <a:cubicBezTo>
                  <a:pt x="1437787" y="743007"/>
                  <a:pt x="1379759" y="743007"/>
                  <a:pt x="1292719" y="743007"/>
                </a:cubicBezTo>
                <a:cubicBezTo>
                  <a:pt x="938520" y="743175"/>
                  <a:pt x="104874" y="737175"/>
                  <a:pt x="55902" y="737175"/>
                </a:cubicBezTo>
                <a:cubicBezTo>
                  <a:pt x="47083" y="737435"/>
                  <a:pt x="38277" y="735422"/>
                  <a:pt x="29632" y="731174"/>
                </a:cubicBezTo>
                <a:cubicBezTo>
                  <a:pt x="18177" y="725677"/>
                  <a:pt x="12827" y="730843"/>
                  <a:pt x="9055" y="703513"/>
                </a:cubicBezTo>
                <a:cubicBezTo>
                  <a:pt x="5899" y="680683"/>
                  <a:pt x="7408" y="656852"/>
                  <a:pt x="6928" y="628021"/>
                </a:cubicBezTo>
                <a:cubicBezTo>
                  <a:pt x="5899" y="562199"/>
                  <a:pt x="5899" y="586862"/>
                  <a:pt x="5899" y="508540"/>
                </a:cubicBezTo>
                <a:lnTo>
                  <a:pt x="4870" y="445382"/>
                </a:lnTo>
                <a:lnTo>
                  <a:pt x="5158" y="408480"/>
                </a:lnTo>
                <a:lnTo>
                  <a:pt x="3395" y="368639"/>
                </a:lnTo>
                <a:cubicBezTo>
                  <a:pt x="1474" y="340622"/>
                  <a:pt x="-343" y="312626"/>
                  <a:pt x="274" y="284297"/>
                </a:cubicBezTo>
                <a:cubicBezTo>
                  <a:pt x="1509" y="242803"/>
                  <a:pt x="-206" y="269132"/>
                  <a:pt x="274" y="227471"/>
                </a:cubicBezTo>
                <a:cubicBezTo>
                  <a:pt x="274" y="198143"/>
                  <a:pt x="-343" y="168312"/>
                  <a:pt x="274" y="138984"/>
                </a:cubicBezTo>
                <a:cubicBezTo>
                  <a:pt x="-7" y="102333"/>
                  <a:pt x="541" y="65669"/>
                  <a:pt x="1920" y="29165"/>
                </a:cubicBezTo>
                <a:cubicBezTo>
                  <a:pt x="2881" y="13333"/>
                  <a:pt x="12826" y="10835"/>
                  <a:pt x="19684" y="8502"/>
                </a:cubicBezTo>
                <a:lnTo>
                  <a:pt x="26544" y="8502"/>
                </a:lnTo>
                <a:lnTo>
                  <a:pt x="31071" y="8502"/>
                </a:lnTo>
                <a:cubicBezTo>
                  <a:pt x="33369" y="8570"/>
                  <a:pt x="35667" y="8124"/>
                  <a:pt x="37930" y="7167"/>
                </a:cubicBezTo>
                <a:cubicBezTo>
                  <a:pt x="44164" y="4257"/>
                  <a:pt x="50461" y="2256"/>
                  <a:pt x="56793" y="1169"/>
                </a:cubicBezTo>
                <a:cubicBezTo>
                  <a:pt x="67218" y="3"/>
                  <a:pt x="125246" y="3"/>
                  <a:pt x="212287" y="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393" cap="flat">
            <a:noFill/>
            <a:prstDash val="solid"/>
            <a:miter/>
          </a:ln>
        </p:spPr>
        <p:txBody>
          <a:bodyPr vert="horz" wrap="square" lIns="457200" tIns="0" rIns="274320" bIns="36000" rtlCol="0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chemeClr val="tx2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Time to </a:t>
            </a:r>
            <a:r>
              <a:rPr lang="en-US" sz="2800" b="1" dirty="0">
                <a:solidFill>
                  <a:schemeClr val="tx2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emphasize</a:t>
            </a:r>
            <a:r>
              <a:rPr lang="en-US" sz="2800" dirty="0">
                <a:solidFill>
                  <a:schemeClr val="tx2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 your learning culture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65000"/>
                  <a:lumOff val="35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" name="Graphic 112">
            <a:extLst>
              <a:ext uri="{FF2B5EF4-FFF2-40B4-BE49-F238E27FC236}">
                <a16:creationId xmlns:a16="http://schemas.microsoft.com/office/drawing/2014/main" id="{A7AAD295-DD84-44C7-A533-C1B565CB3AE2}"/>
              </a:ext>
            </a:extLst>
          </p:cNvPr>
          <p:cNvSpPr/>
          <p:nvPr/>
        </p:nvSpPr>
        <p:spPr>
          <a:xfrm>
            <a:off x="428090" y="4705632"/>
            <a:ext cx="932021" cy="1203566"/>
          </a:xfrm>
          <a:custGeom>
            <a:avLst/>
            <a:gdLst>
              <a:gd name="connsiteX0" fmla="*/ 14007 w 461486"/>
              <a:gd name="connsiteY0" fmla="*/ 9284 h 401764"/>
              <a:gd name="connsiteX1" fmla="*/ 67160 w 461486"/>
              <a:gd name="connsiteY1" fmla="*/ 1466 h 401764"/>
              <a:gd name="connsiteX2" fmla="*/ 128402 w 461486"/>
              <a:gd name="connsiteY2" fmla="*/ 0 h 401764"/>
              <a:gd name="connsiteX3" fmla="*/ 223251 w 461486"/>
              <a:gd name="connsiteY3" fmla="*/ 4289 h 401764"/>
              <a:gd name="connsiteX4" fmla="*/ 266033 w 461486"/>
              <a:gd name="connsiteY4" fmla="*/ 5429 h 401764"/>
              <a:gd name="connsiteX5" fmla="*/ 304798 w 461486"/>
              <a:gd name="connsiteY5" fmla="*/ 12379 h 401764"/>
              <a:gd name="connsiteX6" fmla="*/ 328741 w 461486"/>
              <a:gd name="connsiteY6" fmla="*/ 32575 h 401764"/>
              <a:gd name="connsiteX7" fmla="*/ 445850 w 461486"/>
              <a:gd name="connsiteY7" fmla="*/ 162497 h 401764"/>
              <a:gd name="connsiteX8" fmla="*/ 464092 w 461486"/>
              <a:gd name="connsiteY8" fmla="*/ 198059 h 401764"/>
              <a:gd name="connsiteX9" fmla="*/ 456980 w 461486"/>
              <a:gd name="connsiteY9" fmla="*/ 219776 h 401764"/>
              <a:gd name="connsiteX10" fmla="*/ 366637 w 461486"/>
              <a:gd name="connsiteY10" fmla="*/ 332161 h 401764"/>
              <a:gd name="connsiteX11" fmla="*/ 317774 w 461486"/>
              <a:gd name="connsiteY11" fmla="*/ 382164 h 401764"/>
              <a:gd name="connsiteX12" fmla="*/ 306210 w 461486"/>
              <a:gd name="connsiteY12" fmla="*/ 392534 h 401764"/>
              <a:gd name="connsiteX13" fmla="*/ 247031 w 461486"/>
              <a:gd name="connsiteY13" fmla="*/ 401330 h 401764"/>
              <a:gd name="connsiteX14" fmla="*/ 177048 w 461486"/>
              <a:gd name="connsiteY14" fmla="*/ 400570 h 401764"/>
              <a:gd name="connsiteX15" fmla="*/ 99084 w 461486"/>
              <a:gd name="connsiteY15" fmla="*/ 398506 h 401764"/>
              <a:gd name="connsiteX16" fmla="*/ 24812 w 461486"/>
              <a:gd name="connsiteY16" fmla="*/ 387648 h 401764"/>
              <a:gd name="connsiteX17" fmla="*/ 18025 w 461486"/>
              <a:gd name="connsiteY17" fmla="*/ 385748 h 401764"/>
              <a:gd name="connsiteX18" fmla="*/ 13899 w 461486"/>
              <a:gd name="connsiteY18" fmla="*/ 378690 h 401764"/>
              <a:gd name="connsiteX19" fmla="*/ 4561 w 461486"/>
              <a:gd name="connsiteY19" fmla="*/ 339545 h 401764"/>
              <a:gd name="connsiteX20" fmla="*/ 3800 w 461486"/>
              <a:gd name="connsiteY20" fmla="*/ 295242 h 401764"/>
              <a:gd name="connsiteX21" fmla="*/ 0 w 461486"/>
              <a:gd name="connsiteY21" fmla="*/ 249745 h 401764"/>
              <a:gd name="connsiteX22" fmla="*/ 1846 w 461486"/>
              <a:gd name="connsiteY22" fmla="*/ 219450 h 401764"/>
              <a:gd name="connsiteX23" fmla="*/ 1520 w 461486"/>
              <a:gd name="connsiteY23" fmla="*/ 183454 h 401764"/>
              <a:gd name="connsiteX24" fmla="*/ 869 w 461486"/>
              <a:gd name="connsiteY24" fmla="*/ 96586 h 401764"/>
              <a:gd name="connsiteX25" fmla="*/ 5538 w 461486"/>
              <a:gd name="connsiteY25" fmla="*/ 47289 h 401764"/>
              <a:gd name="connsiteX26" fmla="*/ 14007 w 461486"/>
              <a:gd name="connsiteY26" fmla="*/ 9284 h 401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61486" h="401764">
                <a:moveTo>
                  <a:pt x="14007" y="9284"/>
                </a:moveTo>
                <a:cubicBezTo>
                  <a:pt x="26820" y="0"/>
                  <a:pt x="52012" y="2335"/>
                  <a:pt x="67160" y="1466"/>
                </a:cubicBezTo>
                <a:cubicBezTo>
                  <a:pt x="87519" y="0"/>
                  <a:pt x="107988" y="0"/>
                  <a:pt x="128402" y="0"/>
                </a:cubicBezTo>
                <a:cubicBezTo>
                  <a:pt x="160054" y="380"/>
                  <a:pt x="191652" y="2117"/>
                  <a:pt x="223251" y="4289"/>
                </a:cubicBezTo>
                <a:cubicBezTo>
                  <a:pt x="237747" y="5429"/>
                  <a:pt x="251591" y="5429"/>
                  <a:pt x="266033" y="5429"/>
                </a:cubicBezTo>
                <a:cubicBezTo>
                  <a:pt x="279329" y="4539"/>
                  <a:pt x="292640" y="6926"/>
                  <a:pt x="304798" y="12379"/>
                </a:cubicBezTo>
                <a:cubicBezTo>
                  <a:pt x="313830" y="17756"/>
                  <a:pt x="321918" y="24579"/>
                  <a:pt x="328741" y="32575"/>
                </a:cubicBezTo>
                <a:cubicBezTo>
                  <a:pt x="368338" y="75466"/>
                  <a:pt x="407374" y="118774"/>
                  <a:pt x="445850" y="162497"/>
                </a:cubicBezTo>
                <a:cubicBezTo>
                  <a:pt x="454862" y="172759"/>
                  <a:pt x="464418" y="184214"/>
                  <a:pt x="464092" y="198059"/>
                </a:cubicBezTo>
                <a:cubicBezTo>
                  <a:pt x="463427" y="205749"/>
                  <a:pt x="460993" y="213182"/>
                  <a:pt x="456980" y="219776"/>
                </a:cubicBezTo>
                <a:cubicBezTo>
                  <a:pt x="434340" y="262558"/>
                  <a:pt x="400298" y="297685"/>
                  <a:pt x="366637" y="332161"/>
                </a:cubicBezTo>
                <a:lnTo>
                  <a:pt x="317774" y="382164"/>
                </a:lnTo>
                <a:cubicBezTo>
                  <a:pt x="314287" y="386011"/>
                  <a:pt x="310412" y="389486"/>
                  <a:pt x="306210" y="392534"/>
                </a:cubicBezTo>
                <a:cubicBezTo>
                  <a:pt x="288402" y="404533"/>
                  <a:pt x="267282" y="402307"/>
                  <a:pt x="247031" y="401330"/>
                </a:cubicBezTo>
                <a:cubicBezTo>
                  <a:pt x="223685" y="400244"/>
                  <a:pt x="200339" y="400515"/>
                  <a:pt x="177048" y="400570"/>
                </a:cubicBezTo>
                <a:cubicBezTo>
                  <a:pt x="151042" y="400570"/>
                  <a:pt x="124981" y="400570"/>
                  <a:pt x="99084" y="398506"/>
                </a:cubicBezTo>
                <a:cubicBezTo>
                  <a:pt x="74001" y="396389"/>
                  <a:pt x="49678" y="390091"/>
                  <a:pt x="24812" y="387648"/>
                </a:cubicBezTo>
                <a:cubicBezTo>
                  <a:pt x="22419" y="387644"/>
                  <a:pt x="20072" y="386987"/>
                  <a:pt x="18025" y="385748"/>
                </a:cubicBezTo>
                <a:cubicBezTo>
                  <a:pt x="15946" y="383884"/>
                  <a:pt x="14503" y="381416"/>
                  <a:pt x="13899" y="378690"/>
                </a:cubicBezTo>
                <a:cubicBezTo>
                  <a:pt x="8938" y="366153"/>
                  <a:pt x="5793" y="352971"/>
                  <a:pt x="4561" y="339545"/>
                </a:cubicBezTo>
                <a:cubicBezTo>
                  <a:pt x="4018" y="325266"/>
                  <a:pt x="4561" y="309956"/>
                  <a:pt x="3800" y="295242"/>
                </a:cubicBezTo>
                <a:cubicBezTo>
                  <a:pt x="3040" y="280529"/>
                  <a:pt x="0" y="264838"/>
                  <a:pt x="0" y="249745"/>
                </a:cubicBezTo>
                <a:cubicBezTo>
                  <a:pt x="0" y="239430"/>
                  <a:pt x="2117" y="229766"/>
                  <a:pt x="1846" y="219450"/>
                </a:cubicBezTo>
                <a:cubicBezTo>
                  <a:pt x="1520" y="207397"/>
                  <a:pt x="1412" y="195453"/>
                  <a:pt x="1520" y="183454"/>
                </a:cubicBezTo>
                <a:cubicBezTo>
                  <a:pt x="1520" y="154842"/>
                  <a:pt x="-1249" y="125090"/>
                  <a:pt x="869" y="96586"/>
                </a:cubicBezTo>
                <a:cubicBezTo>
                  <a:pt x="2063" y="80299"/>
                  <a:pt x="5212" y="64011"/>
                  <a:pt x="5538" y="47289"/>
                </a:cubicBezTo>
                <a:cubicBezTo>
                  <a:pt x="5809" y="34421"/>
                  <a:pt x="1574" y="17971"/>
                  <a:pt x="14007" y="9284"/>
                </a:cubicBezTo>
              </a:path>
            </a:pathLst>
          </a:custGeom>
          <a:solidFill>
            <a:srgbClr val="EAAB5E"/>
          </a:solidFill>
          <a:ln w="5379" cap="flat">
            <a:noFill/>
            <a:prstDash val="solid"/>
            <a:miter/>
          </a:ln>
        </p:spPr>
        <p:txBody>
          <a:bodyPr lIns="0" tIns="0" rIns="9144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DLZ BITE TYPE"/>
                <a:ea typeface="+mn-ea"/>
                <a:cs typeface="+mn-cs"/>
              </a:rPr>
              <a:t>3.</a:t>
            </a:r>
          </a:p>
        </p:txBody>
      </p:sp>
    </p:spTree>
    <p:extLst>
      <p:ext uri="{BB962C8B-B14F-4D97-AF65-F5344CB8AC3E}">
        <p14:creationId xmlns:p14="http://schemas.microsoft.com/office/powerpoint/2010/main" val="42835732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2C218C6-8803-4CEB-99C3-A95BE97FED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 eComm matures, team structure evolves….</a:t>
            </a:r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2C1FE6F5-AEB2-4B36-9DF3-856FE15FCB66}"/>
              </a:ext>
            </a:extLst>
          </p:cNvPr>
          <p:cNvSpPr/>
          <p:nvPr/>
        </p:nvSpPr>
        <p:spPr>
          <a:xfrm>
            <a:off x="5753763" y="1488559"/>
            <a:ext cx="765185" cy="66985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Graphic 97">
            <a:extLst>
              <a:ext uri="{FF2B5EF4-FFF2-40B4-BE49-F238E27FC236}">
                <a16:creationId xmlns:a16="http://schemas.microsoft.com/office/drawing/2014/main" id="{2548BD38-42F3-4B74-8915-B1DA41A7932C}"/>
              </a:ext>
            </a:extLst>
          </p:cNvPr>
          <p:cNvSpPr/>
          <p:nvPr/>
        </p:nvSpPr>
        <p:spPr>
          <a:xfrm flipH="1">
            <a:off x="6543855" y="994680"/>
            <a:ext cx="5516529" cy="1828800"/>
          </a:xfrm>
          <a:custGeom>
            <a:avLst/>
            <a:gdLst>
              <a:gd name="connsiteX0" fmla="*/ 9339 w 723900"/>
              <a:gd name="connsiteY0" fmla="*/ 265271 h 466725"/>
              <a:gd name="connsiteX1" fmla="*/ 7434 w 723900"/>
              <a:gd name="connsiteY1" fmla="*/ 428149 h 466725"/>
              <a:gd name="connsiteX2" fmla="*/ 37914 w 723900"/>
              <a:gd name="connsiteY2" fmla="*/ 463391 h 466725"/>
              <a:gd name="connsiteX3" fmla="*/ 68394 w 723900"/>
              <a:gd name="connsiteY3" fmla="*/ 458629 h 466725"/>
              <a:gd name="connsiteX4" fmla="*/ 115067 w 723900"/>
              <a:gd name="connsiteY4" fmla="*/ 461486 h 466725"/>
              <a:gd name="connsiteX5" fmla="*/ 403674 w 723900"/>
              <a:gd name="connsiteY5" fmla="*/ 468154 h 466725"/>
              <a:gd name="connsiteX6" fmla="*/ 508449 w 723900"/>
              <a:gd name="connsiteY6" fmla="*/ 460534 h 466725"/>
              <a:gd name="connsiteX7" fmla="*/ 658944 w 723900"/>
              <a:gd name="connsiteY7" fmla="*/ 461486 h 466725"/>
              <a:gd name="connsiteX8" fmla="*/ 697044 w 723900"/>
              <a:gd name="connsiteY8" fmla="*/ 454819 h 466725"/>
              <a:gd name="connsiteX9" fmla="*/ 717047 w 723900"/>
              <a:gd name="connsiteY9" fmla="*/ 367189 h 466725"/>
              <a:gd name="connsiteX10" fmla="*/ 716094 w 723900"/>
              <a:gd name="connsiteY10" fmla="*/ 198596 h 466725"/>
              <a:gd name="connsiteX11" fmla="*/ 715142 w 723900"/>
              <a:gd name="connsiteY11" fmla="*/ 43339 h 466725"/>
              <a:gd name="connsiteX12" fmla="*/ 676089 w 723900"/>
              <a:gd name="connsiteY12" fmla="*/ 7144 h 466725"/>
              <a:gd name="connsiteX13" fmla="*/ 511307 w 723900"/>
              <a:gd name="connsiteY13" fmla="*/ 18574 h 466725"/>
              <a:gd name="connsiteX14" fmla="*/ 287469 w 723900"/>
              <a:gd name="connsiteY14" fmla="*/ 20479 h 466725"/>
              <a:gd name="connsiteX15" fmla="*/ 69347 w 723900"/>
              <a:gd name="connsiteY15" fmla="*/ 12859 h 466725"/>
              <a:gd name="connsiteX16" fmla="*/ 24579 w 723900"/>
              <a:gd name="connsiteY16" fmla="*/ 22384 h 466725"/>
              <a:gd name="connsiteX17" fmla="*/ 17912 w 723900"/>
              <a:gd name="connsiteY17" fmla="*/ 41434 h 466725"/>
              <a:gd name="connsiteX18" fmla="*/ 13149 w 723900"/>
              <a:gd name="connsiteY18" fmla="*/ 210979 h 466725"/>
              <a:gd name="connsiteX19" fmla="*/ 9339 w 723900"/>
              <a:gd name="connsiteY19" fmla="*/ 265271 h 466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723900" h="466725">
                <a:moveTo>
                  <a:pt x="9339" y="265271"/>
                </a:moveTo>
                <a:cubicBezTo>
                  <a:pt x="4577" y="318611"/>
                  <a:pt x="9339" y="373856"/>
                  <a:pt x="7434" y="428149"/>
                </a:cubicBezTo>
                <a:cubicBezTo>
                  <a:pt x="6482" y="447199"/>
                  <a:pt x="12197" y="461486"/>
                  <a:pt x="37914" y="463391"/>
                </a:cubicBezTo>
                <a:cubicBezTo>
                  <a:pt x="47439" y="464344"/>
                  <a:pt x="58869" y="458629"/>
                  <a:pt x="68394" y="458629"/>
                </a:cubicBezTo>
                <a:cubicBezTo>
                  <a:pt x="83634" y="458629"/>
                  <a:pt x="99827" y="461486"/>
                  <a:pt x="115067" y="461486"/>
                </a:cubicBezTo>
                <a:cubicBezTo>
                  <a:pt x="211269" y="463391"/>
                  <a:pt x="307472" y="466249"/>
                  <a:pt x="403674" y="468154"/>
                </a:cubicBezTo>
                <a:cubicBezTo>
                  <a:pt x="439869" y="469106"/>
                  <a:pt x="472254" y="460534"/>
                  <a:pt x="508449" y="460534"/>
                </a:cubicBezTo>
                <a:cubicBezTo>
                  <a:pt x="558932" y="460534"/>
                  <a:pt x="609414" y="461486"/>
                  <a:pt x="658944" y="461486"/>
                </a:cubicBezTo>
                <a:cubicBezTo>
                  <a:pt x="672279" y="461486"/>
                  <a:pt x="686567" y="461486"/>
                  <a:pt x="697044" y="454819"/>
                </a:cubicBezTo>
                <a:cubicBezTo>
                  <a:pt x="719904" y="441484"/>
                  <a:pt x="717047" y="389096"/>
                  <a:pt x="717047" y="367189"/>
                </a:cubicBezTo>
                <a:cubicBezTo>
                  <a:pt x="717047" y="310991"/>
                  <a:pt x="711332" y="253841"/>
                  <a:pt x="716094" y="198596"/>
                </a:cubicBezTo>
                <a:cubicBezTo>
                  <a:pt x="721809" y="148114"/>
                  <a:pt x="718952" y="92869"/>
                  <a:pt x="715142" y="43339"/>
                </a:cubicBezTo>
                <a:cubicBezTo>
                  <a:pt x="713237" y="16669"/>
                  <a:pt x="701807" y="7144"/>
                  <a:pt x="676089" y="7144"/>
                </a:cubicBezTo>
                <a:cubicBezTo>
                  <a:pt x="620844" y="7144"/>
                  <a:pt x="566552" y="20479"/>
                  <a:pt x="511307" y="18574"/>
                </a:cubicBezTo>
                <a:cubicBezTo>
                  <a:pt x="436059" y="16669"/>
                  <a:pt x="361764" y="17621"/>
                  <a:pt x="287469" y="20479"/>
                </a:cubicBezTo>
                <a:cubicBezTo>
                  <a:pt x="214127" y="23336"/>
                  <a:pt x="142689" y="17621"/>
                  <a:pt x="69347" y="12859"/>
                </a:cubicBezTo>
                <a:cubicBezTo>
                  <a:pt x="53154" y="11906"/>
                  <a:pt x="34104" y="11906"/>
                  <a:pt x="24579" y="22384"/>
                </a:cubicBezTo>
                <a:cubicBezTo>
                  <a:pt x="19817" y="28099"/>
                  <a:pt x="18864" y="34766"/>
                  <a:pt x="17912" y="41434"/>
                </a:cubicBezTo>
                <a:cubicBezTo>
                  <a:pt x="13149" y="99536"/>
                  <a:pt x="14102" y="152876"/>
                  <a:pt x="13149" y="210979"/>
                </a:cubicBezTo>
                <a:cubicBezTo>
                  <a:pt x="13149" y="225266"/>
                  <a:pt x="11244" y="244316"/>
                  <a:pt x="9339" y="265271"/>
                </a:cubicBezTo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lIns="182880" tIns="108000" rIns="182880" bIns="108000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eComm roles largely Integrated into the business, in close partnership with (or dotted line to) a Center of Excellence (COE) team who owns certain operations to drive efficiency, develops new capabilities and drives Test &amp; Learns</a:t>
            </a:r>
          </a:p>
        </p:txBody>
      </p:sp>
      <p:sp>
        <p:nvSpPr>
          <p:cNvPr id="36" name="Graphic 97">
            <a:extLst>
              <a:ext uri="{FF2B5EF4-FFF2-40B4-BE49-F238E27FC236}">
                <a16:creationId xmlns:a16="http://schemas.microsoft.com/office/drawing/2014/main" id="{C61AC6E7-4DCB-8692-4165-06113957F919}"/>
              </a:ext>
            </a:extLst>
          </p:cNvPr>
          <p:cNvSpPr/>
          <p:nvPr/>
        </p:nvSpPr>
        <p:spPr>
          <a:xfrm flipH="1">
            <a:off x="212327" y="994680"/>
            <a:ext cx="5516529" cy="1828800"/>
          </a:xfrm>
          <a:custGeom>
            <a:avLst/>
            <a:gdLst>
              <a:gd name="connsiteX0" fmla="*/ 9339 w 723900"/>
              <a:gd name="connsiteY0" fmla="*/ 265271 h 466725"/>
              <a:gd name="connsiteX1" fmla="*/ 7434 w 723900"/>
              <a:gd name="connsiteY1" fmla="*/ 428149 h 466725"/>
              <a:gd name="connsiteX2" fmla="*/ 37914 w 723900"/>
              <a:gd name="connsiteY2" fmla="*/ 463391 h 466725"/>
              <a:gd name="connsiteX3" fmla="*/ 68394 w 723900"/>
              <a:gd name="connsiteY3" fmla="*/ 458629 h 466725"/>
              <a:gd name="connsiteX4" fmla="*/ 115067 w 723900"/>
              <a:gd name="connsiteY4" fmla="*/ 461486 h 466725"/>
              <a:gd name="connsiteX5" fmla="*/ 403674 w 723900"/>
              <a:gd name="connsiteY5" fmla="*/ 468154 h 466725"/>
              <a:gd name="connsiteX6" fmla="*/ 508449 w 723900"/>
              <a:gd name="connsiteY6" fmla="*/ 460534 h 466725"/>
              <a:gd name="connsiteX7" fmla="*/ 658944 w 723900"/>
              <a:gd name="connsiteY7" fmla="*/ 461486 h 466725"/>
              <a:gd name="connsiteX8" fmla="*/ 697044 w 723900"/>
              <a:gd name="connsiteY8" fmla="*/ 454819 h 466725"/>
              <a:gd name="connsiteX9" fmla="*/ 717047 w 723900"/>
              <a:gd name="connsiteY9" fmla="*/ 367189 h 466725"/>
              <a:gd name="connsiteX10" fmla="*/ 716094 w 723900"/>
              <a:gd name="connsiteY10" fmla="*/ 198596 h 466725"/>
              <a:gd name="connsiteX11" fmla="*/ 715142 w 723900"/>
              <a:gd name="connsiteY11" fmla="*/ 43339 h 466725"/>
              <a:gd name="connsiteX12" fmla="*/ 676089 w 723900"/>
              <a:gd name="connsiteY12" fmla="*/ 7144 h 466725"/>
              <a:gd name="connsiteX13" fmla="*/ 511307 w 723900"/>
              <a:gd name="connsiteY13" fmla="*/ 18574 h 466725"/>
              <a:gd name="connsiteX14" fmla="*/ 287469 w 723900"/>
              <a:gd name="connsiteY14" fmla="*/ 20479 h 466725"/>
              <a:gd name="connsiteX15" fmla="*/ 69347 w 723900"/>
              <a:gd name="connsiteY15" fmla="*/ 12859 h 466725"/>
              <a:gd name="connsiteX16" fmla="*/ 24579 w 723900"/>
              <a:gd name="connsiteY16" fmla="*/ 22384 h 466725"/>
              <a:gd name="connsiteX17" fmla="*/ 17912 w 723900"/>
              <a:gd name="connsiteY17" fmla="*/ 41434 h 466725"/>
              <a:gd name="connsiteX18" fmla="*/ 13149 w 723900"/>
              <a:gd name="connsiteY18" fmla="*/ 210979 h 466725"/>
              <a:gd name="connsiteX19" fmla="*/ 9339 w 723900"/>
              <a:gd name="connsiteY19" fmla="*/ 265271 h 466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723900" h="466725">
                <a:moveTo>
                  <a:pt x="9339" y="265271"/>
                </a:moveTo>
                <a:cubicBezTo>
                  <a:pt x="4577" y="318611"/>
                  <a:pt x="9339" y="373856"/>
                  <a:pt x="7434" y="428149"/>
                </a:cubicBezTo>
                <a:cubicBezTo>
                  <a:pt x="6482" y="447199"/>
                  <a:pt x="12197" y="461486"/>
                  <a:pt x="37914" y="463391"/>
                </a:cubicBezTo>
                <a:cubicBezTo>
                  <a:pt x="47439" y="464344"/>
                  <a:pt x="58869" y="458629"/>
                  <a:pt x="68394" y="458629"/>
                </a:cubicBezTo>
                <a:cubicBezTo>
                  <a:pt x="83634" y="458629"/>
                  <a:pt x="99827" y="461486"/>
                  <a:pt x="115067" y="461486"/>
                </a:cubicBezTo>
                <a:cubicBezTo>
                  <a:pt x="211269" y="463391"/>
                  <a:pt x="307472" y="466249"/>
                  <a:pt x="403674" y="468154"/>
                </a:cubicBezTo>
                <a:cubicBezTo>
                  <a:pt x="439869" y="469106"/>
                  <a:pt x="472254" y="460534"/>
                  <a:pt x="508449" y="460534"/>
                </a:cubicBezTo>
                <a:cubicBezTo>
                  <a:pt x="558932" y="460534"/>
                  <a:pt x="609414" y="461486"/>
                  <a:pt x="658944" y="461486"/>
                </a:cubicBezTo>
                <a:cubicBezTo>
                  <a:pt x="672279" y="461486"/>
                  <a:pt x="686567" y="461486"/>
                  <a:pt x="697044" y="454819"/>
                </a:cubicBezTo>
                <a:cubicBezTo>
                  <a:pt x="719904" y="441484"/>
                  <a:pt x="717047" y="389096"/>
                  <a:pt x="717047" y="367189"/>
                </a:cubicBezTo>
                <a:cubicBezTo>
                  <a:pt x="717047" y="310991"/>
                  <a:pt x="711332" y="253841"/>
                  <a:pt x="716094" y="198596"/>
                </a:cubicBezTo>
                <a:cubicBezTo>
                  <a:pt x="721809" y="148114"/>
                  <a:pt x="718952" y="92869"/>
                  <a:pt x="715142" y="43339"/>
                </a:cubicBezTo>
                <a:cubicBezTo>
                  <a:pt x="713237" y="16669"/>
                  <a:pt x="701807" y="7144"/>
                  <a:pt x="676089" y="7144"/>
                </a:cubicBezTo>
                <a:cubicBezTo>
                  <a:pt x="620844" y="7144"/>
                  <a:pt x="566552" y="20479"/>
                  <a:pt x="511307" y="18574"/>
                </a:cubicBezTo>
                <a:cubicBezTo>
                  <a:pt x="436059" y="16669"/>
                  <a:pt x="361764" y="17621"/>
                  <a:pt x="287469" y="20479"/>
                </a:cubicBezTo>
                <a:cubicBezTo>
                  <a:pt x="214127" y="23336"/>
                  <a:pt x="142689" y="17621"/>
                  <a:pt x="69347" y="12859"/>
                </a:cubicBezTo>
                <a:cubicBezTo>
                  <a:pt x="53154" y="11906"/>
                  <a:pt x="34104" y="11906"/>
                  <a:pt x="24579" y="22384"/>
                </a:cubicBezTo>
                <a:cubicBezTo>
                  <a:pt x="19817" y="28099"/>
                  <a:pt x="18864" y="34766"/>
                  <a:pt x="17912" y="41434"/>
                </a:cubicBezTo>
                <a:cubicBezTo>
                  <a:pt x="13149" y="99536"/>
                  <a:pt x="14102" y="152876"/>
                  <a:pt x="13149" y="210979"/>
                </a:cubicBezTo>
                <a:cubicBezTo>
                  <a:pt x="13149" y="225266"/>
                  <a:pt x="11244" y="244316"/>
                  <a:pt x="9339" y="265271"/>
                </a:cubicBezTo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wrap="square" lIns="182880" tIns="108000" rIns="182880" bIns="108000" rtlCol="0" anchor="ctr"/>
          <a:lstStyle/>
          <a:p>
            <a:pPr marL="231775" algn="ctr">
              <a:lnSpc>
                <a:spcPct val="90000"/>
              </a:lnSpc>
              <a:spcAft>
                <a:spcPts val="400"/>
              </a:spcAft>
              <a:defRPr/>
            </a:pPr>
            <a:r>
              <a:rPr lang="en-SG" sz="2000" dirty="0">
                <a:solidFill>
                  <a:schemeClr val="bg1"/>
                </a:solidFill>
              </a:rPr>
              <a:t>Relatively small, stand-alone </a:t>
            </a:r>
            <a:r>
              <a:rPr lang="en-SG" sz="2000" dirty="0" err="1">
                <a:solidFill>
                  <a:schemeClr val="bg1"/>
                </a:solidFill>
              </a:rPr>
              <a:t>eComm</a:t>
            </a:r>
            <a:r>
              <a:rPr lang="en-SG" sz="2000" dirty="0">
                <a:solidFill>
                  <a:schemeClr val="bg1"/>
                </a:solidFill>
              </a:rPr>
              <a:t> team created to drive </a:t>
            </a:r>
            <a:r>
              <a:rPr lang="en-SG" sz="2000" dirty="0" err="1">
                <a:solidFill>
                  <a:schemeClr val="bg1"/>
                </a:solidFill>
              </a:rPr>
              <a:t>eComm</a:t>
            </a:r>
            <a:r>
              <a:rPr lang="en-SG" sz="2000" dirty="0">
                <a:solidFill>
                  <a:schemeClr val="bg1"/>
                </a:solidFill>
              </a:rPr>
              <a:t> capabilities with agility, but constantly fighting for resource</a:t>
            </a:r>
          </a:p>
          <a:p>
            <a:pPr marL="231775" algn="ctr">
              <a:lnSpc>
                <a:spcPct val="90000"/>
              </a:lnSpc>
              <a:spcAft>
                <a:spcPts val="400"/>
              </a:spcAft>
              <a:defRPr/>
            </a:pPr>
            <a:r>
              <a:rPr lang="en-SG" sz="2000" dirty="0">
                <a:solidFill>
                  <a:schemeClr val="bg1"/>
                </a:solidFill>
              </a:rPr>
              <a:t>and fair share of attention</a:t>
            </a:r>
            <a:endParaRPr lang="en-US" sz="2000" kern="0" dirty="0">
              <a:solidFill>
                <a:schemeClr val="bg1"/>
              </a:solidFill>
            </a:endParaRPr>
          </a:p>
        </p:txBody>
      </p:sp>
      <p:graphicFrame>
        <p:nvGraphicFramePr>
          <p:cNvPr id="45" name="Diagram 44">
            <a:extLst>
              <a:ext uri="{FF2B5EF4-FFF2-40B4-BE49-F238E27FC236}">
                <a16:creationId xmlns:a16="http://schemas.microsoft.com/office/drawing/2014/main" id="{6E92528C-529C-E98A-01F5-D3A5D857D0F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71822020"/>
              </p:ext>
            </p:extLst>
          </p:nvPr>
        </p:nvGraphicFramePr>
        <p:xfrm>
          <a:off x="212327" y="2799587"/>
          <a:ext cx="5883673" cy="36012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46" name="Diagram 45">
            <a:extLst>
              <a:ext uri="{FF2B5EF4-FFF2-40B4-BE49-F238E27FC236}">
                <a16:creationId xmlns:a16="http://schemas.microsoft.com/office/drawing/2014/main" id="{075ABEAE-E915-7137-C595-D1965E75ABD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7523077"/>
              </p:ext>
            </p:extLst>
          </p:nvPr>
        </p:nvGraphicFramePr>
        <p:xfrm>
          <a:off x="7380451" y="2866345"/>
          <a:ext cx="3843336" cy="26900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1113DD5F-4329-B4FE-B1A3-0286BE71E4A7}"/>
              </a:ext>
            </a:extLst>
          </p:cNvPr>
          <p:cNvSpPr/>
          <p:nvPr/>
        </p:nvSpPr>
        <p:spPr>
          <a:xfrm>
            <a:off x="7462866" y="5789083"/>
            <a:ext cx="3733489" cy="603115"/>
          </a:xfrm>
          <a:prstGeom prst="roundRect">
            <a:avLst/>
          </a:prstGeom>
          <a:solidFill>
            <a:srgbClr val="ABC5DD"/>
          </a:solidFill>
          <a:ln w="12700">
            <a:solidFill>
              <a:schemeClr val="accent1">
                <a:hueOff val="0"/>
                <a:satOff val="0"/>
                <a:lumOff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eComm CO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C70AA9B-9D95-2C22-C8C5-D63458494982}"/>
              </a:ext>
            </a:extLst>
          </p:cNvPr>
          <p:cNvCxnSpPr>
            <a:cxnSpLocks/>
          </p:cNvCxnSpPr>
          <p:nvPr/>
        </p:nvCxnSpPr>
        <p:spPr>
          <a:xfrm>
            <a:off x="7845778" y="5254978"/>
            <a:ext cx="0" cy="332006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EB743C5E-9623-3B8F-4889-3E7A6BC77A84}"/>
              </a:ext>
            </a:extLst>
          </p:cNvPr>
          <p:cNvCxnSpPr>
            <a:cxnSpLocks/>
          </p:cNvCxnSpPr>
          <p:nvPr/>
        </p:nvCxnSpPr>
        <p:spPr>
          <a:xfrm>
            <a:off x="8841345" y="5276088"/>
            <a:ext cx="0" cy="301752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4586CC0E-9AED-10F0-4C6B-D9B9340E857A}"/>
              </a:ext>
            </a:extLst>
          </p:cNvPr>
          <p:cNvCxnSpPr>
            <a:cxnSpLocks/>
          </p:cNvCxnSpPr>
          <p:nvPr/>
        </p:nvCxnSpPr>
        <p:spPr>
          <a:xfrm>
            <a:off x="9810044" y="5254978"/>
            <a:ext cx="0" cy="286286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40E71941-A83E-041C-835D-027E45DC5C2B}"/>
              </a:ext>
            </a:extLst>
          </p:cNvPr>
          <p:cNvCxnSpPr>
            <a:cxnSpLocks/>
          </p:cNvCxnSpPr>
          <p:nvPr/>
        </p:nvCxnSpPr>
        <p:spPr>
          <a:xfrm>
            <a:off x="10797822" y="5254978"/>
            <a:ext cx="0" cy="277142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86A6FB-CEA2-4CC9-B6B7-D995AF0C1BF5}"/>
              </a:ext>
            </a:extLst>
          </p:cNvPr>
          <p:cNvCxnSpPr>
            <a:cxnSpLocks/>
          </p:cNvCxnSpPr>
          <p:nvPr/>
        </p:nvCxnSpPr>
        <p:spPr>
          <a:xfrm>
            <a:off x="7827264" y="5596128"/>
            <a:ext cx="3008376" cy="0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3E13CF9-6334-423C-B41F-52B5598BD9A8}"/>
              </a:ext>
            </a:extLst>
          </p:cNvPr>
          <p:cNvCxnSpPr>
            <a:cxnSpLocks/>
          </p:cNvCxnSpPr>
          <p:nvPr/>
        </p:nvCxnSpPr>
        <p:spPr>
          <a:xfrm>
            <a:off x="9395516" y="5590258"/>
            <a:ext cx="0" cy="152174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11551C6D-24DF-46CC-8CE7-99531821AE9C}"/>
              </a:ext>
            </a:extLst>
          </p:cNvPr>
          <p:cNvSpPr txBox="1"/>
          <p:nvPr/>
        </p:nvSpPr>
        <p:spPr>
          <a:xfrm>
            <a:off x="4815840" y="2956560"/>
            <a:ext cx="2346960" cy="487680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b="1" dirty="0">
                <a:solidFill>
                  <a:schemeClr val="tx2"/>
                </a:solidFill>
              </a:rPr>
              <a:t>Team Structure </a:t>
            </a:r>
          </a:p>
          <a:p>
            <a:pPr algn="ctr">
              <a:lnSpc>
                <a:spcPct val="90000"/>
              </a:lnSpc>
            </a:pPr>
            <a:r>
              <a:rPr lang="en-US" b="1" dirty="0">
                <a:solidFill>
                  <a:schemeClr val="tx2"/>
                </a:solidFill>
              </a:rPr>
              <a:t>For Illustration Only</a:t>
            </a:r>
          </a:p>
        </p:txBody>
      </p:sp>
    </p:spTree>
    <p:extLst>
      <p:ext uri="{BB962C8B-B14F-4D97-AF65-F5344CB8AC3E}">
        <p14:creationId xmlns:p14="http://schemas.microsoft.com/office/powerpoint/2010/main" val="15288790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2C218C6-8803-4CEB-99C3-A95BE97FED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-235705"/>
            <a:ext cx="11430001" cy="1103907"/>
          </a:xfrm>
        </p:spPr>
        <p:txBody>
          <a:bodyPr/>
          <a:lstStyle/>
          <a:p>
            <a:r>
              <a:rPr lang="en-US" sz="3000" dirty="0"/>
              <a:t>eComm expertise required to get the job done, but other skills are critical to win the future</a:t>
            </a:r>
          </a:p>
        </p:txBody>
      </p:sp>
      <p:sp>
        <p:nvSpPr>
          <p:cNvPr id="51" name="Graphic 97">
            <a:extLst>
              <a:ext uri="{FF2B5EF4-FFF2-40B4-BE49-F238E27FC236}">
                <a16:creationId xmlns:a16="http://schemas.microsoft.com/office/drawing/2014/main" id="{2548BD38-42F3-4B74-8915-B1DA41A7932C}"/>
              </a:ext>
            </a:extLst>
          </p:cNvPr>
          <p:cNvSpPr/>
          <p:nvPr/>
        </p:nvSpPr>
        <p:spPr>
          <a:xfrm flipH="1">
            <a:off x="6612919" y="2381692"/>
            <a:ext cx="5330636" cy="4401879"/>
          </a:xfrm>
          <a:custGeom>
            <a:avLst/>
            <a:gdLst>
              <a:gd name="connsiteX0" fmla="*/ 9339 w 723900"/>
              <a:gd name="connsiteY0" fmla="*/ 265271 h 466725"/>
              <a:gd name="connsiteX1" fmla="*/ 7434 w 723900"/>
              <a:gd name="connsiteY1" fmla="*/ 428149 h 466725"/>
              <a:gd name="connsiteX2" fmla="*/ 37914 w 723900"/>
              <a:gd name="connsiteY2" fmla="*/ 463391 h 466725"/>
              <a:gd name="connsiteX3" fmla="*/ 68394 w 723900"/>
              <a:gd name="connsiteY3" fmla="*/ 458629 h 466725"/>
              <a:gd name="connsiteX4" fmla="*/ 115067 w 723900"/>
              <a:gd name="connsiteY4" fmla="*/ 461486 h 466725"/>
              <a:gd name="connsiteX5" fmla="*/ 403674 w 723900"/>
              <a:gd name="connsiteY5" fmla="*/ 468154 h 466725"/>
              <a:gd name="connsiteX6" fmla="*/ 508449 w 723900"/>
              <a:gd name="connsiteY6" fmla="*/ 460534 h 466725"/>
              <a:gd name="connsiteX7" fmla="*/ 658944 w 723900"/>
              <a:gd name="connsiteY7" fmla="*/ 461486 h 466725"/>
              <a:gd name="connsiteX8" fmla="*/ 697044 w 723900"/>
              <a:gd name="connsiteY8" fmla="*/ 454819 h 466725"/>
              <a:gd name="connsiteX9" fmla="*/ 717047 w 723900"/>
              <a:gd name="connsiteY9" fmla="*/ 367189 h 466725"/>
              <a:gd name="connsiteX10" fmla="*/ 716094 w 723900"/>
              <a:gd name="connsiteY10" fmla="*/ 198596 h 466725"/>
              <a:gd name="connsiteX11" fmla="*/ 715142 w 723900"/>
              <a:gd name="connsiteY11" fmla="*/ 43339 h 466725"/>
              <a:gd name="connsiteX12" fmla="*/ 676089 w 723900"/>
              <a:gd name="connsiteY12" fmla="*/ 7144 h 466725"/>
              <a:gd name="connsiteX13" fmla="*/ 511307 w 723900"/>
              <a:gd name="connsiteY13" fmla="*/ 18574 h 466725"/>
              <a:gd name="connsiteX14" fmla="*/ 287469 w 723900"/>
              <a:gd name="connsiteY14" fmla="*/ 20479 h 466725"/>
              <a:gd name="connsiteX15" fmla="*/ 69347 w 723900"/>
              <a:gd name="connsiteY15" fmla="*/ 12859 h 466725"/>
              <a:gd name="connsiteX16" fmla="*/ 24579 w 723900"/>
              <a:gd name="connsiteY16" fmla="*/ 22384 h 466725"/>
              <a:gd name="connsiteX17" fmla="*/ 17912 w 723900"/>
              <a:gd name="connsiteY17" fmla="*/ 41434 h 466725"/>
              <a:gd name="connsiteX18" fmla="*/ 13149 w 723900"/>
              <a:gd name="connsiteY18" fmla="*/ 210979 h 466725"/>
              <a:gd name="connsiteX19" fmla="*/ 9339 w 723900"/>
              <a:gd name="connsiteY19" fmla="*/ 265271 h 466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723900" h="466725">
                <a:moveTo>
                  <a:pt x="9339" y="265271"/>
                </a:moveTo>
                <a:cubicBezTo>
                  <a:pt x="4577" y="318611"/>
                  <a:pt x="9339" y="373856"/>
                  <a:pt x="7434" y="428149"/>
                </a:cubicBezTo>
                <a:cubicBezTo>
                  <a:pt x="6482" y="447199"/>
                  <a:pt x="12197" y="461486"/>
                  <a:pt x="37914" y="463391"/>
                </a:cubicBezTo>
                <a:cubicBezTo>
                  <a:pt x="47439" y="464344"/>
                  <a:pt x="58869" y="458629"/>
                  <a:pt x="68394" y="458629"/>
                </a:cubicBezTo>
                <a:cubicBezTo>
                  <a:pt x="83634" y="458629"/>
                  <a:pt x="99827" y="461486"/>
                  <a:pt x="115067" y="461486"/>
                </a:cubicBezTo>
                <a:cubicBezTo>
                  <a:pt x="211269" y="463391"/>
                  <a:pt x="307472" y="466249"/>
                  <a:pt x="403674" y="468154"/>
                </a:cubicBezTo>
                <a:cubicBezTo>
                  <a:pt x="439869" y="469106"/>
                  <a:pt x="472254" y="460534"/>
                  <a:pt x="508449" y="460534"/>
                </a:cubicBezTo>
                <a:cubicBezTo>
                  <a:pt x="558932" y="460534"/>
                  <a:pt x="609414" y="461486"/>
                  <a:pt x="658944" y="461486"/>
                </a:cubicBezTo>
                <a:cubicBezTo>
                  <a:pt x="672279" y="461486"/>
                  <a:pt x="686567" y="461486"/>
                  <a:pt x="697044" y="454819"/>
                </a:cubicBezTo>
                <a:cubicBezTo>
                  <a:pt x="719904" y="441484"/>
                  <a:pt x="717047" y="389096"/>
                  <a:pt x="717047" y="367189"/>
                </a:cubicBezTo>
                <a:cubicBezTo>
                  <a:pt x="717047" y="310991"/>
                  <a:pt x="711332" y="253841"/>
                  <a:pt x="716094" y="198596"/>
                </a:cubicBezTo>
                <a:cubicBezTo>
                  <a:pt x="721809" y="148114"/>
                  <a:pt x="718952" y="92869"/>
                  <a:pt x="715142" y="43339"/>
                </a:cubicBezTo>
                <a:cubicBezTo>
                  <a:pt x="713237" y="16669"/>
                  <a:pt x="701807" y="7144"/>
                  <a:pt x="676089" y="7144"/>
                </a:cubicBezTo>
                <a:cubicBezTo>
                  <a:pt x="620844" y="7144"/>
                  <a:pt x="566552" y="20479"/>
                  <a:pt x="511307" y="18574"/>
                </a:cubicBezTo>
                <a:cubicBezTo>
                  <a:pt x="436059" y="16669"/>
                  <a:pt x="361764" y="17621"/>
                  <a:pt x="287469" y="20479"/>
                </a:cubicBezTo>
                <a:cubicBezTo>
                  <a:pt x="214127" y="23336"/>
                  <a:pt x="142689" y="17621"/>
                  <a:pt x="69347" y="12859"/>
                </a:cubicBezTo>
                <a:cubicBezTo>
                  <a:pt x="53154" y="11906"/>
                  <a:pt x="34104" y="11906"/>
                  <a:pt x="24579" y="22384"/>
                </a:cubicBezTo>
                <a:cubicBezTo>
                  <a:pt x="19817" y="28099"/>
                  <a:pt x="18864" y="34766"/>
                  <a:pt x="17912" y="41434"/>
                </a:cubicBezTo>
                <a:cubicBezTo>
                  <a:pt x="13149" y="99536"/>
                  <a:pt x="14102" y="152876"/>
                  <a:pt x="13149" y="210979"/>
                </a:cubicBezTo>
                <a:cubicBezTo>
                  <a:pt x="13149" y="225266"/>
                  <a:pt x="11244" y="244316"/>
                  <a:pt x="9339" y="265271"/>
                </a:cubicBezTo>
              </a:path>
            </a:pathLst>
          </a:custGeom>
          <a:solidFill>
            <a:schemeClr val="bg1">
              <a:lumMod val="95000"/>
            </a:schemeClr>
          </a:solidFill>
          <a:ln w="9525" cap="flat">
            <a:noFill/>
            <a:prstDash val="solid"/>
            <a:miter/>
          </a:ln>
        </p:spPr>
        <p:txBody>
          <a:bodyPr lIns="0" tIns="108000" rIns="0" bIns="108000" rtlCol="0" anchor="ctr"/>
          <a:lstStyle/>
          <a:p>
            <a:pPr marL="742950" lvl="1" indent="-285750">
              <a:buClr>
                <a:schemeClr val="tx2">
                  <a:lumMod val="65000"/>
                  <a:lumOff val="35000"/>
                </a:schemeClr>
              </a:buClr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Entrepreneurship</a:t>
            </a:r>
          </a:p>
          <a:p>
            <a:pPr marL="742950" lvl="1" indent="-285750">
              <a:buClr>
                <a:schemeClr val="tx2">
                  <a:lumMod val="65000"/>
                  <a:lumOff val="35000"/>
                </a:schemeClr>
              </a:buClr>
              <a:buFont typeface="Wingdings" panose="05000000000000000000" pitchFamily="2" charset="2"/>
              <a:buChar char="ü"/>
            </a:pPr>
            <a:endParaRPr lang="en-US" sz="24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pPr marL="742950" lvl="1" indent="-285750">
              <a:buClr>
                <a:schemeClr val="tx2">
                  <a:lumMod val="65000"/>
                  <a:lumOff val="35000"/>
                </a:schemeClr>
              </a:buClr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Agility over perfection</a:t>
            </a:r>
          </a:p>
          <a:p>
            <a:pPr marL="742950" lvl="1" indent="-285750">
              <a:buClr>
                <a:schemeClr val="tx2">
                  <a:lumMod val="65000"/>
                  <a:lumOff val="35000"/>
                </a:schemeClr>
              </a:buClr>
              <a:buFont typeface="Wingdings" panose="05000000000000000000" pitchFamily="2" charset="2"/>
              <a:buChar char="ü"/>
            </a:pPr>
            <a:endParaRPr lang="en-US" sz="24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pPr marL="742950" lvl="1" indent="-285750">
              <a:buClr>
                <a:schemeClr val="tx2">
                  <a:lumMod val="65000"/>
                  <a:lumOff val="35000"/>
                </a:schemeClr>
              </a:buClr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Cross-functional collaboration</a:t>
            </a:r>
          </a:p>
          <a:p>
            <a:pPr marL="742950" lvl="1" indent="-285750">
              <a:buClr>
                <a:schemeClr val="tx2">
                  <a:lumMod val="65000"/>
                  <a:lumOff val="35000"/>
                </a:schemeClr>
              </a:buClr>
              <a:buFont typeface="Wingdings" panose="05000000000000000000" pitchFamily="2" charset="2"/>
              <a:buChar char="ü"/>
            </a:pPr>
            <a:endParaRPr lang="en-US" sz="24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pPr marL="742950" lvl="1" indent="-285750">
              <a:buClr>
                <a:schemeClr val="tx2">
                  <a:lumMod val="65000"/>
                  <a:lumOff val="35000"/>
                </a:schemeClr>
              </a:buClr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Influence without authority</a:t>
            </a:r>
          </a:p>
          <a:p>
            <a:pPr marL="742950" lvl="1" indent="-285750">
              <a:buClr>
                <a:schemeClr val="tx2">
                  <a:lumMod val="65000"/>
                  <a:lumOff val="35000"/>
                </a:schemeClr>
              </a:buClr>
              <a:buFont typeface="Wingdings" panose="05000000000000000000" pitchFamily="2" charset="2"/>
              <a:buChar char="ü"/>
            </a:pPr>
            <a:endParaRPr lang="en-US" sz="24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pPr marL="742950" lvl="1" indent="-285750">
              <a:buClr>
                <a:schemeClr val="tx2">
                  <a:lumMod val="65000"/>
                  <a:lumOff val="35000"/>
                </a:schemeClr>
              </a:buClr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Thought leadership</a:t>
            </a:r>
          </a:p>
        </p:txBody>
      </p:sp>
      <p:sp>
        <p:nvSpPr>
          <p:cNvPr id="2" name="Cross 1">
            <a:extLst>
              <a:ext uri="{FF2B5EF4-FFF2-40B4-BE49-F238E27FC236}">
                <a16:creationId xmlns:a16="http://schemas.microsoft.com/office/drawing/2014/main" id="{9DF729AC-22D6-4DEF-8654-D7E46187C628}"/>
              </a:ext>
            </a:extLst>
          </p:cNvPr>
          <p:cNvSpPr/>
          <p:nvPr/>
        </p:nvSpPr>
        <p:spPr>
          <a:xfrm>
            <a:off x="5677785" y="3753294"/>
            <a:ext cx="797443" cy="818707"/>
          </a:xfrm>
          <a:prstGeom prst="plus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Graphic 97">
            <a:extLst>
              <a:ext uri="{FF2B5EF4-FFF2-40B4-BE49-F238E27FC236}">
                <a16:creationId xmlns:a16="http://schemas.microsoft.com/office/drawing/2014/main" id="{7DFBF6C4-D5D0-4651-8E7F-2C7D9E6C4B88}"/>
              </a:ext>
            </a:extLst>
          </p:cNvPr>
          <p:cNvSpPr/>
          <p:nvPr/>
        </p:nvSpPr>
        <p:spPr>
          <a:xfrm flipH="1">
            <a:off x="349104" y="2456121"/>
            <a:ext cx="5273748" cy="4242390"/>
          </a:xfrm>
          <a:custGeom>
            <a:avLst/>
            <a:gdLst>
              <a:gd name="connsiteX0" fmla="*/ 9339 w 723900"/>
              <a:gd name="connsiteY0" fmla="*/ 265271 h 466725"/>
              <a:gd name="connsiteX1" fmla="*/ 7434 w 723900"/>
              <a:gd name="connsiteY1" fmla="*/ 428149 h 466725"/>
              <a:gd name="connsiteX2" fmla="*/ 37914 w 723900"/>
              <a:gd name="connsiteY2" fmla="*/ 463391 h 466725"/>
              <a:gd name="connsiteX3" fmla="*/ 68394 w 723900"/>
              <a:gd name="connsiteY3" fmla="*/ 458629 h 466725"/>
              <a:gd name="connsiteX4" fmla="*/ 115067 w 723900"/>
              <a:gd name="connsiteY4" fmla="*/ 461486 h 466725"/>
              <a:gd name="connsiteX5" fmla="*/ 403674 w 723900"/>
              <a:gd name="connsiteY5" fmla="*/ 468154 h 466725"/>
              <a:gd name="connsiteX6" fmla="*/ 508449 w 723900"/>
              <a:gd name="connsiteY6" fmla="*/ 460534 h 466725"/>
              <a:gd name="connsiteX7" fmla="*/ 658944 w 723900"/>
              <a:gd name="connsiteY7" fmla="*/ 461486 h 466725"/>
              <a:gd name="connsiteX8" fmla="*/ 697044 w 723900"/>
              <a:gd name="connsiteY8" fmla="*/ 454819 h 466725"/>
              <a:gd name="connsiteX9" fmla="*/ 717047 w 723900"/>
              <a:gd name="connsiteY9" fmla="*/ 367189 h 466725"/>
              <a:gd name="connsiteX10" fmla="*/ 716094 w 723900"/>
              <a:gd name="connsiteY10" fmla="*/ 198596 h 466725"/>
              <a:gd name="connsiteX11" fmla="*/ 715142 w 723900"/>
              <a:gd name="connsiteY11" fmla="*/ 43339 h 466725"/>
              <a:gd name="connsiteX12" fmla="*/ 676089 w 723900"/>
              <a:gd name="connsiteY12" fmla="*/ 7144 h 466725"/>
              <a:gd name="connsiteX13" fmla="*/ 511307 w 723900"/>
              <a:gd name="connsiteY13" fmla="*/ 18574 h 466725"/>
              <a:gd name="connsiteX14" fmla="*/ 287469 w 723900"/>
              <a:gd name="connsiteY14" fmla="*/ 20479 h 466725"/>
              <a:gd name="connsiteX15" fmla="*/ 69347 w 723900"/>
              <a:gd name="connsiteY15" fmla="*/ 12859 h 466725"/>
              <a:gd name="connsiteX16" fmla="*/ 24579 w 723900"/>
              <a:gd name="connsiteY16" fmla="*/ 22384 h 466725"/>
              <a:gd name="connsiteX17" fmla="*/ 17912 w 723900"/>
              <a:gd name="connsiteY17" fmla="*/ 41434 h 466725"/>
              <a:gd name="connsiteX18" fmla="*/ 13149 w 723900"/>
              <a:gd name="connsiteY18" fmla="*/ 210979 h 466725"/>
              <a:gd name="connsiteX19" fmla="*/ 9339 w 723900"/>
              <a:gd name="connsiteY19" fmla="*/ 265271 h 466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723900" h="466725">
                <a:moveTo>
                  <a:pt x="9339" y="265271"/>
                </a:moveTo>
                <a:cubicBezTo>
                  <a:pt x="4577" y="318611"/>
                  <a:pt x="9339" y="373856"/>
                  <a:pt x="7434" y="428149"/>
                </a:cubicBezTo>
                <a:cubicBezTo>
                  <a:pt x="6482" y="447199"/>
                  <a:pt x="12197" y="461486"/>
                  <a:pt x="37914" y="463391"/>
                </a:cubicBezTo>
                <a:cubicBezTo>
                  <a:pt x="47439" y="464344"/>
                  <a:pt x="58869" y="458629"/>
                  <a:pt x="68394" y="458629"/>
                </a:cubicBezTo>
                <a:cubicBezTo>
                  <a:pt x="83634" y="458629"/>
                  <a:pt x="99827" y="461486"/>
                  <a:pt x="115067" y="461486"/>
                </a:cubicBezTo>
                <a:cubicBezTo>
                  <a:pt x="211269" y="463391"/>
                  <a:pt x="307472" y="466249"/>
                  <a:pt x="403674" y="468154"/>
                </a:cubicBezTo>
                <a:cubicBezTo>
                  <a:pt x="439869" y="469106"/>
                  <a:pt x="472254" y="460534"/>
                  <a:pt x="508449" y="460534"/>
                </a:cubicBezTo>
                <a:cubicBezTo>
                  <a:pt x="558932" y="460534"/>
                  <a:pt x="609414" y="461486"/>
                  <a:pt x="658944" y="461486"/>
                </a:cubicBezTo>
                <a:cubicBezTo>
                  <a:pt x="672279" y="461486"/>
                  <a:pt x="686567" y="461486"/>
                  <a:pt x="697044" y="454819"/>
                </a:cubicBezTo>
                <a:cubicBezTo>
                  <a:pt x="719904" y="441484"/>
                  <a:pt x="717047" y="389096"/>
                  <a:pt x="717047" y="367189"/>
                </a:cubicBezTo>
                <a:cubicBezTo>
                  <a:pt x="717047" y="310991"/>
                  <a:pt x="711332" y="253841"/>
                  <a:pt x="716094" y="198596"/>
                </a:cubicBezTo>
                <a:cubicBezTo>
                  <a:pt x="721809" y="148114"/>
                  <a:pt x="718952" y="92869"/>
                  <a:pt x="715142" y="43339"/>
                </a:cubicBezTo>
                <a:cubicBezTo>
                  <a:pt x="713237" y="16669"/>
                  <a:pt x="701807" y="7144"/>
                  <a:pt x="676089" y="7144"/>
                </a:cubicBezTo>
                <a:cubicBezTo>
                  <a:pt x="620844" y="7144"/>
                  <a:pt x="566552" y="20479"/>
                  <a:pt x="511307" y="18574"/>
                </a:cubicBezTo>
                <a:cubicBezTo>
                  <a:pt x="436059" y="16669"/>
                  <a:pt x="361764" y="17621"/>
                  <a:pt x="287469" y="20479"/>
                </a:cubicBezTo>
                <a:cubicBezTo>
                  <a:pt x="214127" y="23336"/>
                  <a:pt x="142689" y="17621"/>
                  <a:pt x="69347" y="12859"/>
                </a:cubicBezTo>
                <a:cubicBezTo>
                  <a:pt x="53154" y="11906"/>
                  <a:pt x="34104" y="11906"/>
                  <a:pt x="24579" y="22384"/>
                </a:cubicBezTo>
                <a:cubicBezTo>
                  <a:pt x="19817" y="28099"/>
                  <a:pt x="18864" y="34766"/>
                  <a:pt x="17912" y="41434"/>
                </a:cubicBezTo>
                <a:cubicBezTo>
                  <a:pt x="13149" y="99536"/>
                  <a:pt x="14102" y="152876"/>
                  <a:pt x="13149" y="210979"/>
                </a:cubicBezTo>
                <a:cubicBezTo>
                  <a:pt x="13149" y="225266"/>
                  <a:pt x="11244" y="244316"/>
                  <a:pt x="9339" y="265271"/>
                </a:cubicBezTo>
              </a:path>
            </a:pathLst>
          </a:custGeom>
          <a:solidFill>
            <a:schemeClr val="bg1">
              <a:lumMod val="95000"/>
            </a:schemeClr>
          </a:solidFill>
          <a:ln w="9525" cap="flat">
            <a:noFill/>
            <a:prstDash val="solid"/>
            <a:miter/>
          </a:ln>
        </p:spPr>
        <p:txBody>
          <a:bodyPr lIns="0" tIns="108000" rIns="0" bIns="108000" rtlCol="0" anchor="ctr"/>
          <a:lstStyle/>
          <a:p>
            <a:pPr marL="742950" lvl="1" indent="-285750">
              <a:buClr>
                <a:schemeClr val="tx2">
                  <a:lumMod val="65000"/>
                  <a:lumOff val="35000"/>
                </a:schemeClr>
              </a:buClr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eComm Strategy setting</a:t>
            </a:r>
          </a:p>
          <a:p>
            <a:pPr marL="742950" lvl="1" indent="-285750">
              <a:buClr>
                <a:schemeClr val="tx2">
                  <a:lumMod val="65000"/>
                  <a:lumOff val="35000"/>
                </a:schemeClr>
              </a:buClr>
              <a:buFont typeface="Wingdings" panose="05000000000000000000" pitchFamily="2" charset="2"/>
              <a:buChar char="ü"/>
            </a:pPr>
            <a:endParaRPr lang="en-US" sz="24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pPr marL="742950" lvl="1" indent="-285750">
              <a:buClr>
                <a:schemeClr val="tx2">
                  <a:lumMod val="65000"/>
                  <a:lumOff val="35000"/>
                </a:schemeClr>
              </a:buClr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Commercial acumen</a:t>
            </a:r>
          </a:p>
          <a:p>
            <a:pPr marL="742950" lvl="1" indent="-285750">
              <a:buClr>
                <a:schemeClr val="tx2">
                  <a:lumMod val="65000"/>
                  <a:lumOff val="35000"/>
                </a:schemeClr>
              </a:buClr>
              <a:buFont typeface="Wingdings" panose="05000000000000000000" pitchFamily="2" charset="2"/>
              <a:buChar char="ü"/>
            </a:pPr>
            <a:endParaRPr lang="en-US" sz="24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pPr marL="742950" lvl="1" indent="-285750">
              <a:buClr>
                <a:schemeClr val="tx2">
                  <a:lumMod val="65000"/>
                  <a:lumOff val="35000"/>
                </a:schemeClr>
              </a:buClr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eComm Know-How &amp; Digital Marketing</a:t>
            </a:r>
          </a:p>
          <a:p>
            <a:pPr marL="742950" lvl="1" indent="-285750">
              <a:buClr>
                <a:schemeClr val="tx2">
                  <a:lumMod val="65000"/>
                  <a:lumOff val="35000"/>
                </a:schemeClr>
              </a:buClr>
              <a:buFont typeface="Wingdings" panose="05000000000000000000" pitchFamily="2" charset="2"/>
              <a:buChar char="ü"/>
            </a:pPr>
            <a:endParaRPr lang="en-US" sz="24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pPr marL="742950" lvl="1" indent="-285750">
              <a:buClr>
                <a:schemeClr val="tx2">
                  <a:lumMod val="65000"/>
                  <a:lumOff val="35000"/>
                </a:schemeClr>
              </a:buClr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Account management &amp; JBP negotiation</a:t>
            </a:r>
          </a:p>
          <a:p>
            <a:pPr marL="742950" lvl="1" indent="-285750">
              <a:buClr>
                <a:schemeClr val="tx2">
                  <a:lumMod val="65000"/>
                  <a:lumOff val="35000"/>
                </a:schemeClr>
              </a:buClr>
              <a:buFont typeface="Wingdings" panose="05000000000000000000" pitchFamily="2" charset="2"/>
              <a:buChar char="ü"/>
            </a:pPr>
            <a:endParaRPr lang="en-US" sz="24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pPr marL="742950" lvl="1" indent="-285750">
              <a:buClr>
                <a:schemeClr val="tx2">
                  <a:lumMod val="65000"/>
                  <a:lumOff val="35000"/>
                </a:schemeClr>
              </a:buClr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Data-driven analytical skills</a:t>
            </a:r>
          </a:p>
        </p:txBody>
      </p:sp>
      <p:sp>
        <p:nvSpPr>
          <p:cNvPr id="48" name="Graphic 97">
            <a:extLst>
              <a:ext uri="{FF2B5EF4-FFF2-40B4-BE49-F238E27FC236}">
                <a16:creationId xmlns:a16="http://schemas.microsoft.com/office/drawing/2014/main" id="{B53D9C26-70F0-4FB9-B041-7624A0F182EC}"/>
              </a:ext>
            </a:extLst>
          </p:cNvPr>
          <p:cNvSpPr/>
          <p:nvPr/>
        </p:nvSpPr>
        <p:spPr>
          <a:xfrm flipH="1">
            <a:off x="381001" y="1315922"/>
            <a:ext cx="5198083" cy="1005840"/>
          </a:xfrm>
          <a:custGeom>
            <a:avLst/>
            <a:gdLst>
              <a:gd name="connsiteX0" fmla="*/ 9339 w 723900"/>
              <a:gd name="connsiteY0" fmla="*/ 265271 h 466725"/>
              <a:gd name="connsiteX1" fmla="*/ 7434 w 723900"/>
              <a:gd name="connsiteY1" fmla="*/ 428149 h 466725"/>
              <a:gd name="connsiteX2" fmla="*/ 37914 w 723900"/>
              <a:gd name="connsiteY2" fmla="*/ 463391 h 466725"/>
              <a:gd name="connsiteX3" fmla="*/ 68394 w 723900"/>
              <a:gd name="connsiteY3" fmla="*/ 458629 h 466725"/>
              <a:gd name="connsiteX4" fmla="*/ 115067 w 723900"/>
              <a:gd name="connsiteY4" fmla="*/ 461486 h 466725"/>
              <a:gd name="connsiteX5" fmla="*/ 403674 w 723900"/>
              <a:gd name="connsiteY5" fmla="*/ 468154 h 466725"/>
              <a:gd name="connsiteX6" fmla="*/ 508449 w 723900"/>
              <a:gd name="connsiteY6" fmla="*/ 460534 h 466725"/>
              <a:gd name="connsiteX7" fmla="*/ 658944 w 723900"/>
              <a:gd name="connsiteY7" fmla="*/ 461486 h 466725"/>
              <a:gd name="connsiteX8" fmla="*/ 697044 w 723900"/>
              <a:gd name="connsiteY8" fmla="*/ 454819 h 466725"/>
              <a:gd name="connsiteX9" fmla="*/ 717047 w 723900"/>
              <a:gd name="connsiteY9" fmla="*/ 367189 h 466725"/>
              <a:gd name="connsiteX10" fmla="*/ 716094 w 723900"/>
              <a:gd name="connsiteY10" fmla="*/ 198596 h 466725"/>
              <a:gd name="connsiteX11" fmla="*/ 715142 w 723900"/>
              <a:gd name="connsiteY11" fmla="*/ 43339 h 466725"/>
              <a:gd name="connsiteX12" fmla="*/ 676089 w 723900"/>
              <a:gd name="connsiteY12" fmla="*/ 7144 h 466725"/>
              <a:gd name="connsiteX13" fmla="*/ 511307 w 723900"/>
              <a:gd name="connsiteY13" fmla="*/ 18574 h 466725"/>
              <a:gd name="connsiteX14" fmla="*/ 287469 w 723900"/>
              <a:gd name="connsiteY14" fmla="*/ 20479 h 466725"/>
              <a:gd name="connsiteX15" fmla="*/ 69347 w 723900"/>
              <a:gd name="connsiteY15" fmla="*/ 12859 h 466725"/>
              <a:gd name="connsiteX16" fmla="*/ 24579 w 723900"/>
              <a:gd name="connsiteY16" fmla="*/ 22384 h 466725"/>
              <a:gd name="connsiteX17" fmla="*/ 17912 w 723900"/>
              <a:gd name="connsiteY17" fmla="*/ 41434 h 466725"/>
              <a:gd name="connsiteX18" fmla="*/ 13149 w 723900"/>
              <a:gd name="connsiteY18" fmla="*/ 210979 h 466725"/>
              <a:gd name="connsiteX19" fmla="*/ 9339 w 723900"/>
              <a:gd name="connsiteY19" fmla="*/ 265271 h 466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723900" h="466725">
                <a:moveTo>
                  <a:pt x="9339" y="265271"/>
                </a:moveTo>
                <a:cubicBezTo>
                  <a:pt x="4577" y="318611"/>
                  <a:pt x="9339" y="373856"/>
                  <a:pt x="7434" y="428149"/>
                </a:cubicBezTo>
                <a:cubicBezTo>
                  <a:pt x="6482" y="447199"/>
                  <a:pt x="12197" y="461486"/>
                  <a:pt x="37914" y="463391"/>
                </a:cubicBezTo>
                <a:cubicBezTo>
                  <a:pt x="47439" y="464344"/>
                  <a:pt x="58869" y="458629"/>
                  <a:pt x="68394" y="458629"/>
                </a:cubicBezTo>
                <a:cubicBezTo>
                  <a:pt x="83634" y="458629"/>
                  <a:pt x="99827" y="461486"/>
                  <a:pt x="115067" y="461486"/>
                </a:cubicBezTo>
                <a:cubicBezTo>
                  <a:pt x="211269" y="463391"/>
                  <a:pt x="307472" y="466249"/>
                  <a:pt x="403674" y="468154"/>
                </a:cubicBezTo>
                <a:cubicBezTo>
                  <a:pt x="439869" y="469106"/>
                  <a:pt x="472254" y="460534"/>
                  <a:pt x="508449" y="460534"/>
                </a:cubicBezTo>
                <a:cubicBezTo>
                  <a:pt x="558932" y="460534"/>
                  <a:pt x="609414" y="461486"/>
                  <a:pt x="658944" y="461486"/>
                </a:cubicBezTo>
                <a:cubicBezTo>
                  <a:pt x="672279" y="461486"/>
                  <a:pt x="686567" y="461486"/>
                  <a:pt x="697044" y="454819"/>
                </a:cubicBezTo>
                <a:cubicBezTo>
                  <a:pt x="719904" y="441484"/>
                  <a:pt x="717047" y="389096"/>
                  <a:pt x="717047" y="367189"/>
                </a:cubicBezTo>
                <a:cubicBezTo>
                  <a:pt x="717047" y="310991"/>
                  <a:pt x="711332" y="253841"/>
                  <a:pt x="716094" y="198596"/>
                </a:cubicBezTo>
                <a:cubicBezTo>
                  <a:pt x="721809" y="148114"/>
                  <a:pt x="718952" y="92869"/>
                  <a:pt x="715142" y="43339"/>
                </a:cubicBezTo>
                <a:cubicBezTo>
                  <a:pt x="713237" y="16669"/>
                  <a:pt x="701807" y="7144"/>
                  <a:pt x="676089" y="7144"/>
                </a:cubicBezTo>
                <a:cubicBezTo>
                  <a:pt x="620844" y="7144"/>
                  <a:pt x="566552" y="20479"/>
                  <a:pt x="511307" y="18574"/>
                </a:cubicBezTo>
                <a:cubicBezTo>
                  <a:pt x="436059" y="16669"/>
                  <a:pt x="361764" y="17621"/>
                  <a:pt x="287469" y="20479"/>
                </a:cubicBezTo>
                <a:cubicBezTo>
                  <a:pt x="214127" y="23336"/>
                  <a:pt x="142689" y="17621"/>
                  <a:pt x="69347" y="12859"/>
                </a:cubicBezTo>
                <a:cubicBezTo>
                  <a:pt x="53154" y="11906"/>
                  <a:pt x="34104" y="11906"/>
                  <a:pt x="24579" y="22384"/>
                </a:cubicBezTo>
                <a:cubicBezTo>
                  <a:pt x="19817" y="28099"/>
                  <a:pt x="18864" y="34766"/>
                  <a:pt x="17912" y="41434"/>
                </a:cubicBezTo>
                <a:cubicBezTo>
                  <a:pt x="13149" y="99536"/>
                  <a:pt x="14102" y="152876"/>
                  <a:pt x="13149" y="210979"/>
                </a:cubicBezTo>
                <a:cubicBezTo>
                  <a:pt x="13149" y="225266"/>
                  <a:pt x="11244" y="244316"/>
                  <a:pt x="9339" y="265271"/>
                </a:cubicBezTo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lIns="0" tIns="108000" rIns="182880" bIns="108000" rtlCol="0" anchor="ctr"/>
          <a:lstStyle/>
          <a:p>
            <a:pPr marL="231775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SG" sz="2400" b="1" dirty="0">
                <a:solidFill>
                  <a:schemeClr val="bg1"/>
                </a:solidFill>
                <a:latin typeface="Calibri"/>
              </a:rPr>
              <a:t>Subject Matter Expertise “Hard” Skills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" name="Graphic 97">
            <a:extLst>
              <a:ext uri="{FF2B5EF4-FFF2-40B4-BE49-F238E27FC236}">
                <a16:creationId xmlns:a16="http://schemas.microsoft.com/office/drawing/2014/main" id="{F831D50B-E085-4DB4-8B58-7F2D1840102F}"/>
              </a:ext>
            </a:extLst>
          </p:cNvPr>
          <p:cNvSpPr/>
          <p:nvPr/>
        </p:nvSpPr>
        <p:spPr>
          <a:xfrm flipH="1">
            <a:off x="6612918" y="1340732"/>
            <a:ext cx="5198083" cy="1005840"/>
          </a:xfrm>
          <a:custGeom>
            <a:avLst/>
            <a:gdLst>
              <a:gd name="connsiteX0" fmla="*/ 9339 w 723900"/>
              <a:gd name="connsiteY0" fmla="*/ 265271 h 466725"/>
              <a:gd name="connsiteX1" fmla="*/ 7434 w 723900"/>
              <a:gd name="connsiteY1" fmla="*/ 428149 h 466725"/>
              <a:gd name="connsiteX2" fmla="*/ 37914 w 723900"/>
              <a:gd name="connsiteY2" fmla="*/ 463391 h 466725"/>
              <a:gd name="connsiteX3" fmla="*/ 68394 w 723900"/>
              <a:gd name="connsiteY3" fmla="*/ 458629 h 466725"/>
              <a:gd name="connsiteX4" fmla="*/ 115067 w 723900"/>
              <a:gd name="connsiteY4" fmla="*/ 461486 h 466725"/>
              <a:gd name="connsiteX5" fmla="*/ 403674 w 723900"/>
              <a:gd name="connsiteY5" fmla="*/ 468154 h 466725"/>
              <a:gd name="connsiteX6" fmla="*/ 508449 w 723900"/>
              <a:gd name="connsiteY6" fmla="*/ 460534 h 466725"/>
              <a:gd name="connsiteX7" fmla="*/ 658944 w 723900"/>
              <a:gd name="connsiteY7" fmla="*/ 461486 h 466725"/>
              <a:gd name="connsiteX8" fmla="*/ 697044 w 723900"/>
              <a:gd name="connsiteY8" fmla="*/ 454819 h 466725"/>
              <a:gd name="connsiteX9" fmla="*/ 717047 w 723900"/>
              <a:gd name="connsiteY9" fmla="*/ 367189 h 466725"/>
              <a:gd name="connsiteX10" fmla="*/ 716094 w 723900"/>
              <a:gd name="connsiteY10" fmla="*/ 198596 h 466725"/>
              <a:gd name="connsiteX11" fmla="*/ 715142 w 723900"/>
              <a:gd name="connsiteY11" fmla="*/ 43339 h 466725"/>
              <a:gd name="connsiteX12" fmla="*/ 676089 w 723900"/>
              <a:gd name="connsiteY12" fmla="*/ 7144 h 466725"/>
              <a:gd name="connsiteX13" fmla="*/ 511307 w 723900"/>
              <a:gd name="connsiteY13" fmla="*/ 18574 h 466725"/>
              <a:gd name="connsiteX14" fmla="*/ 287469 w 723900"/>
              <a:gd name="connsiteY14" fmla="*/ 20479 h 466725"/>
              <a:gd name="connsiteX15" fmla="*/ 69347 w 723900"/>
              <a:gd name="connsiteY15" fmla="*/ 12859 h 466725"/>
              <a:gd name="connsiteX16" fmla="*/ 24579 w 723900"/>
              <a:gd name="connsiteY16" fmla="*/ 22384 h 466725"/>
              <a:gd name="connsiteX17" fmla="*/ 17912 w 723900"/>
              <a:gd name="connsiteY17" fmla="*/ 41434 h 466725"/>
              <a:gd name="connsiteX18" fmla="*/ 13149 w 723900"/>
              <a:gd name="connsiteY18" fmla="*/ 210979 h 466725"/>
              <a:gd name="connsiteX19" fmla="*/ 9339 w 723900"/>
              <a:gd name="connsiteY19" fmla="*/ 265271 h 466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723900" h="466725">
                <a:moveTo>
                  <a:pt x="9339" y="265271"/>
                </a:moveTo>
                <a:cubicBezTo>
                  <a:pt x="4577" y="318611"/>
                  <a:pt x="9339" y="373856"/>
                  <a:pt x="7434" y="428149"/>
                </a:cubicBezTo>
                <a:cubicBezTo>
                  <a:pt x="6482" y="447199"/>
                  <a:pt x="12197" y="461486"/>
                  <a:pt x="37914" y="463391"/>
                </a:cubicBezTo>
                <a:cubicBezTo>
                  <a:pt x="47439" y="464344"/>
                  <a:pt x="58869" y="458629"/>
                  <a:pt x="68394" y="458629"/>
                </a:cubicBezTo>
                <a:cubicBezTo>
                  <a:pt x="83634" y="458629"/>
                  <a:pt x="99827" y="461486"/>
                  <a:pt x="115067" y="461486"/>
                </a:cubicBezTo>
                <a:cubicBezTo>
                  <a:pt x="211269" y="463391"/>
                  <a:pt x="307472" y="466249"/>
                  <a:pt x="403674" y="468154"/>
                </a:cubicBezTo>
                <a:cubicBezTo>
                  <a:pt x="439869" y="469106"/>
                  <a:pt x="472254" y="460534"/>
                  <a:pt x="508449" y="460534"/>
                </a:cubicBezTo>
                <a:cubicBezTo>
                  <a:pt x="558932" y="460534"/>
                  <a:pt x="609414" y="461486"/>
                  <a:pt x="658944" y="461486"/>
                </a:cubicBezTo>
                <a:cubicBezTo>
                  <a:pt x="672279" y="461486"/>
                  <a:pt x="686567" y="461486"/>
                  <a:pt x="697044" y="454819"/>
                </a:cubicBezTo>
                <a:cubicBezTo>
                  <a:pt x="719904" y="441484"/>
                  <a:pt x="717047" y="389096"/>
                  <a:pt x="717047" y="367189"/>
                </a:cubicBezTo>
                <a:cubicBezTo>
                  <a:pt x="717047" y="310991"/>
                  <a:pt x="711332" y="253841"/>
                  <a:pt x="716094" y="198596"/>
                </a:cubicBezTo>
                <a:cubicBezTo>
                  <a:pt x="721809" y="148114"/>
                  <a:pt x="718952" y="92869"/>
                  <a:pt x="715142" y="43339"/>
                </a:cubicBezTo>
                <a:cubicBezTo>
                  <a:pt x="713237" y="16669"/>
                  <a:pt x="701807" y="7144"/>
                  <a:pt x="676089" y="7144"/>
                </a:cubicBezTo>
                <a:cubicBezTo>
                  <a:pt x="620844" y="7144"/>
                  <a:pt x="566552" y="20479"/>
                  <a:pt x="511307" y="18574"/>
                </a:cubicBezTo>
                <a:cubicBezTo>
                  <a:pt x="436059" y="16669"/>
                  <a:pt x="361764" y="17621"/>
                  <a:pt x="287469" y="20479"/>
                </a:cubicBezTo>
                <a:cubicBezTo>
                  <a:pt x="214127" y="23336"/>
                  <a:pt x="142689" y="17621"/>
                  <a:pt x="69347" y="12859"/>
                </a:cubicBezTo>
                <a:cubicBezTo>
                  <a:pt x="53154" y="11906"/>
                  <a:pt x="34104" y="11906"/>
                  <a:pt x="24579" y="22384"/>
                </a:cubicBezTo>
                <a:cubicBezTo>
                  <a:pt x="19817" y="28099"/>
                  <a:pt x="18864" y="34766"/>
                  <a:pt x="17912" y="41434"/>
                </a:cubicBezTo>
                <a:cubicBezTo>
                  <a:pt x="13149" y="99536"/>
                  <a:pt x="14102" y="152876"/>
                  <a:pt x="13149" y="210979"/>
                </a:cubicBezTo>
                <a:cubicBezTo>
                  <a:pt x="13149" y="225266"/>
                  <a:pt x="11244" y="244316"/>
                  <a:pt x="9339" y="265271"/>
                </a:cubicBezTo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lIns="0" tIns="108000" rIns="0" bIns="108000" rtlCol="0" anchor="ctr"/>
          <a:lstStyle/>
          <a:p>
            <a:pPr marL="231775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en-SG" sz="2400" b="1" strike="sngStrike" dirty="0">
                <a:solidFill>
                  <a:schemeClr val="bg1"/>
                </a:solidFill>
                <a:latin typeface="Calibri"/>
              </a:rPr>
              <a:t>“Soft</a:t>
            </a:r>
            <a:r>
              <a:rPr lang="en-SG" sz="2400" b="1" dirty="0">
                <a:solidFill>
                  <a:schemeClr val="bg1"/>
                </a:solidFill>
                <a:latin typeface="Calibri"/>
              </a:rPr>
              <a:t>” Critical Skills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99617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6BF6FFE-9F1B-F04A-B420-4A8316AD5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5402" y="905434"/>
            <a:ext cx="3414343" cy="3254794"/>
          </a:xfrm>
          <a:prstGeom prst="rect">
            <a:avLst/>
          </a:prstGeom>
        </p:spPr>
      </p:pic>
      <p:sp>
        <p:nvSpPr>
          <p:cNvPr id="11" name="Graphic 97">
            <a:extLst>
              <a:ext uri="{FF2B5EF4-FFF2-40B4-BE49-F238E27FC236}">
                <a16:creationId xmlns:a16="http://schemas.microsoft.com/office/drawing/2014/main" id="{544D1804-EC7E-473F-8B66-684844E12DD0}"/>
              </a:ext>
            </a:extLst>
          </p:cNvPr>
          <p:cNvSpPr/>
          <p:nvPr/>
        </p:nvSpPr>
        <p:spPr>
          <a:xfrm flipH="1">
            <a:off x="297530" y="3827721"/>
            <a:ext cx="4965585" cy="2789273"/>
          </a:xfrm>
          <a:custGeom>
            <a:avLst/>
            <a:gdLst>
              <a:gd name="connsiteX0" fmla="*/ 9339 w 723900"/>
              <a:gd name="connsiteY0" fmla="*/ 265271 h 466725"/>
              <a:gd name="connsiteX1" fmla="*/ 7434 w 723900"/>
              <a:gd name="connsiteY1" fmla="*/ 428149 h 466725"/>
              <a:gd name="connsiteX2" fmla="*/ 37914 w 723900"/>
              <a:gd name="connsiteY2" fmla="*/ 463391 h 466725"/>
              <a:gd name="connsiteX3" fmla="*/ 68394 w 723900"/>
              <a:gd name="connsiteY3" fmla="*/ 458629 h 466725"/>
              <a:gd name="connsiteX4" fmla="*/ 115067 w 723900"/>
              <a:gd name="connsiteY4" fmla="*/ 461486 h 466725"/>
              <a:gd name="connsiteX5" fmla="*/ 403674 w 723900"/>
              <a:gd name="connsiteY5" fmla="*/ 468154 h 466725"/>
              <a:gd name="connsiteX6" fmla="*/ 508449 w 723900"/>
              <a:gd name="connsiteY6" fmla="*/ 460534 h 466725"/>
              <a:gd name="connsiteX7" fmla="*/ 658944 w 723900"/>
              <a:gd name="connsiteY7" fmla="*/ 461486 h 466725"/>
              <a:gd name="connsiteX8" fmla="*/ 697044 w 723900"/>
              <a:gd name="connsiteY8" fmla="*/ 454819 h 466725"/>
              <a:gd name="connsiteX9" fmla="*/ 717047 w 723900"/>
              <a:gd name="connsiteY9" fmla="*/ 367189 h 466725"/>
              <a:gd name="connsiteX10" fmla="*/ 716094 w 723900"/>
              <a:gd name="connsiteY10" fmla="*/ 198596 h 466725"/>
              <a:gd name="connsiteX11" fmla="*/ 715142 w 723900"/>
              <a:gd name="connsiteY11" fmla="*/ 43339 h 466725"/>
              <a:gd name="connsiteX12" fmla="*/ 676089 w 723900"/>
              <a:gd name="connsiteY12" fmla="*/ 7144 h 466725"/>
              <a:gd name="connsiteX13" fmla="*/ 511307 w 723900"/>
              <a:gd name="connsiteY13" fmla="*/ 18574 h 466725"/>
              <a:gd name="connsiteX14" fmla="*/ 287469 w 723900"/>
              <a:gd name="connsiteY14" fmla="*/ 20479 h 466725"/>
              <a:gd name="connsiteX15" fmla="*/ 69347 w 723900"/>
              <a:gd name="connsiteY15" fmla="*/ 12859 h 466725"/>
              <a:gd name="connsiteX16" fmla="*/ 24579 w 723900"/>
              <a:gd name="connsiteY16" fmla="*/ 22384 h 466725"/>
              <a:gd name="connsiteX17" fmla="*/ 17912 w 723900"/>
              <a:gd name="connsiteY17" fmla="*/ 41434 h 466725"/>
              <a:gd name="connsiteX18" fmla="*/ 13149 w 723900"/>
              <a:gd name="connsiteY18" fmla="*/ 210979 h 466725"/>
              <a:gd name="connsiteX19" fmla="*/ 9339 w 723900"/>
              <a:gd name="connsiteY19" fmla="*/ 265271 h 466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723900" h="466725">
                <a:moveTo>
                  <a:pt x="9339" y="265271"/>
                </a:moveTo>
                <a:cubicBezTo>
                  <a:pt x="4577" y="318611"/>
                  <a:pt x="9339" y="373856"/>
                  <a:pt x="7434" y="428149"/>
                </a:cubicBezTo>
                <a:cubicBezTo>
                  <a:pt x="6482" y="447199"/>
                  <a:pt x="12197" y="461486"/>
                  <a:pt x="37914" y="463391"/>
                </a:cubicBezTo>
                <a:cubicBezTo>
                  <a:pt x="47439" y="464344"/>
                  <a:pt x="58869" y="458629"/>
                  <a:pt x="68394" y="458629"/>
                </a:cubicBezTo>
                <a:cubicBezTo>
                  <a:pt x="83634" y="458629"/>
                  <a:pt x="99827" y="461486"/>
                  <a:pt x="115067" y="461486"/>
                </a:cubicBezTo>
                <a:cubicBezTo>
                  <a:pt x="211269" y="463391"/>
                  <a:pt x="307472" y="466249"/>
                  <a:pt x="403674" y="468154"/>
                </a:cubicBezTo>
                <a:cubicBezTo>
                  <a:pt x="439869" y="469106"/>
                  <a:pt x="472254" y="460534"/>
                  <a:pt x="508449" y="460534"/>
                </a:cubicBezTo>
                <a:cubicBezTo>
                  <a:pt x="558932" y="460534"/>
                  <a:pt x="609414" y="461486"/>
                  <a:pt x="658944" y="461486"/>
                </a:cubicBezTo>
                <a:cubicBezTo>
                  <a:pt x="672279" y="461486"/>
                  <a:pt x="686567" y="461486"/>
                  <a:pt x="697044" y="454819"/>
                </a:cubicBezTo>
                <a:cubicBezTo>
                  <a:pt x="719904" y="441484"/>
                  <a:pt x="717047" y="389096"/>
                  <a:pt x="717047" y="367189"/>
                </a:cubicBezTo>
                <a:cubicBezTo>
                  <a:pt x="717047" y="310991"/>
                  <a:pt x="711332" y="253841"/>
                  <a:pt x="716094" y="198596"/>
                </a:cubicBezTo>
                <a:cubicBezTo>
                  <a:pt x="721809" y="148114"/>
                  <a:pt x="718952" y="92869"/>
                  <a:pt x="715142" y="43339"/>
                </a:cubicBezTo>
                <a:cubicBezTo>
                  <a:pt x="713237" y="16669"/>
                  <a:pt x="701807" y="7144"/>
                  <a:pt x="676089" y="7144"/>
                </a:cubicBezTo>
                <a:cubicBezTo>
                  <a:pt x="620844" y="7144"/>
                  <a:pt x="566552" y="20479"/>
                  <a:pt x="511307" y="18574"/>
                </a:cubicBezTo>
                <a:cubicBezTo>
                  <a:pt x="436059" y="16669"/>
                  <a:pt x="361764" y="17621"/>
                  <a:pt x="287469" y="20479"/>
                </a:cubicBezTo>
                <a:cubicBezTo>
                  <a:pt x="214127" y="23336"/>
                  <a:pt x="142689" y="17621"/>
                  <a:pt x="69347" y="12859"/>
                </a:cubicBezTo>
                <a:cubicBezTo>
                  <a:pt x="53154" y="11906"/>
                  <a:pt x="34104" y="11906"/>
                  <a:pt x="24579" y="22384"/>
                </a:cubicBezTo>
                <a:cubicBezTo>
                  <a:pt x="19817" y="28099"/>
                  <a:pt x="18864" y="34766"/>
                  <a:pt x="17912" y="41434"/>
                </a:cubicBezTo>
                <a:cubicBezTo>
                  <a:pt x="13149" y="99536"/>
                  <a:pt x="14102" y="152876"/>
                  <a:pt x="13149" y="210979"/>
                </a:cubicBezTo>
                <a:cubicBezTo>
                  <a:pt x="13149" y="225266"/>
                  <a:pt x="11244" y="244316"/>
                  <a:pt x="9339" y="265271"/>
                </a:cubicBezTo>
              </a:path>
            </a:pathLst>
          </a:custGeom>
          <a:solidFill>
            <a:schemeClr val="bg1">
              <a:lumMod val="95000"/>
            </a:schemeClr>
          </a:solidFill>
          <a:ln w="9525" cap="flat">
            <a:noFill/>
            <a:prstDash val="solid"/>
            <a:miter/>
          </a:ln>
        </p:spPr>
        <p:txBody>
          <a:bodyPr lIns="0" tIns="108000" rIns="0" bIns="108000" rtlCol="0" anchor="ctr"/>
          <a:lstStyle/>
          <a:p>
            <a:pPr>
              <a:buClr>
                <a:schemeClr val="tx2">
                  <a:lumMod val="65000"/>
                  <a:lumOff val="35000"/>
                </a:schemeClr>
              </a:buClr>
            </a:pPr>
            <a:endParaRPr lang="en-US" sz="2400" b="1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ED2EC0E-FBC2-BE42-92F7-5D51C7124671}"/>
              </a:ext>
            </a:extLst>
          </p:cNvPr>
          <p:cNvSpPr txBox="1"/>
          <p:nvPr/>
        </p:nvSpPr>
        <p:spPr>
          <a:xfrm>
            <a:off x="512135" y="4033287"/>
            <a:ext cx="4687186" cy="22510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b="1" dirty="0">
                <a:solidFill>
                  <a:srgbClr val="3F3F3F"/>
                </a:solidFill>
              </a:rPr>
              <a:t>It takes a village </a:t>
            </a:r>
            <a:r>
              <a:rPr lang="en-US" sz="2400" dirty="0">
                <a:solidFill>
                  <a:srgbClr val="3F3F3F"/>
                </a:solidFill>
              </a:rPr>
              <a:t>- eCommerce requires high cross-functional collaboration and integration across key processes in the business</a:t>
            </a:r>
          </a:p>
        </p:txBody>
      </p:sp>
      <p:sp>
        <p:nvSpPr>
          <p:cNvPr id="12" name="Graphic 99">
            <a:extLst>
              <a:ext uri="{FF2B5EF4-FFF2-40B4-BE49-F238E27FC236}">
                <a16:creationId xmlns:a16="http://schemas.microsoft.com/office/drawing/2014/main" id="{21FC523F-4BC3-4FC2-AA1F-D9A39F7EEDAC}"/>
              </a:ext>
            </a:extLst>
          </p:cNvPr>
          <p:cNvSpPr/>
          <p:nvPr/>
        </p:nvSpPr>
        <p:spPr>
          <a:xfrm>
            <a:off x="5273750" y="1403498"/>
            <a:ext cx="6741040" cy="4603897"/>
          </a:xfrm>
          <a:custGeom>
            <a:avLst/>
            <a:gdLst>
              <a:gd name="connsiteX0" fmla="*/ 9049 w 466725"/>
              <a:gd name="connsiteY0" fmla="*/ 193834 h 466725"/>
              <a:gd name="connsiteX1" fmla="*/ 10954 w 466725"/>
              <a:gd name="connsiteY1" fmla="*/ 336709 h 466725"/>
              <a:gd name="connsiteX2" fmla="*/ 14764 w 466725"/>
              <a:gd name="connsiteY2" fmla="*/ 431959 h 466725"/>
              <a:gd name="connsiteX3" fmla="*/ 52864 w 466725"/>
              <a:gd name="connsiteY3" fmla="*/ 452914 h 466725"/>
              <a:gd name="connsiteX4" fmla="*/ 100489 w 466725"/>
              <a:gd name="connsiteY4" fmla="*/ 457676 h 466725"/>
              <a:gd name="connsiteX5" fmla="*/ 357664 w 466725"/>
              <a:gd name="connsiteY5" fmla="*/ 461486 h 466725"/>
              <a:gd name="connsiteX6" fmla="*/ 391954 w 466725"/>
              <a:gd name="connsiteY6" fmla="*/ 456724 h 466725"/>
              <a:gd name="connsiteX7" fmla="*/ 425291 w 466725"/>
              <a:gd name="connsiteY7" fmla="*/ 455771 h 466725"/>
              <a:gd name="connsiteX8" fmla="*/ 457676 w 466725"/>
              <a:gd name="connsiteY8" fmla="*/ 440531 h 466725"/>
              <a:gd name="connsiteX9" fmla="*/ 460534 w 466725"/>
              <a:gd name="connsiteY9" fmla="*/ 357664 h 466725"/>
              <a:gd name="connsiteX10" fmla="*/ 460534 w 466725"/>
              <a:gd name="connsiteY10" fmla="*/ 290989 h 466725"/>
              <a:gd name="connsiteX11" fmla="*/ 459581 w 466725"/>
              <a:gd name="connsiteY11" fmla="*/ 194786 h 466725"/>
              <a:gd name="connsiteX12" fmla="*/ 458629 w 466725"/>
              <a:gd name="connsiteY12" fmla="*/ 67151 h 466725"/>
              <a:gd name="connsiteX13" fmla="*/ 437674 w 466725"/>
              <a:gd name="connsiteY13" fmla="*/ 7144 h 466725"/>
              <a:gd name="connsiteX14" fmla="*/ 339566 w 466725"/>
              <a:gd name="connsiteY14" fmla="*/ 10001 h 466725"/>
              <a:gd name="connsiteX15" fmla="*/ 218599 w 466725"/>
              <a:gd name="connsiteY15" fmla="*/ 10954 h 466725"/>
              <a:gd name="connsiteX16" fmla="*/ 13811 w 466725"/>
              <a:gd name="connsiteY16" fmla="*/ 13811 h 466725"/>
              <a:gd name="connsiteX17" fmla="*/ 10001 w 466725"/>
              <a:gd name="connsiteY17" fmla="*/ 48101 h 466725"/>
              <a:gd name="connsiteX18" fmla="*/ 9049 w 466725"/>
              <a:gd name="connsiteY18" fmla="*/ 71914 h 466725"/>
              <a:gd name="connsiteX19" fmla="*/ 7144 w 466725"/>
              <a:gd name="connsiteY19" fmla="*/ 146209 h 466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66725" h="466725">
                <a:moveTo>
                  <a:pt x="9049" y="193834"/>
                </a:moveTo>
                <a:cubicBezTo>
                  <a:pt x="9049" y="252889"/>
                  <a:pt x="9049" y="287179"/>
                  <a:pt x="10954" y="336709"/>
                </a:cubicBezTo>
                <a:cubicBezTo>
                  <a:pt x="11906" y="358616"/>
                  <a:pt x="9049" y="414814"/>
                  <a:pt x="14764" y="431959"/>
                </a:cubicBezTo>
                <a:cubicBezTo>
                  <a:pt x="21431" y="452914"/>
                  <a:pt x="31909" y="449104"/>
                  <a:pt x="52864" y="452914"/>
                </a:cubicBezTo>
                <a:cubicBezTo>
                  <a:pt x="75724" y="457676"/>
                  <a:pt x="90011" y="457676"/>
                  <a:pt x="100489" y="457676"/>
                </a:cubicBezTo>
                <a:cubicBezTo>
                  <a:pt x="212884" y="458629"/>
                  <a:pt x="260509" y="464344"/>
                  <a:pt x="357664" y="461486"/>
                </a:cubicBezTo>
                <a:cubicBezTo>
                  <a:pt x="367189" y="461486"/>
                  <a:pt x="383381" y="458629"/>
                  <a:pt x="391954" y="456724"/>
                </a:cubicBezTo>
                <a:cubicBezTo>
                  <a:pt x="403384" y="454819"/>
                  <a:pt x="417671" y="456724"/>
                  <a:pt x="425291" y="455771"/>
                </a:cubicBezTo>
                <a:cubicBezTo>
                  <a:pt x="438626" y="453866"/>
                  <a:pt x="455771" y="451961"/>
                  <a:pt x="457676" y="440531"/>
                </a:cubicBezTo>
                <a:cubicBezTo>
                  <a:pt x="461486" y="411956"/>
                  <a:pt x="459581" y="379571"/>
                  <a:pt x="460534" y="357664"/>
                </a:cubicBezTo>
                <a:cubicBezTo>
                  <a:pt x="461486" y="335756"/>
                  <a:pt x="459581" y="312896"/>
                  <a:pt x="460534" y="290989"/>
                </a:cubicBezTo>
                <a:cubicBezTo>
                  <a:pt x="461486" y="259556"/>
                  <a:pt x="458629" y="226219"/>
                  <a:pt x="459581" y="194786"/>
                </a:cubicBezTo>
                <a:cubicBezTo>
                  <a:pt x="461486" y="151924"/>
                  <a:pt x="457676" y="110014"/>
                  <a:pt x="458629" y="67151"/>
                </a:cubicBezTo>
                <a:cubicBezTo>
                  <a:pt x="458629" y="37624"/>
                  <a:pt x="462439" y="7144"/>
                  <a:pt x="437674" y="7144"/>
                </a:cubicBezTo>
                <a:cubicBezTo>
                  <a:pt x="426244" y="7144"/>
                  <a:pt x="350996" y="10954"/>
                  <a:pt x="339566" y="10001"/>
                </a:cubicBezTo>
                <a:cubicBezTo>
                  <a:pt x="303371" y="9049"/>
                  <a:pt x="255746" y="10954"/>
                  <a:pt x="218599" y="10954"/>
                </a:cubicBezTo>
                <a:cubicBezTo>
                  <a:pt x="145256" y="10954"/>
                  <a:pt x="75724" y="5239"/>
                  <a:pt x="13811" y="13811"/>
                </a:cubicBezTo>
                <a:cubicBezTo>
                  <a:pt x="11906" y="15716"/>
                  <a:pt x="10001" y="42386"/>
                  <a:pt x="10001" y="48101"/>
                </a:cubicBezTo>
                <a:cubicBezTo>
                  <a:pt x="10001" y="63341"/>
                  <a:pt x="10001" y="62389"/>
                  <a:pt x="9049" y="71914"/>
                </a:cubicBezTo>
                <a:cubicBezTo>
                  <a:pt x="4286" y="99536"/>
                  <a:pt x="11906" y="119539"/>
                  <a:pt x="7144" y="146209"/>
                </a:cubicBezTo>
              </a:path>
            </a:pathLst>
          </a:custGeom>
          <a:solidFill>
            <a:schemeClr val="accent2"/>
          </a:solidFill>
        </p:spPr>
        <p:txBody>
          <a:bodyPr lIns="274320" tIns="274320" rIns="274320" bIns="274320"/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3D9D2FB-A70F-4804-8DEA-150C428BEA6A}"/>
              </a:ext>
            </a:extLst>
          </p:cNvPr>
          <p:cNvSpPr txBox="1"/>
          <p:nvPr/>
        </p:nvSpPr>
        <p:spPr>
          <a:xfrm>
            <a:off x="5709684" y="1786269"/>
            <a:ext cx="6081823" cy="37654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457200" marR="0" lvl="0" indent="-45720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SG" sz="2800" dirty="0">
                <a:solidFill>
                  <a:prstClr val="white"/>
                </a:solidFill>
                <a:latin typeface="Calibri"/>
              </a:rPr>
              <a:t>Bring everyone along on the journey with company-wide, structured </a:t>
            </a:r>
            <a:r>
              <a:rPr lang="en-SG" sz="3000" b="1" dirty="0">
                <a:solidFill>
                  <a:prstClr val="white"/>
                </a:solidFill>
                <a:latin typeface="Calibri"/>
              </a:rPr>
              <a:t>Trainings </a:t>
            </a:r>
            <a:r>
              <a:rPr lang="en-SG" sz="3000" dirty="0">
                <a:solidFill>
                  <a:prstClr val="white"/>
                </a:solidFill>
                <a:latin typeface="Calibri"/>
              </a:rPr>
              <a:t>t</a:t>
            </a:r>
            <a:r>
              <a:rPr lang="en-SG" sz="2800" dirty="0">
                <a:solidFill>
                  <a:prstClr val="white"/>
                </a:solidFill>
                <a:latin typeface="Calibri"/>
              </a:rPr>
              <a:t>argeted to Functions/Roles</a:t>
            </a:r>
          </a:p>
          <a:p>
            <a:pPr marL="457200" marR="0" lvl="0" indent="-45720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lang="en-SG" sz="2800" dirty="0">
              <a:solidFill>
                <a:prstClr val="white"/>
              </a:solidFill>
              <a:latin typeface="Calibri"/>
            </a:endParaRPr>
          </a:p>
          <a:p>
            <a:pPr marL="457200" marR="0" lvl="0" indent="-45720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SG" sz="2800" b="1" dirty="0">
                <a:solidFill>
                  <a:prstClr val="white"/>
                </a:solidFill>
                <a:latin typeface="Calibri"/>
              </a:rPr>
              <a:t>Integrate</a:t>
            </a:r>
            <a:r>
              <a:rPr lang="en-SG" sz="28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SG" sz="2800" b="1" dirty="0">
                <a:solidFill>
                  <a:prstClr val="white"/>
                </a:solidFill>
                <a:latin typeface="Calibri"/>
              </a:rPr>
              <a:t>Adapt</a:t>
            </a:r>
            <a:r>
              <a:rPr lang="en-SG" sz="2800" dirty="0">
                <a:solidFill>
                  <a:prstClr val="white"/>
                </a:solidFill>
                <a:latin typeface="Calibri"/>
              </a:rPr>
              <a:t> or </a:t>
            </a:r>
            <a:r>
              <a:rPr lang="en-SG" sz="2800" b="1" dirty="0">
                <a:solidFill>
                  <a:prstClr val="white"/>
                </a:solidFill>
                <a:latin typeface="Calibri"/>
              </a:rPr>
              <a:t>Create</a:t>
            </a:r>
            <a:r>
              <a:rPr lang="en-SG" sz="2800" dirty="0">
                <a:solidFill>
                  <a:prstClr val="white"/>
                </a:solidFill>
                <a:latin typeface="Calibri"/>
              </a:rPr>
              <a:t> fit-for-purpose processes to meet digital commerce requirements</a:t>
            </a:r>
          </a:p>
          <a:p>
            <a:pPr marL="457200" marR="0" lvl="0" indent="-45720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lang="en-SG" sz="2800" dirty="0">
              <a:solidFill>
                <a:prstClr val="white"/>
              </a:solidFill>
              <a:latin typeface="Calibri"/>
            </a:endParaRPr>
          </a:p>
          <a:p>
            <a:pPr marL="457200" marR="0" lvl="0" indent="-45720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SG" sz="2800" b="1" dirty="0">
                <a:solidFill>
                  <a:prstClr val="white"/>
                </a:solidFill>
                <a:latin typeface="Calibri"/>
              </a:rPr>
              <a:t>Break down </a:t>
            </a:r>
            <a:r>
              <a:rPr lang="en-SG" sz="2800" dirty="0">
                <a:solidFill>
                  <a:prstClr val="white"/>
                </a:solidFill>
                <a:latin typeface="Calibri"/>
              </a:rPr>
              <a:t>operational Silos!</a:t>
            </a:r>
          </a:p>
          <a:p>
            <a:pPr marL="457200" marR="0" lvl="0" indent="-45720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SG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2285AD0-6BB7-C457-C20D-EE04B33CC2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865" y="369981"/>
            <a:ext cx="12143508" cy="485335"/>
          </a:xfrm>
        </p:spPr>
        <p:txBody>
          <a:bodyPr/>
          <a:lstStyle/>
          <a:p>
            <a:r>
              <a:rPr lang="en-US" sz="3000" dirty="0"/>
              <a:t>To win the future of commerce, you need a future-ready organization</a:t>
            </a:r>
          </a:p>
        </p:txBody>
      </p:sp>
    </p:spTree>
    <p:extLst>
      <p:ext uri="{BB962C8B-B14F-4D97-AF65-F5344CB8AC3E}">
        <p14:creationId xmlns:p14="http://schemas.microsoft.com/office/powerpoint/2010/main" val="8269074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mMXOok8HOPj95jqMiN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fLZqzdwwsc._Jwet0r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itle only"/>
  <p:tag name="EE4P_LAYOUT_ID" val="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PBl540im1REv9hUimS2A"/>
</p:tagLst>
</file>

<file path=ppt/theme/theme1.xml><?xml version="1.0" encoding="utf-8"?>
<a:theme xmlns:a="http://schemas.openxmlformats.org/drawingml/2006/main" name="1_MDLZ Widescreen">
  <a:themeElements>
    <a:clrScheme name="MDLZ">
      <a:dk1>
        <a:srgbClr val="666666"/>
      </a:dk1>
      <a:lt1>
        <a:sysClr val="window" lastClr="FFFFFF"/>
      </a:lt1>
      <a:dk2>
        <a:srgbClr val="000000"/>
      </a:dk2>
      <a:lt2>
        <a:srgbClr val="DDDDDD"/>
      </a:lt2>
      <a:accent1>
        <a:srgbClr val="4F2170"/>
      </a:accent1>
      <a:accent2>
        <a:srgbClr val="E18719"/>
      </a:accent2>
      <a:accent3>
        <a:srgbClr val="287819"/>
      </a:accent3>
      <a:accent4>
        <a:srgbClr val="623E23"/>
      </a:accent4>
      <a:accent5>
        <a:srgbClr val="A52323"/>
      </a:accent5>
      <a:accent6>
        <a:srgbClr val="2D6EAA"/>
      </a:accent6>
      <a:hlink>
        <a:srgbClr val="4F2170"/>
      </a:hlink>
      <a:folHlink>
        <a:srgbClr val="777777"/>
      </a:folHlink>
    </a:clrScheme>
    <a:fontScheme name="MDLZ and Calibri">
      <a:majorFont>
        <a:latin typeface="MDLZ BITE TYPE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90000"/>
          </a:lnSpc>
          <a:defRPr smtClean="0"/>
        </a:defPPr>
      </a:lstStyle>
    </a:txDef>
  </a:objectDefaults>
  <a:extraClrSchemeLst/>
  <a:custClrLst>
    <a:custClr name="MDLZ WORLD">
      <a:srgbClr val="4F2170"/>
    </a:custClr>
    <a:custClr name="GOLDEN WHEAT">
      <a:srgbClr val="E18719"/>
    </a:custClr>
    <a:custClr name="GO GREEN">
      <a:srgbClr val="287819"/>
    </a:custClr>
    <a:custClr name="COCOA BROWN">
      <a:srgbClr val="623E23"/>
    </a:custClr>
    <a:custClr name="TASTY RED">
      <a:srgbClr val="A52323"/>
    </a:custClr>
    <a:custClr name="COOL BLUE">
      <a:srgbClr val="2D6EAA"/>
    </a:custClr>
    <a:custClr name="SUNNY GRAIN">
      <a:srgbClr val="E6AF23"/>
    </a:custClr>
    <a:custClr name="COOL GREY">
      <a:srgbClr val="666666"/>
    </a:custClr>
    <a:custClr name=" ">
      <a:srgbClr val="FFFFFF"/>
    </a:custClr>
    <a:custClr name=" ">
      <a:srgbClr val="FFFFFF"/>
    </a:custClr>
    <a:custClr name="MDLZ WORLD LIGHTER">
      <a:srgbClr val="724D8D"/>
    </a:custClr>
    <a:custClr name="GOLDEN WHEAT LIGHTER">
      <a:srgbClr val="EAAB5E"/>
    </a:custClr>
    <a:custClr name="GO GREEN LIGHTER">
      <a:srgbClr val="73A769"/>
    </a:custClr>
    <a:custClr name="COCOA BROWN LIGHTER">
      <a:srgbClr val="93785F"/>
    </a:custClr>
    <a:custClr name="TASTY RED LIGHTER">
      <a:srgbClr val="C97B7B"/>
    </a:custClr>
    <a:custClr name="COOL BLUE LIGHTER">
      <a:srgbClr val="81A8CC"/>
    </a:custClr>
    <a:custClr name="SUNNY GRAIN LIGHTER">
      <a:srgbClr val="EDC765"/>
    </a:custClr>
    <a:custClr name="COOL GREY LIGHTER">
      <a:srgbClr val="858585"/>
    </a:custClr>
    <a:custClr name=" ">
      <a:srgbClr val="FFFFFF"/>
    </a:custClr>
    <a:custClr name=" ">
      <a:srgbClr val="FFFFFF"/>
    </a:custClr>
    <a:custClr name="MDLZ WORLD LIGHTEST">
      <a:srgbClr val="957AA9"/>
    </a:custClr>
    <a:custClr name="GOLDEN WHEAT LIGHTEST">
      <a:srgbClr val="F3CFA3"/>
    </a:custClr>
    <a:custClr name="GO GREEN LIGHTEST">
      <a:srgbClr val="B4D0AF"/>
    </a:custClr>
    <a:custClr name="COCOA BROWN LIGHTEST">
      <a:srgbClr val="BEADA0"/>
    </a:custClr>
    <a:custClr name="TASTY RED LIGHTEST">
      <a:srgbClr val="E4BDBD"/>
    </a:custClr>
    <a:custClr name="COOL BLUE LIGHTEST">
      <a:srgbClr val="ABC5DD"/>
    </a:custClr>
    <a:custClr name="SUNNY GRAIN LIGHTEST">
      <a:srgbClr val="F4DB9C"/>
    </a:custClr>
    <a:custClr name="COOL GREY LIGHTEST">
      <a:srgbClr val="A3A3A3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MDLZ_Widescreen.potx" id="{328C68A3-BA36-41D0-BCF0-2DA655A474F8}" vid="{F122DF83-843F-4BAF-A383-3DED920AE46F}"/>
    </a:ext>
  </a:extLst>
</a:theme>
</file>

<file path=ppt/theme/theme2.xml><?xml version="1.0" encoding="utf-8"?>
<a:theme xmlns:a="http://schemas.openxmlformats.org/drawingml/2006/main" name="3_MDLZ Widescreen">
  <a:themeElements>
    <a:clrScheme name="MDLZ">
      <a:dk1>
        <a:srgbClr val="666666"/>
      </a:dk1>
      <a:lt1>
        <a:sysClr val="window" lastClr="FFFFFF"/>
      </a:lt1>
      <a:dk2>
        <a:srgbClr val="000000"/>
      </a:dk2>
      <a:lt2>
        <a:srgbClr val="DDDDDD"/>
      </a:lt2>
      <a:accent1>
        <a:srgbClr val="4F2170"/>
      </a:accent1>
      <a:accent2>
        <a:srgbClr val="E18719"/>
      </a:accent2>
      <a:accent3>
        <a:srgbClr val="287819"/>
      </a:accent3>
      <a:accent4>
        <a:srgbClr val="623E23"/>
      </a:accent4>
      <a:accent5>
        <a:srgbClr val="A52323"/>
      </a:accent5>
      <a:accent6>
        <a:srgbClr val="2D6EAA"/>
      </a:accent6>
      <a:hlink>
        <a:srgbClr val="4F2170"/>
      </a:hlink>
      <a:folHlink>
        <a:srgbClr val="777777"/>
      </a:folHlink>
    </a:clrScheme>
    <a:fontScheme name="MDLZ and Calibri">
      <a:majorFont>
        <a:latin typeface="MDLZ BITE TYPE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90000"/>
          </a:lnSpc>
          <a:defRPr smtClean="0"/>
        </a:defPPr>
      </a:lstStyle>
    </a:txDef>
  </a:objectDefaults>
  <a:extraClrSchemeLst/>
  <a:custClrLst>
    <a:custClr name="MDLZ WORLD">
      <a:srgbClr val="4F2170"/>
    </a:custClr>
    <a:custClr name="GOLDEN WHEAT">
      <a:srgbClr val="E18719"/>
    </a:custClr>
    <a:custClr name="GO GREEN">
      <a:srgbClr val="287819"/>
    </a:custClr>
    <a:custClr name="COCOA BROWN">
      <a:srgbClr val="623E23"/>
    </a:custClr>
    <a:custClr name="TASTY RED">
      <a:srgbClr val="A52323"/>
    </a:custClr>
    <a:custClr name="COOL BLUE">
      <a:srgbClr val="2D6EAA"/>
    </a:custClr>
    <a:custClr name="SUNNY GRAIN">
      <a:srgbClr val="E6AF23"/>
    </a:custClr>
    <a:custClr name="COOL GREY">
      <a:srgbClr val="666666"/>
    </a:custClr>
    <a:custClr name=" ">
      <a:srgbClr val="FFFFFF"/>
    </a:custClr>
    <a:custClr name=" ">
      <a:srgbClr val="FFFFFF"/>
    </a:custClr>
    <a:custClr name="MDLZ WORLD LIGHTER">
      <a:srgbClr val="724D8D"/>
    </a:custClr>
    <a:custClr name="GOLDEN WHEAT LIGHTER">
      <a:srgbClr val="EAAB5E"/>
    </a:custClr>
    <a:custClr name="GO GREEN LIGHTER">
      <a:srgbClr val="73A769"/>
    </a:custClr>
    <a:custClr name="COCOA BROWN LIGHTER">
      <a:srgbClr val="93785F"/>
    </a:custClr>
    <a:custClr name="TASTY RED LIGHTER">
      <a:srgbClr val="C97B7B"/>
    </a:custClr>
    <a:custClr name="COOL BLUE LIGHTER">
      <a:srgbClr val="81A8CC"/>
    </a:custClr>
    <a:custClr name="SUNNY GRAIN LIGHTER">
      <a:srgbClr val="EDC765"/>
    </a:custClr>
    <a:custClr name="COOL GREY LIGHTER">
      <a:srgbClr val="858585"/>
    </a:custClr>
    <a:custClr name=" ">
      <a:srgbClr val="FFFFFF"/>
    </a:custClr>
    <a:custClr name=" ">
      <a:srgbClr val="FFFFFF"/>
    </a:custClr>
    <a:custClr name="MDLZ WORLD LIGHTEST">
      <a:srgbClr val="957AA9"/>
    </a:custClr>
    <a:custClr name="GOLDEN WHEAT LIGHTEST">
      <a:srgbClr val="F3CFA3"/>
    </a:custClr>
    <a:custClr name="GO GREEN LIGHTEST">
      <a:srgbClr val="B4D0AF"/>
    </a:custClr>
    <a:custClr name="COCOA BROWN LIGHTEST">
      <a:srgbClr val="BEADA0"/>
    </a:custClr>
    <a:custClr name="TASTY RED LIGHTEST">
      <a:srgbClr val="E4BDBD"/>
    </a:custClr>
    <a:custClr name="COOL BLUE LIGHTEST">
      <a:srgbClr val="ABC5DD"/>
    </a:custClr>
    <a:custClr name="SUNNY GRAIN LIGHTEST">
      <a:srgbClr val="F4DB9C"/>
    </a:custClr>
    <a:custClr name="COOL GREY LIGHTEST">
      <a:srgbClr val="A3A3A3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MDLZ_Widescreen.potx" id="{AC86D6A3-3BAC-4C8B-8AD2-242597532CD4}" vid="{7502B784-A5DE-4E8D-9054-16A3C0F711BA}"/>
    </a:ext>
  </a:extLst>
</a:theme>
</file>

<file path=ppt/theme/theme3.xml><?xml version="1.0" encoding="utf-8"?>
<a:theme xmlns:a="http://schemas.openxmlformats.org/drawingml/2006/main" name="2_MDLZ Widescreen">
  <a:themeElements>
    <a:clrScheme name="MDLZ">
      <a:dk1>
        <a:srgbClr val="666666"/>
      </a:dk1>
      <a:lt1>
        <a:sysClr val="window" lastClr="FFFFFF"/>
      </a:lt1>
      <a:dk2>
        <a:srgbClr val="000000"/>
      </a:dk2>
      <a:lt2>
        <a:srgbClr val="DDDDDD"/>
      </a:lt2>
      <a:accent1>
        <a:srgbClr val="4F2170"/>
      </a:accent1>
      <a:accent2>
        <a:srgbClr val="E18719"/>
      </a:accent2>
      <a:accent3>
        <a:srgbClr val="287819"/>
      </a:accent3>
      <a:accent4>
        <a:srgbClr val="623E23"/>
      </a:accent4>
      <a:accent5>
        <a:srgbClr val="A52323"/>
      </a:accent5>
      <a:accent6>
        <a:srgbClr val="2D6EAA"/>
      </a:accent6>
      <a:hlink>
        <a:srgbClr val="4F2170"/>
      </a:hlink>
      <a:folHlink>
        <a:srgbClr val="777777"/>
      </a:folHlink>
    </a:clrScheme>
    <a:fontScheme name="MDLZ and Calibri">
      <a:majorFont>
        <a:latin typeface="MDLZ BITE TYPE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90000"/>
          </a:lnSpc>
          <a:defRPr smtClean="0"/>
        </a:defPPr>
      </a:lstStyle>
    </a:txDef>
  </a:objectDefaults>
  <a:extraClrSchemeLst/>
  <a:custClrLst>
    <a:custClr name="MDLZ WORLD">
      <a:srgbClr val="4F2170"/>
    </a:custClr>
    <a:custClr name="GOLDEN WHEAT">
      <a:srgbClr val="E18719"/>
    </a:custClr>
    <a:custClr name="GO GREEN">
      <a:srgbClr val="287819"/>
    </a:custClr>
    <a:custClr name="COCOA BROWN">
      <a:srgbClr val="623E23"/>
    </a:custClr>
    <a:custClr name="TASTY RED">
      <a:srgbClr val="A52323"/>
    </a:custClr>
    <a:custClr name="COOL BLUE">
      <a:srgbClr val="2D6EAA"/>
    </a:custClr>
    <a:custClr name="SUNNY GRAIN">
      <a:srgbClr val="E6AF23"/>
    </a:custClr>
    <a:custClr name="COOL GREY">
      <a:srgbClr val="666666"/>
    </a:custClr>
    <a:custClr name=" ">
      <a:srgbClr val="FFFFFF"/>
    </a:custClr>
    <a:custClr name=" ">
      <a:srgbClr val="FFFFFF"/>
    </a:custClr>
    <a:custClr name="MDLZ WORLD LIGHTER">
      <a:srgbClr val="724D8D"/>
    </a:custClr>
    <a:custClr name="GOLDEN WHEAT LIGHTER">
      <a:srgbClr val="EAAB5E"/>
    </a:custClr>
    <a:custClr name="GO GREEN LIGHTER">
      <a:srgbClr val="73A769"/>
    </a:custClr>
    <a:custClr name="COCOA BROWN LIGHTER">
      <a:srgbClr val="93785F"/>
    </a:custClr>
    <a:custClr name="TASTY RED LIGHTER">
      <a:srgbClr val="C97B7B"/>
    </a:custClr>
    <a:custClr name="COOL BLUE LIGHTER">
      <a:srgbClr val="81A8CC"/>
    </a:custClr>
    <a:custClr name="SUNNY GRAIN LIGHTER">
      <a:srgbClr val="EDC765"/>
    </a:custClr>
    <a:custClr name="COOL GREY LIGHTER">
      <a:srgbClr val="858585"/>
    </a:custClr>
    <a:custClr name=" ">
      <a:srgbClr val="FFFFFF"/>
    </a:custClr>
    <a:custClr name=" ">
      <a:srgbClr val="FFFFFF"/>
    </a:custClr>
    <a:custClr name="MDLZ WORLD LIGHTEST">
      <a:srgbClr val="957AA9"/>
    </a:custClr>
    <a:custClr name="GOLDEN WHEAT LIGHTEST">
      <a:srgbClr val="F3CFA3"/>
    </a:custClr>
    <a:custClr name="GO GREEN LIGHTEST">
      <a:srgbClr val="B4D0AF"/>
    </a:custClr>
    <a:custClr name="COCOA BROWN LIGHTEST">
      <a:srgbClr val="BEADA0"/>
    </a:custClr>
    <a:custClr name="TASTY RED LIGHTEST">
      <a:srgbClr val="E4BDBD"/>
    </a:custClr>
    <a:custClr name="COOL BLUE LIGHTEST">
      <a:srgbClr val="ABC5DD"/>
    </a:custClr>
    <a:custClr name="SUNNY GRAIN LIGHTEST">
      <a:srgbClr val="F4DB9C"/>
    </a:custClr>
    <a:custClr name="COOL GREY LIGHTEST">
      <a:srgbClr val="A3A3A3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MDLZ_Widescreen.potx" id="{AC86D6A3-3BAC-4C8B-8AD2-242597532CD4}" vid="{7502B784-A5DE-4E8D-9054-16A3C0F711B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651</TotalTime>
  <Words>603</Words>
  <Application>Microsoft Office PowerPoint</Application>
  <PresentationFormat>Widescreen</PresentationFormat>
  <Paragraphs>106</Paragraphs>
  <Slides>1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4" baseType="lpstr">
      <vt:lpstr>-apple-system</vt:lpstr>
      <vt:lpstr>Arial</vt:lpstr>
      <vt:lpstr>Arial Black</vt:lpstr>
      <vt:lpstr>Calibri</vt:lpstr>
      <vt:lpstr>MDLZ BITE TYPE</vt:lpstr>
      <vt:lpstr>Trebuchet MS</vt:lpstr>
      <vt:lpstr>Wingdings</vt:lpstr>
      <vt:lpstr>1_MDLZ Widescreen</vt:lpstr>
      <vt:lpstr>3_MDLZ Widescreen</vt:lpstr>
      <vt:lpstr>2_MDLZ Widescreen</vt:lpstr>
      <vt:lpstr>think-cell Slide</vt:lpstr>
      <vt:lpstr>Future-proof your organization to win the future of commerce </vt:lpstr>
      <vt:lpstr>A bit about mondelez and me….</vt:lpstr>
      <vt:lpstr>Questions I get asked often</vt:lpstr>
      <vt:lpstr>The numbers behind the questions….</vt:lpstr>
      <vt:lpstr>The trends behind the questions….</vt:lpstr>
      <vt:lpstr>So, what do we need to do differently?</vt:lpstr>
      <vt:lpstr>As eComm matures, team structure evolves….</vt:lpstr>
      <vt:lpstr>eComm expertise required to get the job done, but other skills are critical to win the future</vt:lpstr>
      <vt:lpstr>To win the future of commerce, you need a future-ready organization</vt:lpstr>
      <vt:lpstr>To sum up, three mandates for organizations to win the future</vt:lpstr>
      <vt:lpstr>Closing remark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cial commerce update – digital steerco</dc:title>
  <dc:creator>Ahluwalia, Abhishek</dc:creator>
  <cp:lastModifiedBy>Cheng, Jie</cp:lastModifiedBy>
  <cp:revision>52</cp:revision>
  <dcterms:created xsi:type="dcterms:W3CDTF">2022-04-19T15:32:42Z</dcterms:created>
  <dcterms:modified xsi:type="dcterms:W3CDTF">2022-06-12T23:19:48Z</dcterms:modified>
</cp:coreProperties>
</file>